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4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5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theme/theme6.xml" ContentType="application/vnd.openxmlformats-officedocument.them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theme/theme7.xml" ContentType="application/vnd.openxmlformats-officedocument.theme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theme/theme8.xml" ContentType="application/vnd.openxmlformats-officedocument.theme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theme/theme9.xml" ContentType="application/vnd.openxmlformats-officedocument.theme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theme/theme10.xml" ContentType="application/vnd.openxmlformats-officedocument.them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theme/theme11.xml" ContentType="application/vnd.openxmlformats-officedocument.theme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theme/theme12.xml" ContentType="application/vnd.openxmlformats-officedocument.theme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theme/theme13.xml" ContentType="application/vnd.openxmlformats-officedocument.theme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theme/theme14.xml" ContentType="application/vnd.openxmlformats-officedocument.theme+xml"/>
  <Override PartName="/ppt/tags/tag164.xml" ContentType="application/vnd.openxmlformats-officedocument.presentationml.tags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theme/theme15.xml" ContentType="application/vnd.openxmlformats-officedocument.theme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theme/theme16.xml" ContentType="application/vnd.openxmlformats-officedocument.theme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theme/theme17.xml" ContentType="application/vnd.openxmlformats-officedocument.theme+xml"/>
  <Override PartName="/ppt/tags/tag167.xml" ContentType="application/vnd.openxmlformats-officedocument.presentationml.tags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theme/theme18.xml" ContentType="application/vnd.openxmlformats-officedocument.theme+xml"/>
  <Override PartName="/ppt/theme/theme19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2.xml" ContentType="application/vnd.openxmlformats-officedocument.presentationml.notesSlide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3" r:id="rId1"/>
    <p:sldMasterId id="2147483684" r:id="rId2"/>
    <p:sldMasterId id="2147483695" r:id="rId3"/>
    <p:sldMasterId id="2147483723" r:id="rId4"/>
    <p:sldMasterId id="2147483739" r:id="rId5"/>
    <p:sldMasterId id="2147483807" r:id="rId6"/>
    <p:sldMasterId id="2147483827" r:id="rId7"/>
    <p:sldMasterId id="2147483844" r:id="rId8"/>
    <p:sldMasterId id="2147483864" r:id="rId9"/>
    <p:sldMasterId id="2147483882" r:id="rId10"/>
    <p:sldMasterId id="2147483903" r:id="rId11"/>
    <p:sldMasterId id="2147483920" r:id="rId12"/>
    <p:sldMasterId id="2147483998" r:id="rId13"/>
    <p:sldMasterId id="2147484014" r:id="rId14"/>
    <p:sldMasterId id="2147484040" r:id="rId15"/>
    <p:sldMasterId id="2147484067" r:id="rId16"/>
    <p:sldMasterId id="2147484072" r:id="rId17"/>
    <p:sldMasterId id="2147484087" r:id="rId18"/>
  </p:sldMasterIdLst>
  <p:notesMasterIdLst>
    <p:notesMasterId r:id="rId44"/>
  </p:notesMasterIdLst>
  <p:sldIdLst>
    <p:sldId id="268" r:id="rId19"/>
    <p:sldId id="326" r:id="rId20"/>
    <p:sldId id="2147483395" r:id="rId21"/>
    <p:sldId id="2147483346" r:id="rId22"/>
    <p:sldId id="2147483396" r:id="rId23"/>
    <p:sldId id="2147483382" r:id="rId24"/>
    <p:sldId id="2147483347" r:id="rId25"/>
    <p:sldId id="2147483605" r:id="rId26"/>
    <p:sldId id="2147483618" r:id="rId27"/>
    <p:sldId id="2147483614" r:id="rId28"/>
    <p:sldId id="2147483334" r:id="rId29"/>
    <p:sldId id="2147483624" r:id="rId30"/>
    <p:sldId id="2147483601" r:id="rId31"/>
    <p:sldId id="2147483617" r:id="rId32"/>
    <p:sldId id="2147483380" r:id="rId33"/>
    <p:sldId id="2147483348" r:id="rId34"/>
    <p:sldId id="2147483391" r:id="rId35"/>
    <p:sldId id="2147483625" r:id="rId36"/>
    <p:sldId id="2147483378" r:id="rId37"/>
    <p:sldId id="2147483621" r:id="rId38"/>
    <p:sldId id="900" r:id="rId39"/>
    <p:sldId id="2147483623" r:id="rId40"/>
    <p:sldId id="2147483604" r:id="rId41"/>
    <p:sldId id="548" r:id="rId42"/>
    <p:sldId id="552" r:id="rId43"/>
  </p:sldIdLst>
  <p:sldSz cx="12192000" cy="6858000"/>
  <p:notesSz cx="6742113" cy="9872663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ILLANT Pierre" initials="VP" lastIdx="0" clrIdx="0">
    <p:extLst>
      <p:ext uri="{19B8F6BF-5375-455C-9EA6-DF929625EA0E}">
        <p15:presenceInfo xmlns:p15="http://schemas.microsoft.com/office/powerpoint/2012/main" userId="S-1-5-21-1510899893-988598865-360405679-35520" providerId="AD"/>
      </p:ext>
    </p:extLst>
  </p:cmAuthor>
  <p:cmAuthor id="2" name="Klaudia Janik" initials="KJ" lastIdx="7" clrIdx="1">
    <p:extLst>
      <p:ext uri="{19B8F6BF-5375-455C-9EA6-DF929625EA0E}">
        <p15:presenceInfo xmlns:p15="http://schemas.microsoft.com/office/powerpoint/2012/main" userId="S-1-5-21-583907252-117609710-839522115-116417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FEFF"/>
    <a:srgbClr val="F47682"/>
    <a:srgbClr val="006A4E"/>
    <a:srgbClr val="D8F1E4"/>
    <a:srgbClr val="E1FFF7"/>
    <a:srgbClr val="C1FEFF"/>
    <a:srgbClr val="009496"/>
    <a:srgbClr val="D1FFF3"/>
    <a:srgbClr val="EBFFFA"/>
    <a:srgbClr val="A3FF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Bez stylu, siatka tabeli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Styl jasny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249" autoAdjust="0"/>
    <p:restoredTop sz="93447" autoAdjust="0"/>
  </p:normalViewPr>
  <p:slideViewPr>
    <p:cSldViewPr snapToGrid="0">
      <p:cViewPr varScale="1">
        <p:scale>
          <a:sx n="60" d="100"/>
          <a:sy n="60" d="100"/>
        </p:scale>
        <p:origin x="792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8.xml"/><Relationship Id="rId39" Type="http://schemas.openxmlformats.org/officeDocument/2006/relationships/slide" Target="slides/slide21.xml"/><Relationship Id="rId21" Type="http://schemas.openxmlformats.org/officeDocument/2006/relationships/slide" Target="slides/slide3.xml"/><Relationship Id="rId34" Type="http://schemas.openxmlformats.org/officeDocument/2006/relationships/slide" Target="slides/slide16.xml"/><Relationship Id="rId42" Type="http://schemas.openxmlformats.org/officeDocument/2006/relationships/slide" Target="slides/slide24.xml"/><Relationship Id="rId47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" Target="slides/slide11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6.xml"/><Relationship Id="rId32" Type="http://schemas.openxmlformats.org/officeDocument/2006/relationships/slide" Target="slides/slide14.xml"/><Relationship Id="rId37" Type="http://schemas.openxmlformats.org/officeDocument/2006/relationships/slide" Target="slides/slide19.xml"/><Relationship Id="rId40" Type="http://schemas.openxmlformats.org/officeDocument/2006/relationships/slide" Target="slides/slide22.xml"/><Relationship Id="rId45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5.xml"/><Relationship Id="rId28" Type="http://schemas.openxmlformats.org/officeDocument/2006/relationships/slide" Target="slides/slide10.xml"/><Relationship Id="rId36" Type="http://schemas.openxmlformats.org/officeDocument/2006/relationships/slide" Target="slides/slide18.xml"/><Relationship Id="rId49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1.xml"/><Relationship Id="rId31" Type="http://schemas.openxmlformats.org/officeDocument/2006/relationships/slide" Target="slides/slide13.xml"/><Relationship Id="rId44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4.xml"/><Relationship Id="rId27" Type="http://schemas.openxmlformats.org/officeDocument/2006/relationships/slide" Target="slides/slide9.xml"/><Relationship Id="rId30" Type="http://schemas.openxmlformats.org/officeDocument/2006/relationships/slide" Target="slides/slide12.xml"/><Relationship Id="rId35" Type="http://schemas.openxmlformats.org/officeDocument/2006/relationships/slide" Target="slides/slide17.xml"/><Relationship Id="rId43" Type="http://schemas.openxmlformats.org/officeDocument/2006/relationships/slide" Target="slides/slide25.xml"/><Relationship Id="rId48" Type="http://schemas.openxmlformats.org/officeDocument/2006/relationships/theme" Target="theme/theme1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7.xml"/><Relationship Id="rId33" Type="http://schemas.openxmlformats.org/officeDocument/2006/relationships/slide" Target="slides/slide15.xml"/><Relationship Id="rId38" Type="http://schemas.openxmlformats.org/officeDocument/2006/relationships/slide" Target="slides/slide20.xml"/><Relationship Id="rId46" Type="http://schemas.openxmlformats.org/officeDocument/2006/relationships/presProps" Target="presProps.xml"/><Relationship Id="rId20" Type="http://schemas.openxmlformats.org/officeDocument/2006/relationships/slide" Target="slides/slide2.xml"/><Relationship Id="rId41" Type="http://schemas.openxmlformats.org/officeDocument/2006/relationships/slide" Target="slides/slide2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\\Nas_sdr\05009015_struttura\DBI%20Silvia%20-%20Maria%20Chiara\11%20marzo\v%201%20grafici%20mesi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autoTitleDeleted val="1"/>
    <c:plotArea>
      <c:layout>
        <c:manualLayout>
          <c:layoutTarget val="inner"/>
          <c:xMode val="edge"/>
          <c:yMode val="edge"/>
          <c:x val="3.0900769599482229E-2"/>
          <c:y val="9.9643082330720889E-2"/>
          <c:w val="0.91853433469227408"/>
          <c:h val="0.8007138353385582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1 S 2024'!$F$3</c:f>
              <c:strCache>
                <c:ptCount val="1"/>
                <c:pt idx="0">
                  <c:v>jan-24</c:v>
                </c:pt>
              </c:strCache>
            </c:strRef>
          </c:tx>
          <c:spPr>
            <a:solidFill>
              <a:schemeClr val="accent6">
                <a:tint val="41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4'!$E$6</c:f>
              <c:strCache>
                <c:ptCount val="1"/>
                <c:pt idx="0">
                  <c:v>Total Loss 2024</c:v>
                </c:pt>
              </c:strCache>
            </c:strRef>
          </c:cat>
          <c:val>
            <c:numRef>
              <c:f>'1 S 2024'!$F$6</c:f>
              <c:numCache>
                <c:formatCode>_-* #,##0\ _€_-;\-* #,##0\ _€_-;_-* "-"??\ _€_-;_-@_-</c:formatCode>
                <c:ptCount val="1"/>
                <c:pt idx="0">
                  <c:v>24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668-4F17-A97E-57C44ACA4DE1}"/>
            </c:ext>
          </c:extLst>
        </c:ser>
        <c:ser>
          <c:idx val="1"/>
          <c:order val="1"/>
          <c:tx>
            <c:strRef>
              <c:f>'1 S 2024'!$G$3</c:f>
              <c:strCache>
                <c:ptCount val="1"/>
                <c:pt idx="0">
                  <c:v>feb-24</c:v>
                </c:pt>
              </c:strCache>
            </c:strRef>
          </c:tx>
          <c:spPr>
            <a:solidFill>
              <a:schemeClr val="accent6">
                <a:tint val="52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4'!$E$6</c:f>
              <c:strCache>
                <c:ptCount val="1"/>
                <c:pt idx="0">
                  <c:v>Total Loss 2024</c:v>
                </c:pt>
              </c:strCache>
            </c:strRef>
          </c:cat>
          <c:val>
            <c:numRef>
              <c:f>'1 S 2024'!$G$6</c:f>
              <c:numCache>
                <c:formatCode>_-* #,##0\ _€_-;\-* #,##0\ _€_-;_-* "-"??\ _€_-;_-@_-</c:formatCode>
                <c:ptCount val="1"/>
                <c:pt idx="0">
                  <c:v>43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668-4F17-A97E-57C44ACA4DE1}"/>
            </c:ext>
          </c:extLst>
        </c:ser>
        <c:ser>
          <c:idx val="2"/>
          <c:order val="2"/>
          <c:tx>
            <c:strRef>
              <c:f>'1 S 2024'!$H$3</c:f>
              <c:strCache>
                <c:ptCount val="1"/>
                <c:pt idx="0">
                  <c:v>mar-24</c:v>
                </c:pt>
              </c:strCache>
            </c:strRef>
          </c:tx>
          <c:spPr>
            <a:solidFill>
              <a:schemeClr val="accent6">
                <a:tint val="63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4'!$E$6</c:f>
              <c:strCache>
                <c:ptCount val="1"/>
                <c:pt idx="0">
                  <c:v>Total Loss 2024</c:v>
                </c:pt>
              </c:strCache>
            </c:strRef>
          </c:cat>
          <c:val>
            <c:numRef>
              <c:f>'1 S 2024'!$H$6</c:f>
              <c:numCache>
                <c:formatCode>_-* #,##0\ _€_-;\-* #,##0\ _€_-;_-* "-"??\ _€_-;_-@_-</c:formatCode>
                <c:ptCount val="1"/>
                <c:pt idx="0">
                  <c:v>59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668-4F17-A97E-57C44ACA4DE1}"/>
            </c:ext>
          </c:extLst>
        </c:ser>
        <c:ser>
          <c:idx val="3"/>
          <c:order val="3"/>
          <c:tx>
            <c:strRef>
              <c:f>'1 S 2024'!$I$3</c:f>
              <c:strCache>
                <c:ptCount val="1"/>
                <c:pt idx="0">
                  <c:v>apr-24</c:v>
                </c:pt>
              </c:strCache>
            </c:strRef>
          </c:tx>
          <c:spPr>
            <a:solidFill>
              <a:schemeClr val="accent6">
                <a:tint val="74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4'!$E$6</c:f>
              <c:strCache>
                <c:ptCount val="1"/>
                <c:pt idx="0">
                  <c:v>Total Loss 2024</c:v>
                </c:pt>
              </c:strCache>
            </c:strRef>
          </c:cat>
          <c:val>
            <c:numRef>
              <c:f>'1 S 2024'!$I$6</c:f>
              <c:numCache>
                <c:formatCode>_-* #,##0\ _€_-;\-* #,##0\ _€_-;_-* "-"??\ _€_-;_-@_-</c:formatCode>
                <c:ptCount val="1"/>
                <c:pt idx="0">
                  <c:v>72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668-4F17-A97E-57C44ACA4DE1}"/>
            </c:ext>
          </c:extLst>
        </c:ser>
        <c:ser>
          <c:idx val="4"/>
          <c:order val="4"/>
          <c:tx>
            <c:strRef>
              <c:f>'1 S 2024'!$J$3</c:f>
              <c:strCache>
                <c:ptCount val="1"/>
                <c:pt idx="0">
                  <c:v>may-24</c:v>
                </c:pt>
              </c:strCache>
            </c:strRef>
          </c:tx>
          <c:spPr>
            <a:solidFill>
              <a:schemeClr val="accent6">
                <a:tint val="84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4'!$E$6</c:f>
              <c:strCache>
                <c:ptCount val="1"/>
                <c:pt idx="0">
                  <c:v>Total Loss 2024</c:v>
                </c:pt>
              </c:strCache>
            </c:strRef>
          </c:cat>
          <c:val>
            <c:numRef>
              <c:f>'1 S 2024'!$J$6</c:f>
              <c:numCache>
                <c:formatCode>_-* #,##0\ _€_-;\-* #,##0\ _€_-;_-* "-"??\ _€_-;_-@_-</c:formatCode>
                <c:ptCount val="1"/>
                <c:pt idx="0">
                  <c:v>86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668-4F17-A97E-57C44ACA4DE1}"/>
            </c:ext>
          </c:extLst>
        </c:ser>
        <c:ser>
          <c:idx val="5"/>
          <c:order val="5"/>
          <c:tx>
            <c:strRef>
              <c:f>'1 S 2024'!$K$3</c:f>
              <c:strCache>
                <c:ptCount val="1"/>
                <c:pt idx="0">
                  <c:v>jun-24</c:v>
                </c:pt>
              </c:strCache>
            </c:strRef>
          </c:tx>
          <c:spPr>
            <a:solidFill>
              <a:schemeClr val="accent6">
                <a:tint val="9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4'!$E$6</c:f>
              <c:strCache>
                <c:ptCount val="1"/>
                <c:pt idx="0">
                  <c:v>Total Loss 2024</c:v>
                </c:pt>
              </c:strCache>
            </c:strRef>
          </c:cat>
          <c:val>
            <c:numRef>
              <c:f>'1 S 2024'!$K$6</c:f>
              <c:numCache>
                <c:formatCode>_-* #,##0\ _€_-;\-* #,##0\ _€_-;_-* "-"??\ _€_-;_-@_-</c:formatCode>
                <c:ptCount val="1"/>
                <c:pt idx="0">
                  <c:v>100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668-4F17-A97E-57C44ACA4DE1}"/>
            </c:ext>
          </c:extLst>
        </c:ser>
        <c:ser>
          <c:idx val="6"/>
          <c:order val="6"/>
          <c:tx>
            <c:strRef>
              <c:f>'1 S 2024'!$L$3</c:f>
              <c:strCache>
                <c:ptCount val="1"/>
                <c:pt idx="0">
                  <c:v>jul-24</c:v>
                </c:pt>
              </c:strCache>
            </c:strRef>
          </c:tx>
          <c:spPr>
            <a:solidFill>
              <a:schemeClr val="accent6">
                <a:shade val="94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4'!$E$6</c:f>
              <c:strCache>
                <c:ptCount val="1"/>
                <c:pt idx="0">
                  <c:v>Total Loss 2024</c:v>
                </c:pt>
              </c:strCache>
            </c:strRef>
          </c:cat>
          <c:val>
            <c:numRef>
              <c:f>'1 S 2024'!$L$6</c:f>
              <c:numCache>
                <c:formatCode>_-* #,##0\ _€_-;\-* #,##0\ _€_-;_-* "-"??\ _€_-;_-@_-</c:formatCode>
                <c:ptCount val="1"/>
                <c:pt idx="0">
                  <c:v>119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668-4F17-A97E-57C44ACA4DE1}"/>
            </c:ext>
          </c:extLst>
        </c:ser>
        <c:ser>
          <c:idx val="7"/>
          <c:order val="7"/>
          <c:tx>
            <c:strRef>
              <c:f>'1 S 2024'!$M$3</c:f>
              <c:strCache>
                <c:ptCount val="1"/>
                <c:pt idx="0">
                  <c:v>aug-24</c:v>
                </c:pt>
              </c:strCache>
            </c:strRef>
          </c:tx>
          <c:spPr>
            <a:solidFill>
              <a:schemeClr val="accent6">
                <a:shade val="83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4'!$E$6</c:f>
              <c:strCache>
                <c:ptCount val="1"/>
                <c:pt idx="0">
                  <c:v>Total Loss 2024</c:v>
                </c:pt>
              </c:strCache>
            </c:strRef>
          </c:cat>
          <c:val>
            <c:numRef>
              <c:f>'1 S 2024'!$M$6</c:f>
              <c:numCache>
                <c:formatCode>_-* #,##0\ _€_-;\-* #,##0\ _€_-;_-* "-"??\ _€_-;_-@_-</c:formatCode>
                <c:ptCount val="1"/>
                <c:pt idx="0">
                  <c:v>129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B668-4F17-A97E-57C44ACA4DE1}"/>
            </c:ext>
          </c:extLst>
        </c:ser>
        <c:ser>
          <c:idx val="8"/>
          <c:order val="8"/>
          <c:tx>
            <c:strRef>
              <c:f>'1 S 2024'!$N$3</c:f>
              <c:strCache>
                <c:ptCount val="1"/>
                <c:pt idx="0">
                  <c:v>sep-24</c:v>
                </c:pt>
              </c:strCache>
            </c:strRef>
          </c:tx>
          <c:spPr>
            <a:solidFill>
              <a:schemeClr val="accent6">
                <a:shade val="73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4'!$E$6</c:f>
              <c:strCache>
                <c:ptCount val="1"/>
                <c:pt idx="0">
                  <c:v>Total Loss 2024</c:v>
                </c:pt>
              </c:strCache>
            </c:strRef>
          </c:cat>
          <c:val>
            <c:numRef>
              <c:f>'1 S 2024'!$N$6</c:f>
              <c:numCache>
                <c:formatCode>_-* #,##0\ _€_-;\-* #,##0\ _€_-;_-* "-"??\ _€_-;_-@_-</c:formatCode>
                <c:ptCount val="1"/>
                <c:pt idx="0">
                  <c:v>140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668-4F17-A97E-57C44ACA4DE1}"/>
            </c:ext>
          </c:extLst>
        </c:ser>
        <c:ser>
          <c:idx val="9"/>
          <c:order val="9"/>
          <c:tx>
            <c:strRef>
              <c:f>'1 S 2024'!$O$3</c:f>
              <c:strCache>
                <c:ptCount val="1"/>
                <c:pt idx="0">
                  <c:v>oct-24</c:v>
                </c:pt>
              </c:strCache>
            </c:strRef>
          </c:tx>
          <c:spPr>
            <a:solidFill>
              <a:schemeClr val="accent6">
                <a:shade val="62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B668-4F17-A97E-57C44ACA4DE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4'!$E$6</c:f>
              <c:strCache>
                <c:ptCount val="1"/>
                <c:pt idx="0">
                  <c:v>Total Loss 2024</c:v>
                </c:pt>
              </c:strCache>
            </c:strRef>
          </c:cat>
          <c:val>
            <c:numRef>
              <c:f>'1 S 2024'!$O$6</c:f>
              <c:numCache>
                <c:formatCode>_-* #,##0\ _€_-;\-* #,##0\ _€_-;_-* "-"??\ _€_-;_-@_-</c:formatCode>
                <c:ptCount val="1"/>
                <c:pt idx="0">
                  <c:v>157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B668-4F17-A97E-57C44ACA4DE1}"/>
            </c:ext>
          </c:extLst>
        </c:ser>
        <c:ser>
          <c:idx val="10"/>
          <c:order val="10"/>
          <c:tx>
            <c:strRef>
              <c:f>'1 S 2024'!$P$3</c:f>
              <c:strCache>
                <c:ptCount val="1"/>
                <c:pt idx="0">
                  <c:v>nov-24</c:v>
                </c:pt>
              </c:strCache>
            </c:strRef>
          </c:tx>
          <c:spPr>
            <a:solidFill>
              <a:schemeClr val="accent6">
                <a:shade val="51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4.3499368740905495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B668-4F17-A97E-57C44ACA4DE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4'!$E$6</c:f>
              <c:strCache>
                <c:ptCount val="1"/>
                <c:pt idx="0">
                  <c:v>Total Loss 2024</c:v>
                </c:pt>
              </c:strCache>
            </c:strRef>
          </c:cat>
          <c:val>
            <c:numRef>
              <c:f>'1 S 2024'!$P$6</c:f>
              <c:numCache>
                <c:formatCode>_-* #,##0\ _€_-;\-* #,##0\ _€_-;_-* "-"??\ _€_-;_-@_-</c:formatCode>
                <c:ptCount val="1"/>
                <c:pt idx="0">
                  <c:v>170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668-4F17-A97E-57C44ACA4DE1}"/>
            </c:ext>
          </c:extLst>
        </c:ser>
        <c:ser>
          <c:idx val="11"/>
          <c:order val="11"/>
          <c:tx>
            <c:strRef>
              <c:f>'1 S 2024'!$Q$3</c:f>
              <c:strCache>
                <c:ptCount val="1"/>
                <c:pt idx="0">
                  <c:v>dec-24</c:v>
                </c:pt>
              </c:strCache>
            </c:strRef>
          </c:tx>
          <c:spPr>
            <a:solidFill>
              <a:schemeClr val="accent6">
                <a:shade val="4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8.9263247860846013E-3"/>
                  <c:y val="-1.085110309851922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B668-4F17-A97E-57C44ACA4DE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4'!$E$6</c:f>
              <c:strCache>
                <c:ptCount val="1"/>
                <c:pt idx="0">
                  <c:v>Total Loss 2024</c:v>
                </c:pt>
              </c:strCache>
            </c:strRef>
          </c:cat>
          <c:val>
            <c:numRef>
              <c:f>'1 S 2024'!$Q$6</c:f>
              <c:numCache>
                <c:formatCode>_-* #,##0\ _€_-;\-* #,##0\ _€_-;_-* "-"??\ _€_-;_-@_-</c:formatCode>
                <c:ptCount val="1"/>
                <c:pt idx="0">
                  <c:v>184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B668-4F17-A97E-57C44ACA4DE1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449306008"/>
        <c:axId val="449306336"/>
      </c:barChart>
      <c:catAx>
        <c:axId val="44930600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49306336"/>
        <c:crosses val="autoZero"/>
        <c:auto val="1"/>
        <c:lblAlgn val="ctr"/>
        <c:lblOffset val="100"/>
        <c:noMultiLvlLbl val="0"/>
      </c:catAx>
      <c:valAx>
        <c:axId val="449306336"/>
        <c:scaling>
          <c:orientation val="minMax"/>
        </c:scaling>
        <c:delete val="1"/>
        <c:axPos val="l"/>
        <c:numFmt formatCode="_-* #,##0\ _€_-;\-* #,##0\ _€_-;_-* &quot;-&quot;??\ _€_-;_-@_-" sourceLinked="1"/>
        <c:majorTickMark val="none"/>
        <c:minorTickMark val="none"/>
        <c:tickLblPos val="nextTo"/>
        <c:crossAx val="449306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>
          <a:solidFill>
            <a:schemeClr val="tx1">
              <a:lumMod val="75000"/>
            </a:schemeClr>
          </a:solidFill>
        </a:defRPr>
      </a:pPr>
      <a:endParaRPr lang="it-IT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autoTitleDeleted val="1"/>
    <c:plotArea>
      <c:layout>
        <c:manualLayout>
          <c:layoutTarget val="inner"/>
          <c:xMode val="edge"/>
          <c:yMode val="edge"/>
          <c:x val="3.9650721266980729E-2"/>
          <c:y val="3.4710222312042335E-2"/>
          <c:w val="0.92857254245702781"/>
          <c:h val="0.813163357014465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1 S 2024'!$F$3</c:f>
              <c:strCache>
                <c:ptCount val="1"/>
                <c:pt idx="0">
                  <c:v>jan-24</c:v>
                </c:pt>
              </c:strCache>
            </c:strRef>
          </c:tx>
          <c:spPr>
            <a:solidFill>
              <a:schemeClr val="accent6">
                <a:tint val="41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4'!$E$5</c:f>
              <c:strCache>
                <c:ptCount val="1"/>
                <c:pt idx="0">
                  <c:v>Total Acquisition 2024</c:v>
                </c:pt>
              </c:strCache>
            </c:strRef>
          </c:cat>
          <c:val>
            <c:numRef>
              <c:f>'1 S 2024'!$F$5</c:f>
              <c:numCache>
                <c:formatCode>_-* #,##0\ _€_-;\-* #,##0\ _€_-;_-* "-"??\ _€_-;_-@_-</c:formatCode>
                <c:ptCount val="1"/>
                <c:pt idx="0">
                  <c:v>16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D8E-4535-B9E5-48BDFBFE1D67}"/>
            </c:ext>
          </c:extLst>
        </c:ser>
        <c:ser>
          <c:idx val="1"/>
          <c:order val="1"/>
          <c:tx>
            <c:strRef>
              <c:f>'1 S 2024'!$G$3</c:f>
              <c:strCache>
                <c:ptCount val="1"/>
                <c:pt idx="0">
                  <c:v>feb-24</c:v>
                </c:pt>
              </c:strCache>
            </c:strRef>
          </c:tx>
          <c:spPr>
            <a:solidFill>
              <a:schemeClr val="accent6">
                <a:tint val="52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4'!$E$5</c:f>
              <c:strCache>
                <c:ptCount val="1"/>
                <c:pt idx="0">
                  <c:v>Total Acquisition 2024</c:v>
                </c:pt>
              </c:strCache>
            </c:strRef>
          </c:cat>
          <c:val>
            <c:numRef>
              <c:f>'1 S 2024'!$G$5</c:f>
              <c:numCache>
                <c:formatCode>_-* #,##0\ _€_-;\-* #,##0\ _€_-;_-* "-"??\ _€_-;_-@_-</c:formatCode>
                <c:ptCount val="1"/>
                <c:pt idx="0">
                  <c:v>36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D8E-4535-B9E5-48BDFBFE1D67}"/>
            </c:ext>
          </c:extLst>
        </c:ser>
        <c:ser>
          <c:idx val="2"/>
          <c:order val="2"/>
          <c:tx>
            <c:strRef>
              <c:f>'1 S 2024'!$H$3</c:f>
              <c:strCache>
                <c:ptCount val="1"/>
                <c:pt idx="0">
                  <c:v>mar-24</c:v>
                </c:pt>
              </c:strCache>
            </c:strRef>
          </c:tx>
          <c:spPr>
            <a:solidFill>
              <a:schemeClr val="accent6">
                <a:tint val="63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4'!$E$5</c:f>
              <c:strCache>
                <c:ptCount val="1"/>
                <c:pt idx="0">
                  <c:v>Total Acquisition 2024</c:v>
                </c:pt>
              </c:strCache>
            </c:strRef>
          </c:cat>
          <c:val>
            <c:numRef>
              <c:f>'1 S 2024'!$H$5</c:f>
              <c:numCache>
                <c:formatCode>_-* #,##0\ _€_-;\-* #,##0\ _€_-;_-* "-"??\ _€_-;_-@_-</c:formatCode>
                <c:ptCount val="1"/>
                <c:pt idx="0">
                  <c:v>58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D8E-4535-B9E5-48BDFBFE1D67}"/>
            </c:ext>
          </c:extLst>
        </c:ser>
        <c:ser>
          <c:idx val="3"/>
          <c:order val="3"/>
          <c:tx>
            <c:strRef>
              <c:f>'1 S 2024'!$I$3</c:f>
              <c:strCache>
                <c:ptCount val="1"/>
                <c:pt idx="0">
                  <c:v>apr-24</c:v>
                </c:pt>
              </c:strCache>
            </c:strRef>
          </c:tx>
          <c:spPr>
            <a:solidFill>
              <a:schemeClr val="accent6">
                <a:tint val="74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4'!$E$5</c:f>
              <c:strCache>
                <c:ptCount val="1"/>
                <c:pt idx="0">
                  <c:v>Total Acquisition 2024</c:v>
                </c:pt>
              </c:strCache>
            </c:strRef>
          </c:cat>
          <c:val>
            <c:numRef>
              <c:f>'1 S 2024'!$I$5</c:f>
              <c:numCache>
                <c:formatCode>_-* #,##0\ _€_-;\-* #,##0\ _€_-;_-* "-"??\ _€_-;_-@_-</c:formatCode>
                <c:ptCount val="1"/>
                <c:pt idx="0">
                  <c:v>77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D8E-4535-B9E5-48BDFBFE1D67}"/>
            </c:ext>
          </c:extLst>
        </c:ser>
        <c:ser>
          <c:idx val="4"/>
          <c:order val="4"/>
          <c:tx>
            <c:strRef>
              <c:f>'1 S 2024'!$J$3</c:f>
              <c:strCache>
                <c:ptCount val="1"/>
                <c:pt idx="0">
                  <c:v>may-24</c:v>
                </c:pt>
              </c:strCache>
            </c:strRef>
          </c:tx>
          <c:spPr>
            <a:solidFill>
              <a:schemeClr val="accent6">
                <a:tint val="84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4'!$E$5</c:f>
              <c:strCache>
                <c:ptCount val="1"/>
                <c:pt idx="0">
                  <c:v>Total Acquisition 2024</c:v>
                </c:pt>
              </c:strCache>
            </c:strRef>
          </c:cat>
          <c:val>
            <c:numRef>
              <c:f>'1 S 2024'!$J$5</c:f>
              <c:numCache>
                <c:formatCode>_-* #,##0\ _€_-;\-* #,##0\ _€_-;_-* "-"??\ _€_-;_-@_-</c:formatCode>
                <c:ptCount val="1"/>
                <c:pt idx="0">
                  <c:v>98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D8E-4535-B9E5-48BDFBFE1D67}"/>
            </c:ext>
          </c:extLst>
        </c:ser>
        <c:ser>
          <c:idx val="5"/>
          <c:order val="5"/>
          <c:tx>
            <c:strRef>
              <c:f>'1 S 2024'!$K$3</c:f>
              <c:strCache>
                <c:ptCount val="1"/>
                <c:pt idx="0">
                  <c:v>jun-24</c:v>
                </c:pt>
              </c:strCache>
            </c:strRef>
          </c:tx>
          <c:spPr>
            <a:solidFill>
              <a:schemeClr val="accent6">
                <a:tint val="9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4'!$E$5</c:f>
              <c:strCache>
                <c:ptCount val="1"/>
                <c:pt idx="0">
                  <c:v>Total Acquisition 2024</c:v>
                </c:pt>
              </c:strCache>
            </c:strRef>
          </c:cat>
          <c:val>
            <c:numRef>
              <c:f>'1 S 2024'!$K$5</c:f>
              <c:numCache>
                <c:formatCode>_-* #,##0\ _€_-;\-* #,##0\ _€_-;_-* "-"??\ _€_-;_-@_-</c:formatCode>
                <c:ptCount val="1"/>
                <c:pt idx="0">
                  <c:v>114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D8E-4535-B9E5-48BDFBFE1D67}"/>
            </c:ext>
          </c:extLst>
        </c:ser>
        <c:ser>
          <c:idx val="6"/>
          <c:order val="6"/>
          <c:tx>
            <c:strRef>
              <c:f>'1 S 2024'!$L$3</c:f>
              <c:strCache>
                <c:ptCount val="1"/>
                <c:pt idx="0">
                  <c:v>jul-24</c:v>
                </c:pt>
              </c:strCache>
            </c:strRef>
          </c:tx>
          <c:spPr>
            <a:solidFill>
              <a:schemeClr val="accent6">
                <a:shade val="94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4'!$E$5</c:f>
              <c:strCache>
                <c:ptCount val="1"/>
                <c:pt idx="0">
                  <c:v>Total Acquisition 2024</c:v>
                </c:pt>
              </c:strCache>
            </c:strRef>
          </c:cat>
          <c:val>
            <c:numRef>
              <c:f>'1 S 2024'!$L$5</c:f>
              <c:numCache>
                <c:formatCode>_-* #,##0\ _€_-;\-* #,##0\ _€_-;_-* "-"??\ _€_-;_-@_-</c:formatCode>
                <c:ptCount val="1"/>
                <c:pt idx="0">
                  <c:v>134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D8E-4535-B9E5-48BDFBFE1D67}"/>
            </c:ext>
          </c:extLst>
        </c:ser>
        <c:ser>
          <c:idx val="7"/>
          <c:order val="7"/>
          <c:tx>
            <c:strRef>
              <c:f>'1 S 2024'!$M$3</c:f>
              <c:strCache>
                <c:ptCount val="1"/>
                <c:pt idx="0">
                  <c:v>aug-24</c:v>
                </c:pt>
              </c:strCache>
            </c:strRef>
          </c:tx>
          <c:spPr>
            <a:solidFill>
              <a:schemeClr val="accent6">
                <a:shade val="83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4'!$E$5</c:f>
              <c:strCache>
                <c:ptCount val="1"/>
                <c:pt idx="0">
                  <c:v>Total Acquisition 2024</c:v>
                </c:pt>
              </c:strCache>
            </c:strRef>
          </c:cat>
          <c:val>
            <c:numRef>
              <c:f>'1 S 2024'!$M$5</c:f>
              <c:numCache>
                <c:formatCode>_-* #,##0\ _€_-;\-* #,##0\ _€_-;_-* "-"??\ _€_-;_-@_-</c:formatCode>
                <c:ptCount val="1"/>
                <c:pt idx="0">
                  <c:v>145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8D8E-4535-B9E5-48BDFBFE1D67}"/>
            </c:ext>
          </c:extLst>
        </c:ser>
        <c:ser>
          <c:idx val="8"/>
          <c:order val="8"/>
          <c:tx>
            <c:strRef>
              <c:f>'1 S 2024'!$N$3</c:f>
              <c:strCache>
                <c:ptCount val="1"/>
                <c:pt idx="0">
                  <c:v>sep-24</c:v>
                </c:pt>
              </c:strCache>
            </c:strRef>
          </c:tx>
          <c:spPr>
            <a:solidFill>
              <a:schemeClr val="accent6">
                <a:shade val="73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4'!$E$5</c:f>
              <c:strCache>
                <c:ptCount val="1"/>
                <c:pt idx="0">
                  <c:v>Total Acquisition 2024</c:v>
                </c:pt>
              </c:strCache>
            </c:strRef>
          </c:cat>
          <c:val>
            <c:numRef>
              <c:f>'1 S 2024'!$N$5</c:f>
              <c:numCache>
                <c:formatCode>_-* #,##0\ _€_-;\-* #,##0\ _€_-;_-* "-"??\ _€_-;_-@_-</c:formatCode>
                <c:ptCount val="1"/>
                <c:pt idx="0">
                  <c:v>163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D8E-4535-B9E5-48BDFBFE1D67}"/>
            </c:ext>
          </c:extLst>
        </c:ser>
        <c:ser>
          <c:idx val="9"/>
          <c:order val="9"/>
          <c:tx>
            <c:strRef>
              <c:f>'1 S 2024'!$O$3</c:f>
              <c:strCache>
                <c:ptCount val="1"/>
                <c:pt idx="0">
                  <c:v>oct-24</c:v>
                </c:pt>
              </c:strCache>
            </c:strRef>
          </c:tx>
          <c:spPr>
            <a:solidFill>
              <a:schemeClr val="accent6">
                <a:shade val="62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4'!$E$5</c:f>
              <c:strCache>
                <c:ptCount val="1"/>
                <c:pt idx="0">
                  <c:v>Total Acquisition 2024</c:v>
                </c:pt>
              </c:strCache>
            </c:strRef>
          </c:cat>
          <c:val>
            <c:numRef>
              <c:f>'1 S 2024'!$O$5</c:f>
              <c:numCache>
                <c:formatCode>_-* #,##0\ _€_-;\-* #,##0\ _€_-;_-* "-"??\ _€_-;_-@_-</c:formatCode>
                <c:ptCount val="1"/>
                <c:pt idx="0">
                  <c:v>185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8D8E-4535-B9E5-48BDFBFE1D67}"/>
            </c:ext>
          </c:extLst>
        </c:ser>
        <c:ser>
          <c:idx val="10"/>
          <c:order val="10"/>
          <c:tx>
            <c:strRef>
              <c:f>'1 S 2024'!$P$3</c:f>
              <c:strCache>
                <c:ptCount val="1"/>
                <c:pt idx="0">
                  <c:v>nov-24</c:v>
                </c:pt>
              </c:strCache>
            </c:strRef>
          </c:tx>
          <c:spPr>
            <a:solidFill>
              <a:schemeClr val="accent6">
                <a:shade val="51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4'!$E$5</c:f>
              <c:strCache>
                <c:ptCount val="1"/>
                <c:pt idx="0">
                  <c:v>Total Acquisition 2024</c:v>
                </c:pt>
              </c:strCache>
            </c:strRef>
          </c:cat>
          <c:val>
            <c:numRef>
              <c:f>'1 S 2024'!$P$5</c:f>
              <c:numCache>
                <c:formatCode>_-* #,##0\ _€_-;\-* #,##0\ _€_-;_-* "-"??\ _€_-;_-@_-</c:formatCode>
                <c:ptCount val="1"/>
                <c:pt idx="0">
                  <c:v>203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8D8E-4535-B9E5-48BDFBFE1D67}"/>
            </c:ext>
          </c:extLst>
        </c:ser>
        <c:ser>
          <c:idx val="11"/>
          <c:order val="11"/>
          <c:tx>
            <c:strRef>
              <c:f>'1 S 2024'!$Q$3</c:f>
              <c:strCache>
                <c:ptCount val="1"/>
                <c:pt idx="0">
                  <c:v>dec-24</c:v>
                </c:pt>
              </c:strCache>
            </c:strRef>
          </c:tx>
          <c:spPr>
            <a:solidFill>
              <a:schemeClr val="accent6">
                <a:shade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4'!$E$5</c:f>
              <c:strCache>
                <c:ptCount val="1"/>
                <c:pt idx="0">
                  <c:v>Total Acquisition 2024</c:v>
                </c:pt>
              </c:strCache>
            </c:strRef>
          </c:cat>
          <c:val>
            <c:numRef>
              <c:f>'1 S 2024'!$Q$5</c:f>
              <c:numCache>
                <c:formatCode>_-* #,##0\ _€_-;\-* #,##0\ _€_-;_-* "-"??\ _€_-;_-@_-</c:formatCode>
                <c:ptCount val="1"/>
                <c:pt idx="0">
                  <c:v>218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8D8E-4535-B9E5-48BDFBFE1D6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449306008"/>
        <c:axId val="449306336"/>
      </c:barChart>
      <c:catAx>
        <c:axId val="44930600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49306336"/>
        <c:crosses val="autoZero"/>
        <c:auto val="1"/>
        <c:lblAlgn val="ctr"/>
        <c:lblOffset val="100"/>
        <c:noMultiLvlLbl val="0"/>
      </c:catAx>
      <c:valAx>
        <c:axId val="449306336"/>
        <c:scaling>
          <c:orientation val="minMax"/>
        </c:scaling>
        <c:delete val="1"/>
        <c:axPos val="l"/>
        <c:numFmt formatCode="_-* #,##0\ _€_-;\-* #,##0\ _€_-;_-* &quot;-&quot;??\ _€_-;_-@_-" sourceLinked="1"/>
        <c:majorTickMark val="none"/>
        <c:minorTickMark val="none"/>
        <c:tickLblPos val="nextTo"/>
        <c:crossAx val="449306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30848300229384795"/>
          <c:w val="1"/>
          <c:h val="0.6915169977061520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1 S 2024'!$F$3</c:f>
              <c:strCache>
                <c:ptCount val="1"/>
                <c:pt idx="0">
                  <c:v>jan-24</c:v>
                </c:pt>
              </c:strCache>
            </c:strRef>
          </c:tx>
          <c:spPr>
            <a:solidFill>
              <a:schemeClr val="accent6">
                <a:tint val="41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4'!$E$4</c:f>
              <c:strCache>
                <c:ptCount val="1"/>
                <c:pt idx="0">
                  <c:v>Net balance 2024</c:v>
                </c:pt>
              </c:strCache>
            </c:strRef>
          </c:cat>
          <c:val>
            <c:numRef>
              <c:f>'1 S 2024'!$F$4</c:f>
              <c:numCache>
                <c:formatCode>_-* #,##0\ _€_-;\-* #,##0\ _€_-;_-* "-"??\ _€_-;_-@_-</c:formatCode>
                <c:ptCount val="1"/>
                <c:pt idx="0">
                  <c:v>-7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E61-4698-ADA3-70CB4F253E35}"/>
            </c:ext>
          </c:extLst>
        </c:ser>
        <c:ser>
          <c:idx val="1"/>
          <c:order val="1"/>
          <c:tx>
            <c:strRef>
              <c:f>'1 S 2024'!$G$3</c:f>
              <c:strCache>
                <c:ptCount val="1"/>
                <c:pt idx="0">
                  <c:v>feb-24</c:v>
                </c:pt>
              </c:strCache>
            </c:strRef>
          </c:tx>
          <c:spPr>
            <a:solidFill>
              <a:schemeClr val="accent6">
                <a:tint val="52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4'!$E$4</c:f>
              <c:strCache>
                <c:ptCount val="1"/>
                <c:pt idx="0">
                  <c:v>Net balance 2024</c:v>
                </c:pt>
              </c:strCache>
            </c:strRef>
          </c:cat>
          <c:val>
            <c:numRef>
              <c:f>'1 S 2024'!$G$4</c:f>
              <c:numCache>
                <c:formatCode>_-* #,##0\ _€_-;\-* #,##0\ _€_-;_-* "-"??\ _€_-;_-@_-</c:formatCode>
                <c:ptCount val="1"/>
                <c:pt idx="0">
                  <c:v>-6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E61-4698-ADA3-70CB4F253E35}"/>
            </c:ext>
          </c:extLst>
        </c:ser>
        <c:ser>
          <c:idx val="2"/>
          <c:order val="2"/>
          <c:tx>
            <c:strRef>
              <c:f>'1 S 2024'!$H$3</c:f>
              <c:strCache>
                <c:ptCount val="1"/>
                <c:pt idx="0">
                  <c:v>mar-24</c:v>
                </c:pt>
              </c:strCache>
            </c:strRef>
          </c:tx>
          <c:spPr>
            <a:solidFill>
              <a:schemeClr val="accent6">
                <a:tint val="63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4'!$E$4</c:f>
              <c:strCache>
                <c:ptCount val="1"/>
                <c:pt idx="0">
                  <c:v>Net balance 2024</c:v>
                </c:pt>
              </c:strCache>
            </c:strRef>
          </c:cat>
          <c:val>
            <c:numRef>
              <c:f>'1 S 2024'!$H$4</c:f>
              <c:numCache>
                <c:formatCode>_-* #,##0\ _€_-;\-* #,##0\ _€_-;_-* "-"??\ _€_-;_-@_-</c:formatCode>
                <c:ptCount val="1"/>
                <c:pt idx="0">
                  <c:v>-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E61-4698-ADA3-70CB4F253E35}"/>
            </c:ext>
          </c:extLst>
        </c:ser>
        <c:ser>
          <c:idx val="3"/>
          <c:order val="3"/>
          <c:tx>
            <c:strRef>
              <c:f>'1 S 2024'!$I$3</c:f>
              <c:strCache>
                <c:ptCount val="1"/>
                <c:pt idx="0">
                  <c:v>apr-24</c:v>
                </c:pt>
              </c:strCache>
            </c:strRef>
          </c:tx>
          <c:spPr>
            <a:solidFill>
              <a:schemeClr val="accent6">
                <a:tint val="74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4'!$E$4</c:f>
              <c:strCache>
                <c:ptCount val="1"/>
                <c:pt idx="0">
                  <c:v>Net balance 2024</c:v>
                </c:pt>
              </c:strCache>
            </c:strRef>
          </c:cat>
          <c:val>
            <c:numRef>
              <c:f>'1 S 2024'!$I$4</c:f>
              <c:numCache>
                <c:formatCode>_-* #,##0\ _€_-;\-* #,##0\ _€_-;_-* "-"??\ _€_-;_-@_-</c:formatCode>
                <c:ptCount val="1"/>
                <c:pt idx="0">
                  <c:v>5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E61-4698-ADA3-70CB4F253E35}"/>
            </c:ext>
          </c:extLst>
        </c:ser>
        <c:ser>
          <c:idx val="4"/>
          <c:order val="4"/>
          <c:tx>
            <c:strRef>
              <c:f>'1 S 2024'!$J$3</c:f>
              <c:strCache>
                <c:ptCount val="1"/>
                <c:pt idx="0">
                  <c:v>may-24</c:v>
                </c:pt>
              </c:strCache>
            </c:strRef>
          </c:tx>
          <c:spPr>
            <a:solidFill>
              <a:schemeClr val="accent6">
                <a:tint val="84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4'!$E$4</c:f>
              <c:strCache>
                <c:ptCount val="1"/>
                <c:pt idx="0">
                  <c:v>Net balance 2024</c:v>
                </c:pt>
              </c:strCache>
            </c:strRef>
          </c:cat>
          <c:val>
            <c:numRef>
              <c:f>'1 S 2024'!$J$4</c:f>
              <c:numCache>
                <c:formatCode>_-* #,##0\ _€_-;\-* #,##0\ _€_-;_-* "-"??\ _€_-;_-@_-</c:formatCode>
                <c:ptCount val="1"/>
                <c:pt idx="0">
                  <c:v>11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E61-4698-ADA3-70CB4F253E35}"/>
            </c:ext>
          </c:extLst>
        </c:ser>
        <c:ser>
          <c:idx val="5"/>
          <c:order val="5"/>
          <c:tx>
            <c:strRef>
              <c:f>'1 S 2024'!$K$3</c:f>
              <c:strCache>
                <c:ptCount val="1"/>
                <c:pt idx="0">
                  <c:v>jun-24</c:v>
                </c:pt>
              </c:strCache>
            </c:strRef>
          </c:tx>
          <c:spPr>
            <a:solidFill>
              <a:schemeClr val="accent6">
                <a:tint val="9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4'!$E$4</c:f>
              <c:strCache>
                <c:ptCount val="1"/>
                <c:pt idx="0">
                  <c:v>Net balance 2024</c:v>
                </c:pt>
              </c:strCache>
            </c:strRef>
          </c:cat>
          <c:val>
            <c:numRef>
              <c:f>'1 S 2024'!$K$4</c:f>
              <c:numCache>
                <c:formatCode>_-* #,##0\ _€_-;\-* #,##0\ _€_-;_-* "-"??\ _€_-;_-@_-</c:formatCode>
                <c:ptCount val="1"/>
                <c:pt idx="0">
                  <c:v>14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E61-4698-ADA3-70CB4F253E35}"/>
            </c:ext>
          </c:extLst>
        </c:ser>
        <c:ser>
          <c:idx val="6"/>
          <c:order val="6"/>
          <c:tx>
            <c:strRef>
              <c:f>'1 S 2024'!$L$3</c:f>
              <c:strCache>
                <c:ptCount val="1"/>
                <c:pt idx="0">
                  <c:v>jul-24</c:v>
                </c:pt>
              </c:strCache>
            </c:strRef>
          </c:tx>
          <c:spPr>
            <a:solidFill>
              <a:schemeClr val="accent6">
                <a:shade val="94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4'!$E$4</c:f>
              <c:strCache>
                <c:ptCount val="1"/>
                <c:pt idx="0">
                  <c:v>Net balance 2024</c:v>
                </c:pt>
              </c:strCache>
            </c:strRef>
          </c:cat>
          <c:val>
            <c:numRef>
              <c:f>'1 S 2024'!$L$4</c:f>
              <c:numCache>
                <c:formatCode>_-* #,##0\ _€_-;\-* #,##0\ _€_-;_-* "-"??\ _€_-;_-@_-</c:formatCode>
                <c:ptCount val="1"/>
                <c:pt idx="0">
                  <c:v>15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E61-4698-ADA3-70CB4F253E35}"/>
            </c:ext>
          </c:extLst>
        </c:ser>
        <c:ser>
          <c:idx val="7"/>
          <c:order val="7"/>
          <c:tx>
            <c:strRef>
              <c:f>'1 S 2024'!$M$3</c:f>
              <c:strCache>
                <c:ptCount val="1"/>
                <c:pt idx="0">
                  <c:v>aug-24</c:v>
                </c:pt>
              </c:strCache>
            </c:strRef>
          </c:tx>
          <c:spPr>
            <a:solidFill>
              <a:schemeClr val="accent6">
                <a:shade val="83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4'!$E$4</c:f>
              <c:strCache>
                <c:ptCount val="1"/>
                <c:pt idx="0">
                  <c:v>Net balance 2024</c:v>
                </c:pt>
              </c:strCache>
            </c:strRef>
          </c:cat>
          <c:val>
            <c:numRef>
              <c:f>'1 S 2024'!$M$4</c:f>
              <c:numCache>
                <c:formatCode>_-* #,##0\ _€_-;\-* #,##0\ _€_-;_-* "-"??\ _€_-;_-@_-</c:formatCode>
                <c:ptCount val="1"/>
                <c:pt idx="0">
                  <c:v>15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9E61-4698-ADA3-70CB4F253E35}"/>
            </c:ext>
          </c:extLst>
        </c:ser>
        <c:ser>
          <c:idx val="8"/>
          <c:order val="8"/>
          <c:tx>
            <c:strRef>
              <c:f>'1 S 2024'!$N$3</c:f>
              <c:strCache>
                <c:ptCount val="1"/>
                <c:pt idx="0">
                  <c:v>sep-24</c:v>
                </c:pt>
              </c:strCache>
            </c:strRef>
          </c:tx>
          <c:spPr>
            <a:solidFill>
              <a:schemeClr val="accent6">
                <a:shade val="73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4'!$E$4</c:f>
              <c:strCache>
                <c:ptCount val="1"/>
                <c:pt idx="0">
                  <c:v>Net balance 2024</c:v>
                </c:pt>
              </c:strCache>
            </c:strRef>
          </c:cat>
          <c:val>
            <c:numRef>
              <c:f>'1 S 2024'!$N$4</c:f>
              <c:numCache>
                <c:formatCode>_-* #,##0\ _€_-;\-* #,##0\ _€_-;_-* "-"??\ _€_-;_-@_-</c:formatCode>
                <c:ptCount val="1"/>
                <c:pt idx="0">
                  <c:v>22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E61-4698-ADA3-70CB4F253E35}"/>
            </c:ext>
          </c:extLst>
        </c:ser>
        <c:ser>
          <c:idx val="9"/>
          <c:order val="9"/>
          <c:tx>
            <c:strRef>
              <c:f>'1 S 2024'!$O$3</c:f>
              <c:strCache>
                <c:ptCount val="1"/>
                <c:pt idx="0">
                  <c:v>oct-24</c:v>
                </c:pt>
              </c:strCache>
            </c:strRef>
          </c:tx>
          <c:spPr>
            <a:solidFill>
              <a:schemeClr val="accent6">
                <a:shade val="62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4'!$E$4</c:f>
              <c:strCache>
                <c:ptCount val="1"/>
                <c:pt idx="0">
                  <c:v>Net balance 2024</c:v>
                </c:pt>
              </c:strCache>
            </c:strRef>
          </c:cat>
          <c:val>
            <c:numRef>
              <c:f>'1 S 2024'!$O$4</c:f>
              <c:numCache>
                <c:formatCode>_-* #,##0\ _€_-;\-* #,##0\ _€_-;_-* "-"??\ _€_-;_-@_-</c:formatCode>
                <c:ptCount val="1"/>
                <c:pt idx="0">
                  <c:v>28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9E61-4698-ADA3-70CB4F253E35}"/>
            </c:ext>
          </c:extLst>
        </c:ser>
        <c:ser>
          <c:idx val="10"/>
          <c:order val="10"/>
          <c:tx>
            <c:strRef>
              <c:f>'1 S 2024'!$P$3</c:f>
              <c:strCache>
                <c:ptCount val="1"/>
                <c:pt idx="0">
                  <c:v>nov-24</c:v>
                </c:pt>
              </c:strCache>
            </c:strRef>
          </c:tx>
          <c:spPr>
            <a:solidFill>
              <a:schemeClr val="accent6">
                <a:shade val="51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4'!$E$4</c:f>
              <c:strCache>
                <c:ptCount val="1"/>
                <c:pt idx="0">
                  <c:v>Net balance 2024</c:v>
                </c:pt>
              </c:strCache>
            </c:strRef>
          </c:cat>
          <c:val>
            <c:numRef>
              <c:f>'1 S 2024'!$P$4</c:f>
              <c:numCache>
                <c:formatCode>_-* #,##0\ _€_-;\-* #,##0\ _€_-;_-* "-"??\ _€_-;_-@_-</c:formatCode>
                <c:ptCount val="1"/>
                <c:pt idx="0">
                  <c:v>32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E61-4698-ADA3-70CB4F253E35}"/>
            </c:ext>
          </c:extLst>
        </c:ser>
        <c:ser>
          <c:idx val="11"/>
          <c:order val="11"/>
          <c:tx>
            <c:strRef>
              <c:f>'1 S 2024'!$Q$3</c:f>
              <c:strCache>
                <c:ptCount val="1"/>
                <c:pt idx="0">
                  <c:v>dec-24</c:v>
                </c:pt>
              </c:strCache>
            </c:strRef>
          </c:tx>
          <c:spPr>
            <a:solidFill>
              <a:schemeClr val="accent6">
                <a:shade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4'!$E$4</c:f>
              <c:strCache>
                <c:ptCount val="1"/>
                <c:pt idx="0">
                  <c:v>Net balance 2024</c:v>
                </c:pt>
              </c:strCache>
            </c:strRef>
          </c:cat>
          <c:val>
            <c:numRef>
              <c:f>'1 S 2024'!$Q$4</c:f>
              <c:numCache>
                <c:formatCode>_-* #,##0\ _€_-;\-* #,##0\ _€_-;_-* "-"??\ _€_-;_-@_-</c:formatCode>
                <c:ptCount val="1"/>
                <c:pt idx="0">
                  <c:v>34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9E61-4698-ADA3-70CB4F253E35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449306008"/>
        <c:axId val="449306336"/>
      </c:barChart>
      <c:catAx>
        <c:axId val="44930600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49306336"/>
        <c:crosses val="autoZero"/>
        <c:auto val="1"/>
        <c:lblAlgn val="ctr"/>
        <c:lblOffset val="100"/>
        <c:noMultiLvlLbl val="0"/>
      </c:catAx>
      <c:valAx>
        <c:axId val="449306336"/>
        <c:scaling>
          <c:orientation val="minMax"/>
        </c:scaling>
        <c:delete val="1"/>
        <c:axPos val="l"/>
        <c:numFmt formatCode="_-* #,##0\ _€_-;\-* #,##0\ _€_-;_-* &quot;-&quot;??\ _€_-;_-@_-" sourceLinked="1"/>
        <c:majorTickMark val="none"/>
        <c:minorTickMark val="none"/>
        <c:tickLblPos val="nextTo"/>
        <c:crossAx val="449306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9.4815486484211897E-2"/>
          <c:w val="0.92556393841894502"/>
          <c:h val="0.810369027031576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1 S 2025'!$F$3</c:f>
              <c:strCache>
                <c:ptCount val="1"/>
                <c:pt idx="0">
                  <c:v>jan-25</c:v>
                </c:pt>
              </c:strCache>
            </c:strRef>
          </c:tx>
          <c:spPr>
            <a:solidFill>
              <a:schemeClr val="accent6">
                <a:tint val="41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5'!$E$4</c:f>
              <c:strCache>
                <c:ptCount val="1"/>
                <c:pt idx="0">
                  <c:v>Net balance 2025</c:v>
                </c:pt>
              </c:strCache>
            </c:strRef>
          </c:cat>
          <c:val>
            <c:numRef>
              <c:f>'1 S 2025'!$F$4</c:f>
              <c:numCache>
                <c:formatCode>_-* #,##0\ _€_-;\-* #,##0\ _€_-;_-* "-"??\ _€_-;_-@_-</c:formatCode>
                <c:ptCount val="1"/>
                <c:pt idx="0">
                  <c:v>-4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93B-4ADB-B524-B01F83DDD5BE}"/>
            </c:ext>
          </c:extLst>
        </c:ser>
        <c:ser>
          <c:idx val="1"/>
          <c:order val="1"/>
          <c:tx>
            <c:strRef>
              <c:f>'1 S 2025'!$G$3</c:f>
              <c:strCache>
                <c:ptCount val="1"/>
                <c:pt idx="0">
                  <c:v>feb-25</c:v>
                </c:pt>
              </c:strCache>
            </c:strRef>
          </c:tx>
          <c:spPr>
            <a:solidFill>
              <a:schemeClr val="accent6">
                <a:tint val="52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5'!$E$4</c:f>
              <c:strCache>
                <c:ptCount val="1"/>
                <c:pt idx="0">
                  <c:v>Net balance 2025</c:v>
                </c:pt>
              </c:strCache>
            </c:strRef>
          </c:cat>
          <c:val>
            <c:numRef>
              <c:f>'1 S 2025'!$G$4</c:f>
              <c:numCache>
                <c:formatCode>_-* #,##0\ _€_-;\-* #,##0\ _€_-;_-* "-"??\ _€_-;_-@_-</c:formatCode>
                <c:ptCount val="1"/>
                <c:pt idx="0">
                  <c:v>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93B-4ADB-B524-B01F83DDD5BE}"/>
            </c:ext>
          </c:extLst>
        </c:ser>
        <c:ser>
          <c:idx val="2"/>
          <c:order val="2"/>
          <c:tx>
            <c:strRef>
              <c:f>'1 S 2025'!$H$3</c:f>
              <c:strCache>
                <c:ptCount val="1"/>
                <c:pt idx="0">
                  <c:v>mar-25</c:v>
                </c:pt>
              </c:strCache>
            </c:strRef>
          </c:tx>
          <c:spPr>
            <a:solidFill>
              <a:schemeClr val="accent6">
                <a:tint val="63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5'!$E$4</c:f>
              <c:strCache>
                <c:ptCount val="1"/>
                <c:pt idx="0">
                  <c:v>Net balance 2025</c:v>
                </c:pt>
              </c:strCache>
            </c:strRef>
          </c:cat>
          <c:val>
            <c:numRef>
              <c:f>'1 S 2025'!$H$4</c:f>
              <c:numCache>
                <c:formatCode>_-* #,##0\ _€_-;\-* #,##0\ _€_-;_-* "-"??\ _€_-;_-@_-</c:formatCode>
                <c:ptCount val="1"/>
                <c:pt idx="0">
                  <c:v>8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93B-4ADB-B524-B01F83DDD5BE}"/>
            </c:ext>
          </c:extLst>
        </c:ser>
        <c:ser>
          <c:idx val="3"/>
          <c:order val="3"/>
          <c:tx>
            <c:strRef>
              <c:f>'1 S 2025'!$I$3</c:f>
              <c:strCache>
                <c:ptCount val="1"/>
                <c:pt idx="0">
                  <c:v>apr-25</c:v>
                </c:pt>
              </c:strCache>
            </c:strRef>
          </c:tx>
          <c:spPr>
            <a:solidFill>
              <a:schemeClr val="accent6">
                <a:tint val="74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5'!$E$4</c:f>
              <c:strCache>
                <c:ptCount val="1"/>
                <c:pt idx="0">
                  <c:v>Net balance 2025</c:v>
                </c:pt>
              </c:strCache>
            </c:strRef>
          </c:cat>
          <c:val>
            <c:numRef>
              <c:f>'1 S 2025'!$I$4</c:f>
              <c:numCache>
                <c:formatCode>_-* #,##0\ _€_-;\-* #,##0\ _€_-;_-* "-"??\ _€_-;_-@_-</c:formatCode>
                <c:ptCount val="1"/>
                <c:pt idx="0">
                  <c:v>15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93B-4ADB-B524-B01F83DDD5BE}"/>
            </c:ext>
          </c:extLst>
        </c:ser>
        <c:ser>
          <c:idx val="4"/>
          <c:order val="4"/>
          <c:tx>
            <c:strRef>
              <c:f>'1 S 2025'!$J$3</c:f>
              <c:strCache>
                <c:ptCount val="1"/>
                <c:pt idx="0">
                  <c:v>may-25</c:v>
                </c:pt>
              </c:strCache>
            </c:strRef>
          </c:tx>
          <c:spPr>
            <a:solidFill>
              <a:schemeClr val="accent6">
                <a:tint val="84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5'!$E$4</c:f>
              <c:strCache>
                <c:ptCount val="1"/>
                <c:pt idx="0">
                  <c:v>Net balance 2025</c:v>
                </c:pt>
              </c:strCache>
            </c:strRef>
          </c:cat>
          <c:val>
            <c:numRef>
              <c:f>'1 S 2025'!$J$4</c:f>
              <c:numCache>
                <c:formatCode>_-* #,##0\ _€_-;\-* #,##0\ _€_-;_-* "-"??\ _€_-;_-@_-</c:formatCode>
                <c:ptCount val="1"/>
                <c:pt idx="0">
                  <c:v>17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93B-4ADB-B524-B01F83DDD5BE}"/>
            </c:ext>
          </c:extLst>
        </c:ser>
        <c:ser>
          <c:idx val="5"/>
          <c:order val="5"/>
          <c:tx>
            <c:strRef>
              <c:f>'1 S 2025'!$K$3</c:f>
              <c:strCache>
                <c:ptCount val="1"/>
                <c:pt idx="0">
                  <c:v>jun-25</c:v>
                </c:pt>
              </c:strCache>
            </c:strRef>
          </c:tx>
          <c:spPr>
            <a:solidFill>
              <a:schemeClr val="accent6">
                <a:tint val="9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5'!$E$4</c:f>
              <c:strCache>
                <c:ptCount val="1"/>
                <c:pt idx="0">
                  <c:v>Net balance 2025</c:v>
                </c:pt>
              </c:strCache>
            </c:strRef>
          </c:cat>
          <c:val>
            <c:numRef>
              <c:f>'1 S 2025'!$K$4</c:f>
              <c:numCache>
                <c:formatCode>_-* #,##0\ _€_-;\-* #,##0\ _€_-;_-* "-"??\ _€_-;_-@_-</c:formatCode>
                <c:ptCount val="1"/>
                <c:pt idx="0">
                  <c:v>22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93B-4ADB-B524-B01F83DDD5BE}"/>
            </c:ext>
          </c:extLst>
        </c:ser>
        <c:ser>
          <c:idx val="6"/>
          <c:order val="6"/>
          <c:tx>
            <c:strRef>
              <c:f>'1 S 2025'!$L$3</c:f>
              <c:strCache>
                <c:ptCount val="1"/>
                <c:pt idx="0">
                  <c:v>jul-25</c:v>
                </c:pt>
              </c:strCache>
            </c:strRef>
          </c:tx>
          <c:spPr>
            <a:solidFill>
              <a:schemeClr val="accent6">
                <a:shade val="94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5'!$E$4</c:f>
              <c:strCache>
                <c:ptCount val="1"/>
                <c:pt idx="0">
                  <c:v>Net balance 2025</c:v>
                </c:pt>
              </c:strCache>
            </c:strRef>
          </c:cat>
          <c:val>
            <c:numRef>
              <c:f>'1 S 2025'!$L$4</c:f>
              <c:numCache>
                <c:formatCode>_-* #,##0\ _€_-;\-* #,##0\ _€_-;_-* "-"??\ _€_-;_-@_-</c:formatCode>
                <c:ptCount val="1"/>
                <c:pt idx="0">
                  <c:v>27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93B-4ADB-B524-B01F83DDD5BE}"/>
            </c:ext>
          </c:extLst>
        </c:ser>
        <c:ser>
          <c:idx val="7"/>
          <c:order val="7"/>
          <c:tx>
            <c:strRef>
              <c:f>'1 S 2025'!$M$3</c:f>
              <c:strCache>
                <c:ptCount val="1"/>
                <c:pt idx="0">
                  <c:v>aug-25</c:v>
                </c:pt>
              </c:strCache>
            </c:strRef>
          </c:tx>
          <c:spPr>
            <a:solidFill>
              <a:schemeClr val="accent6">
                <a:shade val="83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5'!$E$4</c:f>
              <c:strCache>
                <c:ptCount val="1"/>
                <c:pt idx="0">
                  <c:v>Net balance 2025</c:v>
                </c:pt>
              </c:strCache>
            </c:strRef>
          </c:cat>
          <c:val>
            <c:numRef>
              <c:f>'1 S 2025'!$M$4</c:f>
              <c:numCache>
                <c:formatCode>_-* #,##0\ _€_-;\-* #,##0\ _€_-;_-* "-"??\ _€_-;_-@_-</c:formatCode>
                <c:ptCount val="1"/>
                <c:pt idx="0">
                  <c:v>26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793B-4ADB-B524-B01F83DDD5BE}"/>
            </c:ext>
          </c:extLst>
        </c:ser>
        <c:ser>
          <c:idx val="8"/>
          <c:order val="8"/>
          <c:tx>
            <c:strRef>
              <c:f>'1 S 2025'!$N$3</c:f>
              <c:strCache>
                <c:ptCount val="1"/>
                <c:pt idx="0">
                  <c:v>sep-25</c:v>
                </c:pt>
              </c:strCache>
            </c:strRef>
          </c:tx>
          <c:spPr>
            <a:solidFill>
              <a:schemeClr val="accent6">
                <a:shade val="73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5'!$E$4</c:f>
              <c:strCache>
                <c:ptCount val="1"/>
                <c:pt idx="0">
                  <c:v>Net balance 2025</c:v>
                </c:pt>
              </c:strCache>
            </c:strRef>
          </c:cat>
          <c:val>
            <c:numRef>
              <c:f>'1 S 2025'!$N$4</c:f>
              <c:numCache>
                <c:formatCode>_-* #,##0\ _€_-;\-* #,##0\ _€_-;_-* "-"??\ _€_-;_-@_-</c:formatCode>
                <c:ptCount val="1"/>
                <c:pt idx="0">
                  <c:v>32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93B-4ADB-B524-B01F83DDD5BE}"/>
            </c:ext>
          </c:extLst>
        </c:ser>
        <c:ser>
          <c:idx val="9"/>
          <c:order val="9"/>
          <c:tx>
            <c:strRef>
              <c:f>'1 S 2025'!$O$3</c:f>
              <c:strCache>
                <c:ptCount val="1"/>
                <c:pt idx="0">
                  <c:v>oct-25</c:v>
                </c:pt>
              </c:strCache>
            </c:strRef>
          </c:tx>
          <c:spPr>
            <a:solidFill>
              <a:schemeClr val="accent6">
                <a:shade val="62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5'!$E$4</c:f>
              <c:strCache>
                <c:ptCount val="1"/>
                <c:pt idx="0">
                  <c:v>Net balance 2025</c:v>
                </c:pt>
              </c:strCache>
            </c:strRef>
          </c:cat>
          <c:val>
            <c:numRef>
              <c:f>'1 S 2025'!$O$4</c:f>
              <c:numCache>
                <c:formatCode>_-* #,##0\ _€_-;\-* #,##0\ _€_-;_-* "-"??\ _€_-;_-@_-</c:formatCode>
                <c:ptCount val="1"/>
                <c:pt idx="0">
                  <c:v>40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793B-4ADB-B524-B01F83DDD5BE}"/>
            </c:ext>
          </c:extLst>
        </c:ser>
        <c:ser>
          <c:idx val="10"/>
          <c:order val="10"/>
          <c:tx>
            <c:strRef>
              <c:f>'1 S 2025'!$P$3</c:f>
              <c:strCache>
                <c:ptCount val="1"/>
                <c:pt idx="0">
                  <c:v>nov-25</c:v>
                </c:pt>
              </c:strCache>
            </c:strRef>
          </c:tx>
          <c:spPr>
            <a:solidFill>
              <a:schemeClr val="accent6">
                <a:shade val="51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5'!$E$4</c:f>
              <c:strCache>
                <c:ptCount val="1"/>
                <c:pt idx="0">
                  <c:v>Net balance 2025</c:v>
                </c:pt>
              </c:strCache>
            </c:strRef>
          </c:cat>
          <c:val>
            <c:numRef>
              <c:f>'1 S 2025'!$P$4</c:f>
              <c:numCache>
                <c:formatCode>_-* #,##0\ _€_-;\-* #,##0\ _€_-;_-* "-"??\ _€_-;_-@_-</c:formatCode>
                <c:ptCount val="1"/>
                <c:pt idx="0">
                  <c:v>47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93B-4ADB-B524-B01F83DDD5BE}"/>
            </c:ext>
          </c:extLst>
        </c:ser>
        <c:ser>
          <c:idx val="11"/>
          <c:order val="11"/>
          <c:tx>
            <c:strRef>
              <c:f>'1 S 2025'!$Q$3</c:f>
              <c:strCache>
                <c:ptCount val="1"/>
                <c:pt idx="0">
                  <c:v>dec-25</c:v>
                </c:pt>
              </c:strCache>
            </c:strRef>
          </c:tx>
          <c:spPr>
            <a:solidFill>
              <a:schemeClr val="accent6">
                <a:shade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5'!$E$4</c:f>
              <c:strCache>
                <c:ptCount val="1"/>
                <c:pt idx="0">
                  <c:v>Net balance 2025</c:v>
                </c:pt>
              </c:strCache>
            </c:strRef>
          </c:cat>
          <c:val>
            <c:numRef>
              <c:f>'1 S 2025'!$Q$4</c:f>
              <c:numCache>
                <c:formatCode>_-* #,##0\ _€_-;\-* #,##0\ _€_-;_-* "-"??\ _€_-;_-@_-</c:formatCode>
                <c:ptCount val="1"/>
                <c:pt idx="0">
                  <c:v>49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793B-4ADB-B524-B01F83DDD5B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449306008"/>
        <c:axId val="449306336"/>
      </c:barChart>
      <c:catAx>
        <c:axId val="44930600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49306336"/>
        <c:crosses val="autoZero"/>
        <c:auto val="1"/>
        <c:lblAlgn val="ctr"/>
        <c:lblOffset val="100"/>
        <c:noMultiLvlLbl val="0"/>
      </c:catAx>
      <c:valAx>
        <c:axId val="449306336"/>
        <c:scaling>
          <c:orientation val="minMax"/>
        </c:scaling>
        <c:delete val="1"/>
        <c:axPos val="l"/>
        <c:numFmt formatCode="_-* #,##0\ _€_-;\-* #,##0\ _€_-;_-* &quot;-&quot;??\ _€_-;_-@_-" sourceLinked="1"/>
        <c:majorTickMark val="none"/>
        <c:minorTickMark val="none"/>
        <c:tickLblPos val="nextTo"/>
        <c:crossAx val="449306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autoTitleDeleted val="1"/>
    <c:plotArea>
      <c:layout>
        <c:manualLayout>
          <c:layoutTarget val="inner"/>
          <c:xMode val="edge"/>
          <c:yMode val="edge"/>
          <c:x val="1.3041140588424479E-2"/>
          <c:y val="0.10684218254793749"/>
          <c:w val="0.94261898141093226"/>
          <c:h val="0.7863156349041250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1 S 2025'!$F$3</c:f>
              <c:strCache>
                <c:ptCount val="1"/>
                <c:pt idx="0">
                  <c:v>jan-25</c:v>
                </c:pt>
              </c:strCache>
            </c:strRef>
          </c:tx>
          <c:spPr>
            <a:solidFill>
              <a:schemeClr val="accent6">
                <a:tint val="41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5'!$E$6</c:f>
              <c:strCache>
                <c:ptCount val="1"/>
                <c:pt idx="0">
                  <c:v>Total Loss 2025</c:v>
                </c:pt>
              </c:strCache>
            </c:strRef>
          </c:cat>
          <c:val>
            <c:numRef>
              <c:f>'1 S 2025'!$F$6</c:f>
              <c:numCache>
                <c:formatCode>_-* #,##0\ _€_-;\-* #,##0\ _€_-;_-* "-"??\ _€_-;_-@_-</c:formatCode>
                <c:ptCount val="1"/>
                <c:pt idx="0">
                  <c:v>23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4EE-4D1B-B319-19E48143D22D}"/>
            </c:ext>
          </c:extLst>
        </c:ser>
        <c:ser>
          <c:idx val="1"/>
          <c:order val="1"/>
          <c:tx>
            <c:strRef>
              <c:f>'1 S 2025'!$G$3</c:f>
              <c:strCache>
                <c:ptCount val="1"/>
                <c:pt idx="0">
                  <c:v>feb-25</c:v>
                </c:pt>
              </c:strCache>
            </c:strRef>
          </c:tx>
          <c:spPr>
            <a:solidFill>
              <a:schemeClr val="accent6">
                <a:tint val="52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5'!$E$6</c:f>
              <c:strCache>
                <c:ptCount val="1"/>
                <c:pt idx="0">
                  <c:v>Total Loss 2025</c:v>
                </c:pt>
              </c:strCache>
            </c:strRef>
          </c:cat>
          <c:val>
            <c:numRef>
              <c:f>'1 S 2025'!$G$6</c:f>
              <c:numCache>
                <c:formatCode>_-* #,##0\ _€_-;\-* #,##0\ _€_-;_-* "-"??\ _€_-;_-@_-</c:formatCode>
                <c:ptCount val="1"/>
                <c:pt idx="0">
                  <c:v>40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4EE-4D1B-B319-19E48143D22D}"/>
            </c:ext>
          </c:extLst>
        </c:ser>
        <c:ser>
          <c:idx val="2"/>
          <c:order val="2"/>
          <c:tx>
            <c:strRef>
              <c:f>'1 S 2025'!$H$3</c:f>
              <c:strCache>
                <c:ptCount val="1"/>
                <c:pt idx="0">
                  <c:v>mar-25</c:v>
                </c:pt>
              </c:strCache>
            </c:strRef>
          </c:tx>
          <c:spPr>
            <a:solidFill>
              <a:schemeClr val="accent6">
                <a:tint val="63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5'!$E$6</c:f>
              <c:strCache>
                <c:ptCount val="1"/>
                <c:pt idx="0">
                  <c:v>Total Loss 2025</c:v>
                </c:pt>
              </c:strCache>
            </c:strRef>
          </c:cat>
          <c:val>
            <c:numRef>
              <c:f>'1 S 2025'!$H$6</c:f>
              <c:numCache>
                <c:formatCode>_-* #,##0\ _€_-;\-* #,##0\ _€_-;_-* "-"??\ _€_-;_-@_-</c:formatCode>
                <c:ptCount val="1"/>
                <c:pt idx="0">
                  <c:v>57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4EE-4D1B-B319-19E48143D22D}"/>
            </c:ext>
          </c:extLst>
        </c:ser>
        <c:ser>
          <c:idx val="3"/>
          <c:order val="3"/>
          <c:tx>
            <c:strRef>
              <c:f>'1 S 2025'!$I$3</c:f>
              <c:strCache>
                <c:ptCount val="1"/>
                <c:pt idx="0">
                  <c:v>apr-25</c:v>
                </c:pt>
              </c:strCache>
            </c:strRef>
          </c:tx>
          <c:spPr>
            <a:solidFill>
              <a:schemeClr val="accent6">
                <a:tint val="74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5'!$E$6</c:f>
              <c:strCache>
                <c:ptCount val="1"/>
                <c:pt idx="0">
                  <c:v>Total Loss 2025</c:v>
                </c:pt>
              </c:strCache>
            </c:strRef>
          </c:cat>
          <c:val>
            <c:numRef>
              <c:f>'1 S 2025'!$I$6</c:f>
              <c:numCache>
                <c:formatCode>_-* #,##0\ _€_-;\-* #,##0\ _€_-;_-* "-"??\ _€_-;_-@_-</c:formatCode>
                <c:ptCount val="1"/>
                <c:pt idx="0">
                  <c:v>72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4EE-4D1B-B319-19E48143D22D}"/>
            </c:ext>
          </c:extLst>
        </c:ser>
        <c:ser>
          <c:idx val="4"/>
          <c:order val="4"/>
          <c:tx>
            <c:strRef>
              <c:f>'1 S 2025'!$J$3</c:f>
              <c:strCache>
                <c:ptCount val="1"/>
                <c:pt idx="0">
                  <c:v>may-25</c:v>
                </c:pt>
              </c:strCache>
            </c:strRef>
          </c:tx>
          <c:spPr>
            <a:solidFill>
              <a:schemeClr val="accent6">
                <a:tint val="84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5'!$E$6</c:f>
              <c:strCache>
                <c:ptCount val="1"/>
                <c:pt idx="0">
                  <c:v>Total Loss 2025</c:v>
                </c:pt>
              </c:strCache>
            </c:strRef>
          </c:cat>
          <c:val>
            <c:numRef>
              <c:f>'1 S 2025'!$J$6</c:f>
              <c:numCache>
                <c:formatCode>_-* #,##0\ _€_-;\-* #,##0\ _€_-;_-* "-"??\ _€_-;_-@_-</c:formatCode>
                <c:ptCount val="1"/>
                <c:pt idx="0">
                  <c:v>91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4EE-4D1B-B319-19E48143D22D}"/>
            </c:ext>
          </c:extLst>
        </c:ser>
        <c:ser>
          <c:idx val="5"/>
          <c:order val="5"/>
          <c:tx>
            <c:strRef>
              <c:f>'1 S 2025'!$K$3</c:f>
              <c:strCache>
                <c:ptCount val="1"/>
                <c:pt idx="0">
                  <c:v>jun-25</c:v>
                </c:pt>
              </c:strCache>
            </c:strRef>
          </c:tx>
          <c:spPr>
            <a:solidFill>
              <a:schemeClr val="accent6">
                <a:tint val="9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5'!$E$6</c:f>
              <c:strCache>
                <c:ptCount val="1"/>
                <c:pt idx="0">
                  <c:v>Total Loss 2025</c:v>
                </c:pt>
              </c:strCache>
            </c:strRef>
          </c:cat>
          <c:val>
            <c:numRef>
              <c:f>'1 S 2025'!$K$6</c:f>
              <c:numCache>
                <c:formatCode>_-* #,##0\ _€_-;\-* #,##0\ _€_-;_-* "-"??\ _€_-;_-@_-</c:formatCode>
                <c:ptCount val="1"/>
                <c:pt idx="0">
                  <c:v>104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4EE-4D1B-B319-19E48143D22D}"/>
            </c:ext>
          </c:extLst>
        </c:ser>
        <c:ser>
          <c:idx val="6"/>
          <c:order val="6"/>
          <c:tx>
            <c:strRef>
              <c:f>'1 S 2025'!$L$3</c:f>
              <c:strCache>
                <c:ptCount val="1"/>
                <c:pt idx="0">
                  <c:v>jul-25</c:v>
                </c:pt>
              </c:strCache>
            </c:strRef>
          </c:tx>
          <c:spPr>
            <a:solidFill>
              <a:schemeClr val="accent6">
                <a:shade val="94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5'!$E$6</c:f>
              <c:strCache>
                <c:ptCount val="1"/>
                <c:pt idx="0">
                  <c:v>Total Loss 2025</c:v>
                </c:pt>
              </c:strCache>
            </c:strRef>
          </c:cat>
          <c:val>
            <c:numRef>
              <c:f>'1 S 2025'!$L$6</c:f>
              <c:numCache>
                <c:formatCode>_-* #,##0\ _€_-;\-* #,##0\ _€_-;_-* "-"??\ _€_-;_-@_-</c:formatCode>
                <c:ptCount val="1"/>
                <c:pt idx="0">
                  <c:v>119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4EE-4D1B-B319-19E48143D22D}"/>
            </c:ext>
          </c:extLst>
        </c:ser>
        <c:ser>
          <c:idx val="7"/>
          <c:order val="7"/>
          <c:tx>
            <c:strRef>
              <c:f>'1 S 2025'!$M$3</c:f>
              <c:strCache>
                <c:ptCount val="1"/>
                <c:pt idx="0">
                  <c:v>aug-25</c:v>
                </c:pt>
              </c:strCache>
            </c:strRef>
          </c:tx>
          <c:spPr>
            <a:solidFill>
              <a:schemeClr val="accent6">
                <a:shade val="83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5'!$E$6</c:f>
              <c:strCache>
                <c:ptCount val="1"/>
                <c:pt idx="0">
                  <c:v>Total Loss 2025</c:v>
                </c:pt>
              </c:strCache>
            </c:strRef>
          </c:cat>
          <c:val>
            <c:numRef>
              <c:f>'1 S 2025'!$M$6</c:f>
              <c:numCache>
                <c:formatCode>_-* #,##0\ _€_-;\-* #,##0\ _€_-;_-* "-"??\ _€_-;_-@_-</c:formatCode>
                <c:ptCount val="1"/>
                <c:pt idx="0">
                  <c:v>130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B4EE-4D1B-B319-19E48143D22D}"/>
            </c:ext>
          </c:extLst>
        </c:ser>
        <c:ser>
          <c:idx val="8"/>
          <c:order val="8"/>
          <c:tx>
            <c:strRef>
              <c:f>'1 S 2025'!$N$3</c:f>
              <c:strCache>
                <c:ptCount val="1"/>
                <c:pt idx="0">
                  <c:v>sep-25</c:v>
                </c:pt>
              </c:strCache>
            </c:strRef>
          </c:tx>
          <c:spPr>
            <a:solidFill>
              <a:schemeClr val="accent6">
                <a:shade val="73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tx1">
                          <a:lumMod val="5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C-B4EE-4D1B-B319-19E48143D22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5'!$E$6</c:f>
              <c:strCache>
                <c:ptCount val="1"/>
                <c:pt idx="0">
                  <c:v>Total Loss 2025</c:v>
                </c:pt>
              </c:strCache>
            </c:strRef>
          </c:cat>
          <c:val>
            <c:numRef>
              <c:f>'1 S 2025'!$N$6</c:f>
              <c:numCache>
                <c:formatCode>_-* #,##0\ _€_-;\-* #,##0\ _€_-;_-* "-"??\ _€_-;_-@_-</c:formatCode>
                <c:ptCount val="1"/>
                <c:pt idx="0">
                  <c:v>142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4EE-4D1B-B319-19E48143D22D}"/>
            </c:ext>
          </c:extLst>
        </c:ser>
        <c:ser>
          <c:idx val="9"/>
          <c:order val="9"/>
          <c:tx>
            <c:strRef>
              <c:f>'1 S 2025'!$O$3</c:f>
              <c:strCache>
                <c:ptCount val="1"/>
                <c:pt idx="0">
                  <c:v>oct-25</c:v>
                </c:pt>
              </c:strCache>
            </c:strRef>
          </c:tx>
          <c:spPr>
            <a:solidFill>
              <a:schemeClr val="accent6">
                <a:shade val="62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5'!$E$6</c:f>
              <c:strCache>
                <c:ptCount val="1"/>
                <c:pt idx="0">
                  <c:v>Total Loss 2025</c:v>
                </c:pt>
              </c:strCache>
            </c:strRef>
          </c:cat>
          <c:val>
            <c:numRef>
              <c:f>'1 S 2025'!$O$6</c:f>
              <c:numCache>
                <c:formatCode>_-* #,##0\ _€_-;\-* #,##0\ _€_-;_-* "-"??\ _€_-;_-@_-</c:formatCode>
                <c:ptCount val="1"/>
                <c:pt idx="0">
                  <c:v>156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B4EE-4D1B-B319-19E48143D22D}"/>
            </c:ext>
          </c:extLst>
        </c:ser>
        <c:ser>
          <c:idx val="10"/>
          <c:order val="10"/>
          <c:tx>
            <c:strRef>
              <c:f>'1 S 2025'!$P$3</c:f>
              <c:strCache>
                <c:ptCount val="1"/>
                <c:pt idx="0">
                  <c:v>nov-25</c:v>
                </c:pt>
              </c:strCache>
            </c:strRef>
          </c:tx>
          <c:spPr>
            <a:solidFill>
              <a:schemeClr val="accent6">
                <a:shade val="51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5'!$E$6</c:f>
              <c:strCache>
                <c:ptCount val="1"/>
                <c:pt idx="0">
                  <c:v>Total Loss 2025</c:v>
                </c:pt>
              </c:strCache>
            </c:strRef>
          </c:cat>
          <c:val>
            <c:numRef>
              <c:f>'1 S 2025'!$P$6</c:f>
              <c:numCache>
                <c:formatCode>General</c:formatCode>
                <c:ptCount val="1"/>
                <c:pt idx="0">
                  <c:v>167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EE-4D1B-B319-19E48143D22D}"/>
            </c:ext>
          </c:extLst>
        </c:ser>
        <c:ser>
          <c:idx val="11"/>
          <c:order val="11"/>
          <c:tx>
            <c:strRef>
              <c:f>'1 S 2025'!$Q$3</c:f>
              <c:strCache>
                <c:ptCount val="1"/>
                <c:pt idx="0">
                  <c:v>dec-25</c:v>
                </c:pt>
              </c:strCache>
            </c:strRef>
          </c:tx>
          <c:spPr>
            <a:solidFill>
              <a:schemeClr val="accent6">
                <a:shade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5'!$E$6</c:f>
              <c:strCache>
                <c:ptCount val="1"/>
                <c:pt idx="0">
                  <c:v>Total Loss 2025</c:v>
                </c:pt>
              </c:strCache>
            </c:strRef>
          </c:cat>
          <c:val>
            <c:numRef>
              <c:f>'1 S 2025'!$Q$6</c:f>
              <c:numCache>
                <c:formatCode>_-* #,##0\ _€_-;\-* #,##0\ _€_-;_-* "-"??\ _€_-;_-@_-</c:formatCode>
                <c:ptCount val="1"/>
                <c:pt idx="0">
                  <c:v>181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B4EE-4D1B-B319-19E48143D22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449306008"/>
        <c:axId val="449306336"/>
      </c:barChart>
      <c:catAx>
        <c:axId val="44930600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49306336"/>
        <c:crosses val="autoZero"/>
        <c:auto val="1"/>
        <c:lblAlgn val="ctr"/>
        <c:lblOffset val="100"/>
        <c:noMultiLvlLbl val="0"/>
      </c:catAx>
      <c:valAx>
        <c:axId val="449306336"/>
        <c:scaling>
          <c:orientation val="minMax"/>
        </c:scaling>
        <c:delete val="1"/>
        <c:axPos val="l"/>
        <c:numFmt formatCode="_-* #,##0\ _€_-;\-* #,##0\ _€_-;_-* &quot;-&quot;??\ _€_-;_-@_-" sourceLinked="1"/>
        <c:majorTickMark val="none"/>
        <c:minorTickMark val="none"/>
        <c:tickLblPos val="nextTo"/>
        <c:crossAx val="449306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13736263736263737"/>
          <c:w val="1"/>
          <c:h val="0.531161633641948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1 S 2025'!$F$3</c:f>
              <c:strCache>
                <c:ptCount val="1"/>
                <c:pt idx="0">
                  <c:v>jan-25</c:v>
                </c:pt>
              </c:strCache>
            </c:strRef>
          </c:tx>
          <c:spPr>
            <a:solidFill>
              <a:schemeClr val="accent6">
                <a:tint val="41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5'!$E$5</c:f>
              <c:strCache>
                <c:ptCount val="1"/>
                <c:pt idx="0">
                  <c:v>Total Acquisition 2025</c:v>
                </c:pt>
              </c:strCache>
            </c:strRef>
          </c:cat>
          <c:val>
            <c:numRef>
              <c:f>'1 S 2025'!$F$5</c:f>
              <c:numCache>
                <c:formatCode>_-* #,##0\ _€_-;\-* #,##0\ _€_-;_-* "-"??\ _€_-;_-@_-</c:formatCode>
                <c:ptCount val="1"/>
                <c:pt idx="0">
                  <c:v>18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DC3-4262-8CD6-574F293A4709}"/>
            </c:ext>
          </c:extLst>
        </c:ser>
        <c:ser>
          <c:idx val="1"/>
          <c:order val="1"/>
          <c:tx>
            <c:strRef>
              <c:f>'1 S 2025'!$G$3</c:f>
              <c:strCache>
                <c:ptCount val="1"/>
                <c:pt idx="0">
                  <c:v>feb-25</c:v>
                </c:pt>
              </c:strCache>
            </c:strRef>
          </c:tx>
          <c:spPr>
            <a:solidFill>
              <a:schemeClr val="accent6">
                <a:tint val="52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5'!$E$5</c:f>
              <c:strCache>
                <c:ptCount val="1"/>
                <c:pt idx="0">
                  <c:v>Total Acquisition 2025</c:v>
                </c:pt>
              </c:strCache>
            </c:strRef>
          </c:cat>
          <c:val>
            <c:numRef>
              <c:f>'1 S 2025'!$G$5</c:f>
              <c:numCache>
                <c:formatCode>_-* #,##0\ _€_-;\-* #,##0\ _€_-;_-* "-"??\ _€_-;_-@_-</c:formatCode>
                <c:ptCount val="1"/>
                <c:pt idx="0">
                  <c:v>41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DC3-4262-8CD6-574F293A4709}"/>
            </c:ext>
          </c:extLst>
        </c:ser>
        <c:ser>
          <c:idx val="2"/>
          <c:order val="2"/>
          <c:tx>
            <c:strRef>
              <c:f>'1 S 2025'!$H$3</c:f>
              <c:strCache>
                <c:ptCount val="1"/>
                <c:pt idx="0">
                  <c:v>mar-25</c:v>
                </c:pt>
              </c:strCache>
            </c:strRef>
          </c:tx>
          <c:spPr>
            <a:solidFill>
              <a:schemeClr val="accent6">
                <a:tint val="63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5'!$E$5</c:f>
              <c:strCache>
                <c:ptCount val="1"/>
                <c:pt idx="0">
                  <c:v>Total Acquisition 2025</c:v>
                </c:pt>
              </c:strCache>
            </c:strRef>
          </c:cat>
          <c:val>
            <c:numRef>
              <c:f>'1 S 2025'!$H$5</c:f>
              <c:numCache>
                <c:formatCode>_-* #,##0\ _€_-;\-* #,##0\ _€_-;_-* "-"??\ _€_-;_-@_-</c:formatCode>
                <c:ptCount val="1"/>
                <c:pt idx="0">
                  <c:v>65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DC3-4262-8CD6-574F293A4709}"/>
            </c:ext>
          </c:extLst>
        </c:ser>
        <c:ser>
          <c:idx val="3"/>
          <c:order val="3"/>
          <c:tx>
            <c:strRef>
              <c:f>'1 S 2025'!$I$3</c:f>
              <c:strCache>
                <c:ptCount val="1"/>
                <c:pt idx="0">
                  <c:v>apr-25</c:v>
                </c:pt>
              </c:strCache>
            </c:strRef>
          </c:tx>
          <c:spPr>
            <a:solidFill>
              <a:schemeClr val="accent6">
                <a:tint val="74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5'!$E$5</c:f>
              <c:strCache>
                <c:ptCount val="1"/>
                <c:pt idx="0">
                  <c:v>Total Acquisition 2025</c:v>
                </c:pt>
              </c:strCache>
            </c:strRef>
          </c:cat>
          <c:val>
            <c:numRef>
              <c:f>'1 S 2025'!$I$5</c:f>
              <c:numCache>
                <c:formatCode>_-* #,##0\ _€_-;\-* #,##0\ _€_-;_-* "-"??\ _€_-;_-@_-</c:formatCode>
                <c:ptCount val="1"/>
                <c:pt idx="0">
                  <c:v>88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DC3-4262-8CD6-574F293A4709}"/>
            </c:ext>
          </c:extLst>
        </c:ser>
        <c:ser>
          <c:idx val="4"/>
          <c:order val="4"/>
          <c:tx>
            <c:strRef>
              <c:f>'1 S 2025'!$J$3</c:f>
              <c:strCache>
                <c:ptCount val="1"/>
                <c:pt idx="0">
                  <c:v>may-25</c:v>
                </c:pt>
              </c:strCache>
            </c:strRef>
          </c:tx>
          <c:spPr>
            <a:solidFill>
              <a:schemeClr val="accent6">
                <a:tint val="84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5'!$E$5</c:f>
              <c:strCache>
                <c:ptCount val="1"/>
                <c:pt idx="0">
                  <c:v>Total Acquisition 2025</c:v>
                </c:pt>
              </c:strCache>
            </c:strRef>
          </c:cat>
          <c:val>
            <c:numRef>
              <c:f>'1 S 2025'!$J$5</c:f>
              <c:numCache>
                <c:formatCode>_-* #,##0\ _€_-;\-* #,##0\ _€_-;_-* "-"??\ _€_-;_-@_-</c:formatCode>
                <c:ptCount val="1"/>
                <c:pt idx="0">
                  <c:v>109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DC3-4262-8CD6-574F293A4709}"/>
            </c:ext>
          </c:extLst>
        </c:ser>
        <c:ser>
          <c:idx val="5"/>
          <c:order val="5"/>
          <c:tx>
            <c:strRef>
              <c:f>'1 S 2025'!$K$3</c:f>
              <c:strCache>
                <c:ptCount val="1"/>
                <c:pt idx="0">
                  <c:v>jun-25</c:v>
                </c:pt>
              </c:strCache>
            </c:strRef>
          </c:tx>
          <c:spPr>
            <a:solidFill>
              <a:schemeClr val="accent6">
                <a:tint val="9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5'!$E$5</c:f>
              <c:strCache>
                <c:ptCount val="1"/>
                <c:pt idx="0">
                  <c:v>Total Acquisition 2025</c:v>
                </c:pt>
              </c:strCache>
            </c:strRef>
          </c:cat>
          <c:val>
            <c:numRef>
              <c:f>'1 S 2025'!$K$5</c:f>
              <c:numCache>
                <c:formatCode>_-* #,##0\ _€_-;\-* #,##0\ _€_-;_-* "-"??\ _€_-;_-@_-</c:formatCode>
                <c:ptCount val="1"/>
                <c:pt idx="0">
                  <c:v>127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DC3-4262-8CD6-574F293A4709}"/>
            </c:ext>
          </c:extLst>
        </c:ser>
        <c:ser>
          <c:idx val="6"/>
          <c:order val="6"/>
          <c:tx>
            <c:strRef>
              <c:f>'1 S 2025'!$L$3</c:f>
              <c:strCache>
                <c:ptCount val="1"/>
                <c:pt idx="0">
                  <c:v>jul-25</c:v>
                </c:pt>
              </c:strCache>
            </c:strRef>
          </c:tx>
          <c:spPr>
            <a:solidFill>
              <a:schemeClr val="accent6">
                <a:shade val="94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5'!$E$5</c:f>
              <c:strCache>
                <c:ptCount val="1"/>
                <c:pt idx="0">
                  <c:v>Total Acquisition 2025</c:v>
                </c:pt>
              </c:strCache>
            </c:strRef>
          </c:cat>
          <c:val>
            <c:numRef>
              <c:f>'1 S 2025'!$L$5</c:f>
              <c:numCache>
                <c:formatCode>_-* #,##0\ _€_-;\-* #,##0\ _€_-;_-* "-"??\ _€_-;_-@_-</c:formatCode>
                <c:ptCount val="1"/>
                <c:pt idx="0">
                  <c:v>147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DC3-4262-8CD6-574F293A4709}"/>
            </c:ext>
          </c:extLst>
        </c:ser>
        <c:ser>
          <c:idx val="7"/>
          <c:order val="7"/>
          <c:tx>
            <c:strRef>
              <c:f>'1 S 2025'!$M$3</c:f>
              <c:strCache>
                <c:ptCount val="1"/>
                <c:pt idx="0">
                  <c:v>aug-25</c:v>
                </c:pt>
              </c:strCache>
            </c:strRef>
          </c:tx>
          <c:spPr>
            <a:solidFill>
              <a:schemeClr val="accent6">
                <a:shade val="83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5'!$E$5</c:f>
              <c:strCache>
                <c:ptCount val="1"/>
                <c:pt idx="0">
                  <c:v>Total Acquisition 2025</c:v>
                </c:pt>
              </c:strCache>
            </c:strRef>
          </c:cat>
          <c:val>
            <c:numRef>
              <c:f>'1 S 2025'!$M$5</c:f>
              <c:numCache>
                <c:formatCode>_-* #,##0\ _€_-;\-* #,##0\ _€_-;_-* "-"??\ _€_-;_-@_-</c:formatCode>
                <c:ptCount val="1"/>
                <c:pt idx="0">
                  <c:v>156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DC3-4262-8CD6-574F293A4709}"/>
            </c:ext>
          </c:extLst>
        </c:ser>
        <c:ser>
          <c:idx val="8"/>
          <c:order val="8"/>
          <c:tx>
            <c:strRef>
              <c:f>'1 S 2025'!$N$3</c:f>
              <c:strCache>
                <c:ptCount val="1"/>
                <c:pt idx="0">
                  <c:v>sep-25</c:v>
                </c:pt>
              </c:strCache>
            </c:strRef>
          </c:tx>
          <c:spPr>
            <a:solidFill>
              <a:schemeClr val="accent6">
                <a:shade val="73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5'!$E$5</c:f>
              <c:strCache>
                <c:ptCount val="1"/>
                <c:pt idx="0">
                  <c:v>Total Acquisition 2025</c:v>
                </c:pt>
              </c:strCache>
            </c:strRef>
          </c:cat>
          <c:val>
            <c:numRef>
              <c:f>'1 S 2025'!$N$5</c:f>
              <c:numCache>
                <c:formatCode>_-* #,##0\ _€_-;\-* #,##0\ _€_-;_-* "-"??\ _€_-;_-@_-</c:formatCode>
                <c:ptCount val="1"/>
                <c:pt idx="0">
                  <c:v>174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DC3-4262-8CD6-574F293A4709}"/>
            </c:ext>
          </c:extLst>
        </c:ser>
        <c:ser>
          <c:idx val="9"/>
          <c:order val="9"/>
          <c:tx>
            <c:strRef>
              <c:f>'1 S 2025'!$O$3</c:f>
              <c:strCache>
                <c:ptCount val="1"/>
                <c:pt idx="0">
                  <c:v>oct-25</c:v>
                </c:pt>
              </c:strCache>
            </c:strRef>
          </c:tx>
          <c:spPr>
            <a:solidFill>
              <a:schemeClr val="accent6">
                <a:shade val="62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5'!$E$5</c:f>
              <c:strCache>
                <c:ptCount val="1"/>
                <c:pt idx="0">
                  <c:v>Total Acquisition 2025</c:v>
                </c:pt>
              </c:strCache>
            </c:strRef>
          </c:cat>
          <c:val>
            <c:numRef>
              <c:f>'1 S 2025'!$O$5</c:f>
              <c:numCache>
                <c:formatCode>_-* #,##0\ _€_-;\-* #,##0\ _€_-;_-* "-"??\ _€_-;_-@_-</c:formatCode>
                <c:ptCount val="1"/>
                <c:pt idx="0">
                  <c:v>197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DC3-4262-8CD6-574F293A4709}"/>
            </c:ext>
          </c:extLst>
        </c:ser>
        <c:ser>
          <c:idx val="10"/>
          <c:order val="10"/>
          <c:tx>
            <c:strRef>
              <c:f>'1 S 2025'!$P$3</c:f>
              <c:strCache>
                <c:ptCount val="1"/>
                <c:pt idx="0">
                  <c:v>nov-25</c:v>
                </c:pt>
              </c:strCache>
            </c:strRef>
          </c:tx>
          <c:spPr>
            <a:solidFill>
              <a:schemeClr val="accent6">
                <a:shade val="51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5'!$E$5</c:f>
              <c:strCache>
                <c:ptCount val="1"/>
                <c:pt idx="0">
                  <c:v>Total Acquisition 2025</c:v>
                </c:pt>
              </c:strCache>
            </c:strRef>
          </c:cat>
          <c:val>
            <c:numRef>
              <c:f>'1 S 2025'!$P$5</c:f>
              <c:numCache>
                <c:formatCode>_-* #,##0\ _€_-;\-* #,##0\ _€_-;_-* "-"??\ _€_-;_-@_-</c:formatCode>
                <c:ptCount val="1"/>
                <c:pt idx="0">
                  <c:v>215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EDC3-4262-8CD6-574F293A4709}"/>
            </c:ext>
          </c:extLst>
        </c:ser>
        <c:ser>
          <c:idx val="11"/>
          <c:order val="11"/>
          <c:tx>
            <c:strRef>
              <c:f>'1 S 2025'!$Q$3</c:f>
              <c:strCache>
                <c:ptCount val="1"/>
                <c:pt idx="0">
                  <c:v>dec-25</c:v>
                </c:pt>
              </c:strCache>
            </c:strRef>
          </c:tx>
          <c:spPr>
            <a:solidFill>
              <a:schemeClr val="accent6">
                <a:shade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 S 2025'!$E$5</c:f>
              <c:strCache>
                <c:ptCount val="1"/>
                <c:pt idx="0">
                  <c:v>Total Acquisition 2025</c:v>
                </c:pt>
              </c:strCache>
            </c:strRef>
          </c:cat>
          <c:val>
            <c:numRef>
              <c:f>'1 S 2025'!$Q$5</c:f>
              <c:numCache>
                <c:formatCode>_-* #,##0\ _€_-;\-* #,##0\ _€_-;_-* "-"??\ _€_-;_-@_-</c:formatCode>
                <c:ptCount val="1"/>
                <c:pt idx="0">
                  <c:v>231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EDC3-4262-8CD6-574F293A470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449306008"/>
        <c:axId val="449306336"/>
      </c:barChart>
      <c:catAx>
        <c:axId val="44930600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49306336"/>
        <c:crosses val="autoZero"/>
        <c:auto val="1"/>
        <c:lblAlgn val="ctr"/>
        <c:lblOffset val="100"/>
        <c:noMultiLvlLbl val="0"/>
      </c:catAx>
      <c:valAx>
        <c:axId val="449306336"/>
        <c:scaling>
          <c:orientation val="minMax"/>
        </c:scaling>
        <c:delete val="1"/>
        <c:axPos val="l"/>
        <c:numFmt formatCode="_-* #,##0\ _€_-;\-* #,##0\ _€_-;_-* &quot;-&quot;??\ _€_-;_-@_-" sourceLinked="1"/>
        <c:majorTickMark val="none"/>
        <c:minorTickMark val="none"/>
        <c:tickLblPos val="nextTo"/>
        <c:crossAx val="449306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1"/>
          <c:order val="0"/>
          <c:tx>
            <c:strRef>
              <c:f>Foglio1!$B$12</c:f>
              <c:strCache>
                <c:ptCount val="1"/>
                <c:pt idx="0">
                  <c:v>LP position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4E11-4D71-87B6-26021BC9B02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4E11-4D71-87B6-26021BC9B02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4E11-4D71-87B6-26021BC9B02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4E11-4D71-87B6-26021BC9B028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9-4E11-4D71-87B6-26021BC9B028}"/>
              </c:ext>
            </c:extLst>
          </c:dPt>
          <c:dLbls>
            <c:dLbl>
              <c:idx val="0"/>
              <c:layout>
                <c:manualLayout>
                  <c:x val="-0.23241743219597549"/>
                  <c:y val="1.6129032258064516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E11-4D71-87B6-26021BC9B028}"/>
                </c:ext>
              </c:extLst>
            </c:dLbl>
            <c:dLbl>
              <c:idx val="4"/>
              <c:layout>
                <c:manualLayout>
                  <c:x val="-0.3651363735783027"/>
                  <c:y val="0.1302729528535980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4E11-4D71-87B6-26021BC9B02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accent5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bestFit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oglio1!$A$13:$A$17</c:f>
              <c:strCache>
                <c:ptCount val="5"/>
                <c:pt idx="0">
                  <c:v>AFFARI</c:v>
                </c:pt>
                <c:pt idx="1">
                  <c:v>PRIVATE</c:v>
                </c:pt>
                <c:pt idx="2">
                  <c:v>PRIVATI</c:v>
                </c:pt>
                <c:pt idx="3">
                  <c:v>POE</c:v>
                </c:pt>
                <c:pt idx="4">
                  <c:v>OTHERS</c:v>
                </c:pt>
              </c:strCache>
            </c:strRef>
          </c:cat>
          <c:val>
            <c:numRef>
              <c:f>Foglio1!$B$13:$B$17</c:f>
              <c:numCache>
                <c:formatCode>General</c:formatCode>
                <c:ptCount val="5"/>
                <c:pt idx="0">
                  <c:v>421</c:v>
                </c:pt>
                <c:pt idx="1">
                  <c:v>459</c:v>
                </c:pt>
                <c:pt idx="2">
                  <c:v>9350</c:v>
                </c:pt>
                <c:pt idx="3">
                  <c:v>16529</c:v>
                </c:pt>
                <c:pt idx="4">
                  <c:v>3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4E11-4D71-87B6-26021BC9B028}"/>
            </c:ext>
          </c:extLst>
        </c:ser>
        <c:ser>
          <c:idx val="0"/>
          <c:order val="1"/>
          <c:tx>
            <c:strRef>
              <c:f>Foglio1!$B$12</c:f>
              <c:strCache>
                <c:ptCount val="1"/>
                <c:pt idx="0">
                  <c:v>LP position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C-4E11-4D71-87B6-26021BC9B02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E-4E11-4D71-87B6-26021BC9B02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0-4E11-4D71-87B6-26021BC9B02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2-4E11-4D71-87B6-26021BC9B028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4-4E11-4D71-87B6-26021BC9B028}"/>
              </c:ext>
            </c:extLst>
          </c:dPt>
          <c:dLbls>
            <c:dLbl>
              <c:idx val="1"/>
              <c:layout>
                <c:manualLayout>
                  <c:x val="0.29895734908136484"/>
                  <c:y val="0.25205781568970548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CF</a:t>
                    </a:r>
                  </a:p>
                  <a:p>
                    <a:fld id="{CFD2DC99-F5B3-41D9-B544-7577D7BCAFEE}" type="PERCENTAGE">
                      <a:rPr lang="en-US"/>
                      <a:pPr/>
                      <a:t>[PERCENTUALE]</a:t>
                    </a:fld>
                    <a:endParaRPr lang="it-IT"/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E-4E11-4D71-87B6-26021BC9B02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bestFit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oglio1!$A$13:$A$17</c:f>
              <c:strCache>
                <c:ptCount val="5"/>
                <c:pt idx="0">
                  <c:v>AFFARI</c:v>
                </c:pt>
                <c:pt idx="1">
                  <c:v>PRIVATE</c:v>
                </c:pt>
                <c:pt idx="2">
                  <c:v>PRIVATI</c:v>
                </c:pt>
                <c:pt idx="3">
                  <c:v>POE</c:v>
                </c:pt>
                <c:pt idx="4">
                  <c:v>OTHERS</c:v>
                </c:pt>
              </c:strCache>
            </c:strRef>
          </c:cat>
          <c:val>
            <c:numRef>
              <c:f>Foglio1!$B$13:$B$17</c:f>
              <c:numCache>
                <c:formatCode>General</c:formatCode>
                <c:ptCount val="5"/>
                <c:pt idx="0">
                  <c:v>421</c:v>
                </c:pt>
                <c:pt idx="1">
                  <c:v>459</c:v>
                </c:pt>
                <c:pt idx="2">
                  <c:v>9350</c:v>
                </c:pt>
                <c:pt idx="3">
                  <c:v>16529</c:v>
                </c:pt>
                <c:pt idx="4">
                  <c:v>3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4E11-4D71-87B6-26021BC9B028}"/>
            </c:ext>
          </c:extLst>
        </c:ser>
        <c:dLbls>
          <c:dLblPos val="bestFit"/>
          <c:showLegendKey val="0"/>
          <c:showVal val="0"/>
          <c:showCatName val="1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Reversed" id="26">
  <a:schemeClr val="accent6"/>
</cs:colorStyle>
</file>

<file path=ppt/charts/colors2.xml><?xml version="1.0" encoding="utf-8"?>
<cs:colorStyle xmlns:cs="http://schemas.microsoft.com/office/drawing/2012/chartStyle" xmlns:a="http://schemas.openxmlformats.org/drawingml/2006/main" meth="withinLinearReversed" id="26">
  <a:schemeClr val="accent6"/>
</cs:colorStyle>
</file>

<file path=ppt/charts/colors3.xml><?xml version="1.0" encoding="utf-8"?>
<cs:colorStyle xmlns:cs="http://schemas.microsoft.com/office/drawing/2012/chartStyle" xmlns:a="http://schemas.openxmlformats.org/drawingml/2006/main" meth="withinLinearReversed" id="26">
  <a:schemeClr val="accent6"/>
</cs:colorStyle>
</file>

<file path=ppt/charts/colors4.xml><?xml version="1.0" encoding="utf-8"?>
<cs:colorStyle xmlns:cs="http://schemas.microsoft.com/office/drawing/2012/chartStyle" xmlns:a="http://schemas.openxmlformats.org/drawingml/2006/main" meth="withinLinearReversed" id="26">
  <a:schemeClr val="accent6"/>
</cs:colorStyle>
</file>

<file path=ppt/charts/colors5.xml><?xml version="1.0" encoding="utf-8"?>
<cs:colorStyle xmlns:cs="http://schemas.microsoft.com/office/drawing/2012/chartStyle" xmlns:a="http://schemas.openxmlformats.org/drawingml/2006/main" meth="withinLinearReversed" id="26">
  <a:schemeClr val="accent6"/>
</cs:colorStyle>
</file>

<file path=ppt/charts/colors6.xml><?xml version="1.0" encoding="utf-8"?>
<cs:colorStyle xmlns:cs="http://schemas.microsoft.com/office/drawing/2012/chartStyle" xmlns:a="http://schemas.openxmlformats.org/drawingml/2006/main" meth="withinLinearReversed" id="26">
  <a:schemeClr val="accent6"/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1582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18971" y="0"/>
            <a:ext cx="2921582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F8C31D4-0A09-456A-A6A4-8E8B542CC6FA}" type="datetimeFigureOut">
              <a:rPr lang="fr-FR" smtClean="0"/>
              <a:t>09/03/2026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22963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74212" y="4751219"/>
            <a:ext cx="5393690" cy="38873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377317"/>
            <a:ext cx="2921582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18971" y="9377317"/>
            <a:ext cx="2921582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D1A66A-3158-4464-AEC0-2F33EDBD56D6}" type="slidenum">
              <a:rPr lang="fr-FR" smtClean="0"/>
              <a:t>‹N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317552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3506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2E7C31-7687-4939-8BE1-3CC3DF306400}" type="slidenum">
              <a:rPr kumimoji="0" lang="pl-P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3506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pl-P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86094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3506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2E7C31-7687-4939-8BE1-3CC3DF306400}" type="slidenum">
              <a:rPr kumimoji="0" lang="pl-P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3506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pl-P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58530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CF9742-D7DD-180A-D6CC-CEE9822B24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1AD5A22B-ED70-E287-128B-AB5A5B08DB6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A8C2C436-E9CD-69B3-A73F-6805EEB69A4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DE0603A7-A068-A717-E223-6C816AFBB36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A36630-AAF2-4D51-B7B6-0440ADA8157D}" type="slidenum">
              <a:rPr lang="it-IT" smtClean="0"/>
              <a:t>1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70771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8492CA-EC42-0983-7AC5-3FB471C748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FB86D67F-DF6E-C951-EB4F-4E653FF77FB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C39B89AE-D2E0-CF0A-34E0-5719FCDDD68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C6C4B84B-FBFD-6504-3596-69672460D3A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A36630-AAF2-4D51-B7B6-0440ADA8157D}" type="slidenum">
              <a:rPr lang="it-IT" smtClean="0"/>
              <a:t>2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322991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36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6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0.xml"/><Relationship Id="rId5" Type="http://schemas.openxmlformats.org/officeDocument/2006/relationships/image" Target="../media/image32.png"/><Relationship Id="rId4" Type="http://schemas.openxmlformats.org/officeDocument/2006/relationships/image" Target="../media/image19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1.xml"/><Relationship Id="rId5" Type="http://schemas.openxmlformats.org/officeDocument/2006/relationships/image" Target="../media/image37.png"/><Relationship Id="rId4" Type="http://schemas.openxmlformats.org/officeDocument/2006/relationships/image" Target="../media/image19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32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2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4.xml"/><Relationship Id="rId5" Type="http://schemas.openxmlformats.org/officeDocument/2006/relationships/image" Target="../media/image37.png"/><Relationship Id="rId4" Type="http://schemas.openxmlformats.org/officeDocument/2006/relationships/image" Target="../media/image19.emf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5.xml"/><Relationship Id="rId4" Type="http://schemas.openxmlformats.org/officeDocument/2006/relationships/image" Target="../media/image19.emf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7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8.xml"/><Relationship Id="rId5" Type="http://schemas.openxmlformats.org/officeDocument/2006/relationships/image" Target="../media/image38.png"/><Relationship Id="rId4" Type="http://schemas.openxmlformats.org/officeDocument/2006/relationships/image" Target="../media/image14.emf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9.xml"/><Relationship Id="rId4" Type="http://schemas.openxmlformats.org/officeDocument/2006/relationships/image" Target="../media/image19.emf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0.xml"/><Relationship Id="rId5" Type="http://schemas.openxmlformats.org/officeDocument/2006/relationships/image" Target="../media/image32.png"/><Relationship Id="rId4" Type="http://schemas.openxmlformats.org/officeDocument/2006/relationships/image" Target="../media/image19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1.xml"/><Relationship Id="rId4" Type="http://schemas.openxmlformats.org/officeDocument/2006/relationships/image" Target="../media/image19.emf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2.xml"/><Relationship Id="rId4" Type="http://schemas.openxmlformats.org/officeDocument/2006/relationships/image" Target="../media/image19.emf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3.xml"/><Relationship Id="rId4" Type="http://schemas.openxmlformats.org/officeDocument/2006/relationships/image" Target="../media/image19.emf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0.png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image" Target="../media/image39.jp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6.xml"/><Relationship Id="rId4" Type="http://schemas.openxmlformats.org/officeDocument/2006/relationships/image" Target="../media/image19.emf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8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9.xml"/><Relationship Id="rId4" Type="http://schemas.openxmlformats.org/officeDocument/2006/relationships/image" Target="../media/image13.emf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0.xml"/><Relationship Id="rId4" Type="http://schemas.openxmlformats.org/officeDocument/2006/relationships/image" Target="../media/image13.emf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1.xml"/><Relationship Id="rId5" Type="http://schemas.openxmlformats.org/officeDocument/2006/relationships/image" Target="../media/image15.png"/><Relationship Id="rId4" Type="http://schemas.openxmlformats.org/officeDocument/2006/relationships/image" Target="../media/image13.emf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2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4.xml"/><Relationship Id="rId4" Type="http://schemas.openxmlformats.org/officeDocument/2006/relationships/image" Target="../media/image13.emf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5.xml"/><Relationship Id="rId4" Type="http://schemas.openxmlformats.org/officeDocument/2006/relationships/image" Target="../media/image13.emf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6.xml"/><Relationship Id="rId5" Type="http://schemas.openxmlformats.org/officeDocument/2006/relationships/image" Target="../media/image15.png"/><Relationship Id="rId4" Type="http://schemas.openxmlformats.org/officeDocument/2006/relationships/image" Target="../media/image13.emf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7.xml"/><Relationship Id="rId5" Type="http://schemas.openxmlformats.org/officeDocument/2006/relationships/image" Target="../media/image32.png"/><Relationship Id="rId4" Type="http://schemas.openxmlformats.org/officeDocument/2006/relationships/image" Target="../media/image13.emf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7" Type="http://schemas.openxmlformats.org/officeDocument/2006/relationships/image" Target="../media/image45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19.xml"/><Relationship Id="rId6" Type="http://schemas.openxmlformats.org/officeDocument/2006/relationships/image" Target="../media/image7.png"/><Relationship Id="rId5" Type="http://schemas.openxmlformats.org/officeDocument/2006/relationships/image" Target="../media/image44.jpeg"/><Relationship Id="rId4" Type="http://schemas.openxmlformats.org/officeDocument/2006/relationships/image" Target="../media/image43.emf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0.xml"/><Relationship Id="rId6" Type="http://schemas.openxmlformats.org/officeDocument/2006/relationships/image" Target="../media/image45.png"/><Relationship Id="rId5" Type="http://schemas.openxmlformats.org/officeDocument/2006/relationships/image" Target="../media/image7.png"/><Relationship Id="rId4" Type="http://schemas.openxmlformats.org/officeDocument/2006/relationships/image" Target="../media/image43.emf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1.xml"/><Relationship Id="rId6" Type="http://schemas.openxmlformats.org/officeDocument/2006/relationships/image" Target="../media/image45.png"/><Relationship Id="rId5" Type="http://schemas.openxmlformats.org/officeDocument/2006/relationships/image" Target="../media/image7.png"/><Relationship Id="rId4" Type="http://schemas.openxmlformats.org/officeDocument/2006/relationships/image" Target="../media/image43.emf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2.xml"/><Relationship Id="rId6" Type="http://schemas.openxmlformats.org/officeDocument/2006/relationships/image" Target="../media/image45.png"/><Relationship Id="rId5" Type="http://schemas.openxmlformats.org/officeDocument/2006/relationships/image" Target="../media/image7.png"/><Relationship Id="rId4" Type="http://schemas.openxmlformats.org/officeDocument/2006/relationships/image" Target="../media/image43.emf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3.xml"/><Relationship Id="rId4" Type="http://schemas.openxmlformats.org/officeDocument/2006/relationships/image" Target="../media/image43.emf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4.xml"/><Relationship Id="rId4" Type="http://schemas.openxmlformats.org/officeDocument/2006/relationships/image" Target="../media/image43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5.xml"/><Relationship Id="rId4" Type="http://schemas.openxmlformats.org/officeDocument/2006/relationships/image" Target="../media/image43.emf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6.xml"/><Relationship Id="rId4" Type="http://schemas.openxmlformats.org/officeDocument/2006/relationships/image" Target="../media/image43.emf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7.xml"/><Relationship Id="rId4" Type="http://schemas.openxmlformats.org/officeDocument/2006/relationships/image" Target="../media/image43.emf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8.xml"/><Relationship Id="rId4" Type="http://schemas.openxmlformats.org/officeDocument/2006/relationships/image" Target="../media/image43.emf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9.xml"/><Relationship Id="rId4" Type="http://schemas.openxmlformats.org/officeDocument/2006/relationships/image" Target="../media/image43.emf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30.xml"/><Relationship Id="rId4" Type="http://schemas.openxmlformats.org/officeDocument/2006/relationships/image" Target="../media/image43.emf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5" Type="http://schemas.openxmlformats.org/officeDocument/2006/relationships/image" Target="../media/image43.emf"/><Relationship Id="rId4" Type="http://schemas.openxmlformats.org/officeDocument/2006/relationships/oleObject" Target="../embeddings/oleObject28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33.xml"/><Relationship Id="rId4" Type="http://schemas.openxmlformats.org/officeDocument/2006/relationships/image" Target="../media/image43.emf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34.xml"/><Relationship Id="rId4" Type="http://schemas.openxmlformats.org/officeDocument/2006/relationships/image" Target="../media/image43.emf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35.xml"/><Relationship Id="rId5" Type="http://schemas.openxmlformats.org/officeDocument/2006/relationships/image" Target="../media/image46.png"/><Relationship Id="rId4" Type="http://schemas.openxmlformats.org/officeDocument/2006/relationships/image" Target="../media/image19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36.xml"/><Relationship Id="rId4" Type="http://schemas.openxmlformats.org/officeDocument/2006/relationships/image" Target="../media/image43.emf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37.xml"/><Relationship Id="rId5" Type="http://schemas.openxmlformats.org/officeDocument/2006/relationships/image" Target="../media/image47.png"/><Relationship Id="rId4" Type="http://schemas.openxmlformats.org/officeDocument/2006/relationships/image" Target="../media/image19.emf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7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7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7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8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8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8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9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9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9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39.xml"/><Relationship Id="rId4" Type="http://schemas.openxmlformats.org/officeDocument/2006/relationships/image" Target="../media/image51.emf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9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9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40.xml"/><Relationship Id="rId4" Type="http://schemas.openxmlformats.org/officeDocument/2006/relationships/image" Target="../media/image43.emf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41.xml"/><Relationship Id="rId4" Type="http://schemas.openxmlformats.org/officeDocument/2006/relationships/image" Target="../media/image43.emf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7" Type="http://schemas.openxmlformats.org/officeDocument/2006/relationships/image" Target="../media/image45.pn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43.xml"/><Relationship Id="rId6" Type="http://schemas.openxmlformats.org/officeDocument/2006/relationships/image" Target="../media/image7.png"/><Relationship Id="rId5" Type="http://schemas.openxmlformats.org/officeDocument/2006/relationships/image" Target="../media/image44.jpeg"/><Relationship Id="rId4" Type="http://schemas.openxmlformats.org/officeDocument/2006/relationships/image" Target="../media/image43.emf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44.xml"/><Relationship Id="rId6" Type="http://schemas.openxmlformats.org/officeDocument/2006/relationships/image" Target="../media/image45.png"/><Relationship Id="rId5" Type="http://schemas.openxmlformats.org/officeDocument/2006/relationships/image" Target="../media/image7.png"/><Relationship Id="rId4" Type="http://schemas.openxmlformats.org/officeDocument/2006/relationships/image" Target="../media/image43.emf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45.xml"/><Relationship Id="rId6" Type="http://schemas.openxmlformats.org/officeDocument/2006/relationships/image" Target="../media/image45.png"/><Relationship Id="rId5" Type="http://schemas.openxmlformats.org/officeDocument/2006/relationships/image" Target="../media/image7.png"/><Relationship Id="rId4" Type="http://schemas.openxmlformats.org/officeDocument/2006/relationships/image" Target="../media/image43.emf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46.xml"/><Relationship Id="rId6" Type="http://schemas.openxmlformats.org/officeDocument/2006/relationships/image" Target="../media/image45.png"/><Relationship Id="rId5" Type="http://schemas.openxmlformats.org/officeDocument/2006/relationships/image" Target="../media/image7.png"/><Relationship Id="rId4" Type="http://schemas.openxmlformats.org/officeDocument/2006/relationships/image" Target="../media/image43.emf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47.xml"/><Relationship Id="rId4" Type="http://schemas.openxmlformats.org/officeDocument/2006/relationships/image" Target="../media/image43.emf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48.xml"/><Relationship Id="rId4" Type="http://schemas.openxmlformats.org/officeDocument/2006/relationships/image" Target="../media/image43.emf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49.xml"/><Relationship Id="rId4" Type="http://schemas.openxmlformats.org/officeDocument/2006/relationships/image" Target="../media/image43.emf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50.xml"/><Relationship Id="rId4" Type="http://schemas.openxmlformats.org/officeDocument/2006/relationships/image" Target="../media/image43.emf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51.xml"/><Relationship Id="rId4" Type="http://schemas.openxmlformats.org/officeDocument/2006/relationships/image" Target="../media/image43.emf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52.xml"/><Relationship Id="rId4" Type="http://schemas.openxmlformats.org/officeDocument/2006/relationships/image" Target="../media/image43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53.xml"/><Relationship Id="rId4" Type="http://schemas.openxmlformats.org/officeDocument/2006/relationships/image" Target="../media/image43.emf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54.xml"/><Relationship Id="rId4" Type="http://schemas.openxmlformats.org/officeDocument/2006/relationships/image" Target="../media/image43.emf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5" Type="http://schemas.openxmlformats.org/officeDocument/2006/relationships/image" Target="../media/image43.emf"/><Relationship Id="rId4" Type="http://schemas.openxmlformats.org/officeDocument/2006/relationships/oleObject" Target="../embeddings/oleObject28.bin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57.xml"/><Relationship Id="rId4" Type="http://schemas.openxmlformats.org/officeDocument/2006/relationships/image" Target="../media/image43.emf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58.xml"/><Relationship Id="rId4" Type="http://schemas.openxmlformats.org/officeDocument/2006/relationships/image" Target="../media/image43.emf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59.xml"/><Relationship Id="rId5" Type="http://schemas.openxmlformats.org/officeDocument/2006/relationships/image" Target="../media/image46.png"/><Relationship Id="rId4" Type="http://schemas.openxmlformats.org/officeDocument/2006/relationships/image" Target="../media/image19.emf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60.xml"/><Relationship Id="rId4" Type="http://schemas.openxmlformats.org/officeDocument/2006/relationships/image" Target="../media/image43.emf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61.xml"/><Relationship Id="rId5" Type="http://schemas.openxmlformats.org/officeDocument/2006/relationships/image" Target="../media/image47.png"/><Relationship Id="rId4" Type="http://schemas.openxmlformats.org/officeDocument/2006/relationships/image" Target="../media/image19.emf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1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1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1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63.xml"/><Relationship Id="rId4" Type="http://schemas.openxmlformats.org/officeDocument/2006/relationships/image" Target="../media/image51.emf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1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1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2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2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2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2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2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2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Master" Target="../slideMasters/slideMaster13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13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3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3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4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4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4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164.xml"/><Relationship Id="rId4" Type="http://schemas.openxmlformats.org/officeDocument/2006/relationships/image" Target="../media/image54.emf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Master" Target="../slideMasters/slideMaster15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15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5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15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5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6.jpe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5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.bin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Master" Target="../slideMasters/slideMaster16.xml"/><Relationship Id="rId1" Type="http://schemas.openxmlformats.org/officeDocument/2006/relationships/tags" Target="../tags/tag166.xml"/><Relationship Id="rId4" Type="http://schemas.openxmlformats.org/officeDocument/2006/relationships/image" Target="../media/image25.png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Master" Target="../slideMasters/slideMaster17.xml"/></Relationships>
</file>

<file path=ppt/slideLayouts/_rels/slideLayout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17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7.jpe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5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.bin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7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7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7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eg"/><Relationship Id="rId1" Type="http://schemas.openxmlformats.org/officeDocument/2006/relationships/slideMaster" Target="../slideMasters/slideMaster18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18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3.bin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8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8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8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5" Type="http://schemas.openxmlformats.org/officeDocument/2006/relationships/image" Target="../media/image15.png"/><Relationship Id="rId4" Type="http://schemas.openxmlformats.org/officeDocument/2006/relationships/image" Target="../media/image19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20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20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5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4" Type="http://schemas.openxmlformats.org/officeDocument/2006/relationships/image" Target="../media/image19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5" Type="http://schemas.openxmlformats.org/officeDocument/2006/relationships/image" Target="../media/image15.png"/><Relationship Id="rId4" Type="http://schemas.openxmlformats.org/officeDocument/2006/relationships/image" Target="../media/image19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Relationship Id="rId5" Type="http://schemas.openxmlformats.org/officeDocument/2006/relationships/image" Target="../media/image15.png"/><Relationship Id="rId4" Type="http://schemas.openxmlformats.org/officeDocument/2006/relationships/image" Target="../media/image19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Relationship Id="rId4" Type="http://schemas.openxmlformats.org/officeDocument/2006/relationships/image" Target="../media/image19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4" Type="http://schemas.openxmlformats.org/officeDocument/2006/relationships/image" Target="../media/image19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4" Type="http://schemas.openxmlformats.org/officeDocument/2006/relationships/image" Target="../media/image13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5" Type="http://schemas.openxmlformats.org/officeDocument/2006/relationships/image" Target="../media/image22.png"/><Relationship Id="rId4" Type="http://schemas.openxmlformats.org/officeDocument/2006/relationships/image" Target="../media/image21.emf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26.xml"/><Relationship Id="rId7" Type="http://schemas.openxmlformats.org/officeDocument/2006/relationships/image" Target="../media/image14.emf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5.xml"/><Relationship Id="rId10" Type="http://schemas.openxmlformats.org/officeDocument/2006/relationships/image" Target="../media/image31.png"/><Relationship Id="rId4" Type="http://schemas.openxmlformats.org/officeDocument/2006/relationships/tags" Target="../tags/tag27.xml"/><Relationship Id="rId9" Type="http://schemas.openxmlformats.org/officeDocument/2006/relationships/image" Target="../media/image30.jpe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19.emf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2.xml"/><Relationship Id="rId4" Type="http://schemas.openxmlformats.org/officeDocument/2006/relationships/image" Target="../media/image19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3.xml"/><Relationship Id="rId4" Type="http://schemas.openxmlformats.org/officeDocument/2006/relationships/image" Target="../media/image19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4.xml"/><Relationship Id="rId4" Type="http://schemas.openxmlformats.org/officeDocument/2006/relationships/image" Target="../media/image19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5.xml"/><Relationship Id="rId4" Type="http://schemas.openxmlformats.org/officeDocument/2006/relationships/image" Target="../media/image19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6.xml"/><Relationship Id="rId5" Type="http://schemas.openxmlformats.org/officeDocument/2006/relationships/image" Target="../media/image15.png"/><Relationship Id="rId4" Type="http://schemas.openxmlformats.org/officeDocument/2006/relationships/image" Target="../media/image19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5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9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15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2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1.xml"/><Relationship Id="rId5" Type="http://schemas.openxmlformats.org/officeDocument/2006/relationships/image" Target="../media/image15.png"/><Relationship Id="rId4" Type="http://schemas.openxmlformats.org/officeDocument/2006/relationships/image" Target="../media/image19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2.xml"/><Relationship Id="rId5" Type="http://schemas.openxmlformats.org/officeDocument/2006/relationships/image" Target="../media/image15.png"/><Relationship Id="rId4" Type="http://schemas.openxmlformats.org/officeDocument/2006/relationships/image" Target="../media/image19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3.xml"/><Relationship Id="rId5" Type="http://schemas.openxmlformats.org/officeDocument/2006/relationships/image" Target="../media/image32.png"/><Relationship Id="rId4" Type="http://schemas.openxmlformats.org/officeDocument/2006/relationships/image" Target="../media/image19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4.xml"/><Relationship Id="rId5" Type="http://schemas.openxmlformats.org/officeDocument/2006/relationships/image" Target="../media/image33.png"/><Relationship Id="rId4" Type="http://schemas.openxmlformats.org/officeDocument/2006/relationships/image" Target="../media/image19.emf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35.png"/><Relationship Id="rId5" Type="http://schemas.openxmlformats.org/officeDocument/2006/relationships/image" Target="../media/image34.emf"/><Relationship Id="rId4" Type="http://schemas.openxmlformats.org/officeDocument/2006/relationships/oleObject" Target="../embeddings/oleObject10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36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1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32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2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37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4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image" Target="../media/image32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3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37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5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7.xml"/><Relationship Id="rId4" Type="http://schemas.openxmlformats.org/officeDocument/2006/relationships/image" Target="../media/image19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4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0.xml"/><Relationship Id="rId5" Type="http://schemas.openxmlformats.org/officeDocument/2006/relationships/image" Target="../media/image38.png"/><Relationship Id="rId4" Type="http://schemas.openxmlformats.org/officeDocument/2006/relationships/image" Target="../media/image34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1.xml"/><Relationship Id="rId4" Type="http://schemas.openxmlformats.org/officeDocument/2006/relationships/image" Target="../media/image19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2.xml"/><Relationship Id="rId4" Type="http://schemas.openxmlformats.org/officeDocument/2006/relationships/image" Target="../media/image19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3.xml"/><Relationship Id="rId4" Type="http://schemas.openxmlformats.org/officeDocument/2006/relationships/image" Target="../media/image19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4.xml"/><Relationship Id="rId4" Type="http://schemas.openxmlformats.org/officeDocument/2006/relationships/image" Target="../media/image19.emf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g"/><Relationship Id="rId3" Type="http://schemas.openxmlformats.org/officeDocument/2006/relationships/tags" Target="../tags/tag67.xml"/><Relationship Id="rId7" Type="http://schemas.openxmlformats.org/officeDocument/2006/relationships/image" Target="../media/image14.emf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68.xml"/><Relationship Id="rId9" Type="http://schemas.openxmlformats.org/officeDocument/2006/relationships/image" Target="../media/image40.pn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9.xml"/><Relationship Id="rId4" Type="http://schemas.openxmlformats.org/officeDocument/2006/relationships/image" Target="../media/image19.emf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30.jpeg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image" Target="../media/image15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2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4.xml"/><Relationship Id="rId4" Type="http://schemas.openxmlformats.org/officeDocument/2006/relationships/image" Target="../media/image19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5.xml"/><Relationship Id="rId4" Type="http://schemas.openxmlformats.org/officeDocument/2006/relationships/image" Target="../media/image19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6.xml"/><Relationship Id="rId4" Type="http://schemas.openxmlformats.org/officeDocument/2006/relationships/image" Target="../media/image19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7.xml"/><Relationship Id="rId4" Type="http://schemas.openxmlformats.org/officeDocument/2006/relationships/image" Target="../media/image19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8.xml"/><Relationship Id="rId5" Type="http://schemas.openxmlformats.org/officeDocument/2006/relationships/image" Target="../media/image15.png"/><Relationship Id="rId4" Type="http://schemas.openxmlformats.org/officeDocument/2006/relationships/image" Target="../media/image19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9.xml"/><Relationship Id="rId5" Type="http://schemas.openxmlformats.org/officeDocument/2006/relationships/image" Target="../media/image15.png"/><Relationship Id="rId4" Type="http://schemas.openxmlformats.org/officeDocument/2006/relationships/image" Target="../media/image19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0.xml"/><Relationship Id="rId5" Type="http://schemas.openxmlformats.org/officeDocument/2006/relationships/image" Target="../media/image15.png"/><Relationship Id="rId4" Type="http://schemas.openxmlformats.org/officeDocument/2006/relationships/image" Target="../media/image19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1.xml"/><Relationship Id="rId5" Type="http://schemas.openxmlformats.org/officeDocument/2006/relationships/image" Target="../media/image15.png"/><Relationship Id="rId4" Type="http://schemas.openxmlformats.org/officeDocument/2006/relationships/image" Target="../media/image19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2.xml"/><Relationship Id="rId5" Type="http://schemas.openxmlformats.org/officeDocument/2006/relationships/image" Target="../media/image15.png"/><Relationship Id="rId4" Type="http://schemas.openxmlformats.org/officeDocument/2006/relationships/image" Target="../media/image19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3.xml"/><Relationship Id="rId5" Type="http://schemas.openxmlformats.org/officeDocument/2006/relationships/image" Target="../media/image15.png"/><Relationship Id="rId4" Type="http://schemas.openxmlformats.org/officeDocument/2006/relationships/image" Target="../media/image19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4.xml"/><Relationship Id="rId5" Type="http://schemas.openxmlformats.org/officeDocument/2006/relationships/image" Target="../media/image32.png"/><Relationship Id="rId4" Type="http://schemas.openxmlformats.org/officeDocument/2006/relationships/image" Target="../media/image34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5.xml"/><Relationship Id="rId5" Type="http://schemas.openxmlformats.org/officeDocument/2006/relationships/image" Target="../media/image33.png"/><Relationship Id="rId4" Type="http://schemas.openxmlformats.org/officeDocument/2006/relationships/image" Target="../media/image19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image" Target="../media/image35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 visu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3" name="Espace réservé pour une image  1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31801" y="333376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0" bIns="1260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aseline="0"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Sélectionner l’icône pour insérer une image, 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Mettre à l’arrière plan)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1939264" y="3960400"/>
            <a:ext cx="9755320" cy="1440000"/>
          </a:xfrm>
        </p:spPr>
        <p:txBody>
          <a:bodyPr anchor="t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750" b="0" cap="all" baseline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titre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1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›</a:t>
            </a:fld>
            <a:endParaRPr lang="fr-FR" dirty="0"/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fr-FR"/>
              <a:t>BPI - AAP</a:t>
            </a:r>
            <a:endParaRPr lang="fr-FR" dirty="0"/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85371" y="4273550"/>
            <a:ext cx="264000" cy="914400"/>
          </a:xfrm>
          <a:prstGeom prst="roundRect">
            <a:avLst/>
          </a:prstGeom>
          <a:solidFill>
            <a:schemeClr val="bg2"/>
          </a:solid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00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du texte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472000" y="0"/>
            <a:ext cx="1248000" cy="8028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00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40769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rme libre 8"/>
          <p:cNvSpPr/>
          <p:nvPr userDrawn="1"/>
        </p:nvSpPr>
        <p:spPr bwMode="gray">
          <a:xfrm>
            <a:off x="431801" y="333376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  <a:solidFill>
            <a:srgbClr val="0095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042269" y="514351"/>
            <a:ext cx="8652316" cy="5511800"/>
          </a:xfrm>
        </p:spPr>
        <p:txBody>
          <a:bodyPr anchor="ctr" anchorCtr="0"/>
          <a:lstStyle>
            <a:lvl1pPr>
              <a:defRPr sz="3750" b="0" cap="all" baseline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BPI - AAP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1980836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534469-8C50-4B79-8A7B-B6FABAC7A1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534469-8C50-4B79-8A7B-B6FABAC7A1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609D5F4-6238-4507-B39C-6D1D83932C9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rgbClr val="009999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  <p:sp>
        <p:nvSpPr>
          <p:cNvPr id="14" name="TextBox 1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1"/>
            <a:ext cx="2694667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806539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Arrow half">
    <p:bg>
      <p:bgPr>
        <a:gradFill>
          <a:gsLst>
            <a:gs pos="0">
              <a:srgbClr val="009999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0E6D3EB-3AB7-4CA4-97CA-636CE41B05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0E6D3EB-3AB7-4CA4-97CA-636CE41B05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1" y="622802"/>
            <a:ext cx="4747823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  <p:sp>
        <p:nvSpPr>
          <p:cNvPr id="16" name="TextBox 15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5" y="3589605"/>
            <a:ext cx="1365251" cy="3382963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0941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3B5737-291A-4AC6-B023-979E3279BE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3B5737-291A-4AC6-B023-979E3279BE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rgbClr val="009999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1" y="622802"/>
            <a:ext cx="4747823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  <p:sp>
        <p:nvSpPr>
          <p:cNvPr id="14" name="TextBox 1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5"/>
            <a:ext cx="2694667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832552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Arrow two third">
    <p:bg>
      <p:bgPr>
        <a:gradFill>
          <a:gsLst>
            <a:gs pos="0">
              <a:srgbClr val="009999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7309307-4BE4-40F4-9CE0-6D61D92E2F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7309307-4BE4-40F4-9CE0-6D61D92E2F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5"/>
            <a:ext cx="1365251" cy="3382963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Object 3" hidden="1">
            <a:extLst>
              <a:ext uri="{FF2B5EF4-FFF2-40B4-BE49-F238E27FC236}">
                <a16:creationId xmlns:a16="http://schemas.microsoft.com/office/drawing/2014/main" id="{57309307-4BE4-40F4-9CE0-6D61D92E2F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8" name="Object 3" hidden="1">
                        <a:extLst>
                          <a:ext uri="{FF2B5EF4-FFF2-40B4-BE49-F238E27FC236}">
                            <a16:creationId xmlns:a16="http://schemas.microsoft.com/office/drawing/2014/main" id="{57309307-4BE4-40F4-9CE0-6D61D92E2F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reeform 18"/>
          <p:cNvSpPr/>
          <p:nvPr userDrawn="1"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4" name="Picture 10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5"/>
            <a:ext cx="1365251" cy="3382963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2366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9126782-9D39-47CE-B40F-642CC95329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9126782-9D39-47CE-B40F-642CC95329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009999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  <p:sp>
        <p:nvSpPr>
          <p:cNvPr id="18" name="TextBox 17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5"/>
            <a:ext cx="2694667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695677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ig statement green">
    <p:bg>
      <p:bgPr>
        <a:gradFill>
          <a:gsLst>
            <a:gs pos="0">
              <a:srgbClr val="009999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B724AFB-D166-41BB-B10D-7B0A3FB4BA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B724AFB-D166-41BB-B10D-7B0A3FB4BA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4"/>
            <a:ext cx="10933200" cy="1606551"/>
          </a:xfrm>
        </p:spPr>
        <p:txBody>
          <a:bodyPr anchor="b">
            <a:noAutofit/>
          </a:bodyPr>
          <a:lstStyle>
            <a:lvl1pPr marL="0" algn="l" defTabSz="914377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Symbol zastępczy numeru slajdu 5"/>
          <p:cNvSpPr>
            <a:spLocks noGrp="1"/>
          </p:cNvSpPr>
          <p:nvPr>
            <p:ph type="sldNum" sz="quarter" idx="12"/>
          </p:nvPr>
        </p:nvSpPr>
        <p:spPr>
          <a:xfrm>
            <a:off x="11770419" y="6456447"/>
            <a:ext cx="538811" cy="401553"/>
          </a:xfrm>
        </p:spPr>
        <p:txBody>
          <a:bodyPr/>
          <a:lstStyle>
            <a:lvl1pPr>
              <a:defRPr sz="1100"/>
            </a:lvl1pPr>
          </a:lstStyle>
          <a:p>
            <a:fld id="{31DB095D-7733-4F8B-BC34-59D470EFC6A7}" type="slidenum">
              <a:rPr lang="pl-PL" smtClean="0"/>
              <a:pPr/>
              <a:t>‹N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576985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6EF0A9A-F86B-4FBC-A016-090E3EBC15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6EF0A9A-F86B-4FBC-A016-090E3EBC1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F51146-C8C1-46DA-8520-DF407BD76E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  <p:sp>
        <p:nvSpPr>
          <p:cNvPr id="6" name="Rectangle 5"/>
          <p:cNvSpPr/>
          <p:nvPr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4"/>
            <a:ext cx="10933200" cy="160655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377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081708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Quot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2" y="101444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2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51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0725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9B0FA19-C0A6-439E-A6B2-23661E3EF7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9B0FA19-C0A6-439E-A6B2-23661E3EF7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62932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Table of contents">
    <p:bg>
      <p:bgPr>
        <a:gradFill>
          <a:gsLst>
            <a:gs pos="0">
              <a:srgbClr val="009999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4E4690E-0A62-4B22-9993-3FE7B385BC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4E4690E-0A62-4B22-9993-3FE7B385BC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30000" y="2675846"/>
            <a:ext cx="2819400" cy="156594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4800" b="1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  <p:sp>
        <p:nvSpPr>
          <p:cNvPr id="19" name="TextBox 18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7" y="3586748"/>
            <a:ext cx="1365251" cy="3382963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75339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rme libre 8"/>
          <p:cNvSpPr/>
          <p:nvPr userDrawn="1"/>
        </p:nvSpPr>
        <p:spPr bwMode="gray">
          <a:xfrm>
            <a:off x="431801" y="333376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  <a:solidFill>
            <a:srgbClr val="A49C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042269" y="514351"/>
            <a:ext cx="8652316" cy="5511800"/>
          </a:xfrm>
        </p:spPr>
        <p:txBody>
          <a:bodyPr anchor="ctr" anchorCtr="0"/>
          <a:lstStyle>
            <a:lvl1pPr>
              <a:defRPr sz="3750" b="0" cap="all" baseline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BPI - AAP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7043625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rgbClr val="009999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7D7FC81-C9AA-45E8-8FAA-A6BD453C3F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7D7FC81-C9AA-45E8-8FAA-A6BD453C3F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  <p:sp>
        <p:nvSpPr>
          <p:cNvPr id="11" name="TextBox 10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88124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18AE44-CD3C-4F17-9868-0CFE0BA67F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18AE44-CD3C-4F17-9868-0CFE0BA67F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5840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0E5DF10-D969-4957-8C84-BE69F98397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0E5DF10-D969-4957-8C84-BE69F98397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67115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TitleAndEndImages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rgbClr val="009999"/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7E049F35-B22A-447A-9D6D-DD2F57ACE99C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28078" y="2968199"/>
            <a:ext cx="3330919" cy="845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763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E95546C-75C1-4061-B056-C5E418FB3F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E95546C-75C1-4061-B056-C5E418FB3F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5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8287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Section Header Overview">
    <p:bg>
      <p:bgPr>
        <a:gradFill>
          <a:gsLst>
            <a:gs pos="0">
              <a:srgbClr val="009999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 bwMode="invGray">
          <a:xfrm>
            <a:off x="1388146" y="4691187"/>
            <a:ext cx="929337" cy="9958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Rectangle 11"/>
          <p:cNvSpPr/>
          <p:nvPr>
            <p:custDataLst>
              <p:tags r:id="rId2"/>
            </p:custDataLst>
          </p:nvPr>
        </p:nvSpPr>
        <p:spPr>
          <a:xfrm>
            <a:off x="2509483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30000" y="907201"/>
            <a:ext cx="3448800" cy="122046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1"/>
          <p:cNvSpPr txBox="1"/>
          <p:nvPr/>
        </p:nvSpPr>
        <p:spPr>
          <a:xfrm>
            <a:off x="992129" y="1115416"/>
            <a:ext cx="2723823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b="1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537213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Section Header">
    <p:bg>
      <p:bgPr>
        <a:gradFill>
          <a:gsLst>
            <a:gs pos="0">
              <a:srgbClr val="009999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12863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Full Width Overview">
    <p:bg>
      <p:bgPr>
        <a:gradFill>
          <a:gsLst>
            <a:gs pos="0">
              <a:srgbClr val="009999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630001" y="622800"/>
            <a:ext cx="7189999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400" b="1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/>
        </p:nvCxnSpPr>
        <p:spPr bwMode="white">
          <a:xfrm>
            <a:off x="618899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312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Two-Thirds">
    <p:bg>
      <p:bgPr>
        <a:gradFill>
          <a:gsLst>
            <a:gs pos="0">
              <a:srgbClr val="009999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 bwMode="white">
          <a:xfrm>
            <a:off x="4080764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30002" y="3207717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b="1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790395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 bwMode="invGray">
          <a:xfrm>
            <a:off x="1388146" y="4691187"/>
            <a:ext cx="929337" cy="995875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>
            <p:custDataLst>
              <p:tags r:id="rId2"/>
            </p:custDataLst>
          </p:nvPr>
        </p:nvSpPr>
        <p:spPr>
          <a:xfrm>
            <a:off x="2509483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30000" y="907199"/>
            <a:ext cx="3448800" cy="1220467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1"/>
          <p:cNvSpPr txBox="1"/>
          <p:nvPr/>
        </p:nvSpPr>
        <p:spPr>
          <a:xfrm>
            <a:off x="992129" y="1115416"/>
            <a:ext cx="2723823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sz="5400" b="1" dirty="0"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470223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/>
        <p:txBody>
          <a:bodyPr/>
          <a:lstStyle>
            <a:lvl3pPr>
              <a:defRPr>
                <a:solidFill>
                  <a:schemeClr val="accent3"/>
                </a:solidFill>
              </a:defRPr>
            </a:lvl3pPr>
            <a:lvl4pPr>
              <a:buSzPct val="90000"/>
              <a:defRPr>
                <a:solidFill>
                  <a:schemeClr val="tx1"/>
                </a:solidFill>
              </a:defRPr>
            </a:lvl4pPr>
            <a:lvl5pPr>
              <a:buSzPct val="90000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BPI - AAP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5998538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91308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/>
        </p:nvSpPr>
        <p:spPr>
          <a:xfrm>
            <a:off x="630001" y="622800"/>
            <a:ext cx="7189999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400" b="1" dirty="0">
                <a:solidFill>
                  <a:schemeClr val="accent4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/>
        </p:nvCxnSpPr>
        <p:spPr bwMode="white">
          <a:xfrm>
            <a:off x="618899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3796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Two-Thirds">
    <p:bg>
      <p:bgPr>
        <a:gradFill>
          <a:gsLst>
            <a:gs pos="0">
              <a:srgbClr val="009999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 bwMode="ltGray">
          <a:xfrm>
            <a:off x="4080764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30002" y="3262146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b="1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799178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Table of Contents">
    <p:bg>
      <p:bgPr>
        <a:gradFill>
          <a:gsLst>
            <a:gs pos="0">
              <a:srgbClr val="009999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30000" y="2675846"/>
            <a:ext cx="2819400" cy="156594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4800" b="1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7" y="3586748"/>
            <a:ext cx="1365251" cy="3382963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1910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ona tytułowa z motyw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5AAC722-2C2A-42A4-9AF1-74B0E37078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5AAC722-2C2A-42A4-9AF1-74B0E37078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9" name="Espace réservé pour une image  9" descr="visuel_couv_16-9.jpg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326"/>
          <a:stretch/>
        </p:blipFill>
        <p:spPr bwMode="gray">
          <a:xfrm>
            <a:off x="493200" y="478800"/>
            <a:ext cx="11698800" cy="5856000"/>
          </a:xfrm>
          <a:custGeom>
            <a:avLst/>
            <a:gdLst>
              <a:gd name="connsiteX0" fmla="*/ 244898 w 8892000"/>
              <a:gd name="connsiteY0" fmla="*/ 0 h 4392000"/>
              <a:gd name="connsiteX1" fmla="*/ 3420000 w 8892000"/>
              <a:gd name="connsiteY1" fmla="*/ 0 h 4392000"/>
              <a:gd name="connsiteX2" fmla="*/ 8647102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4898 h 4392000"/>
              <a:gd name="connsiteX5" fmla="*/ 8892000 w 8892000"/>
              <a:gd name="connsiteY5" fmla="*/ 4147102 h 4392000"/>
              <a:gd name="connsiteX6" fmla="*/ 8892000 w 8892000"/>
              <a:gd name="connsiteY6" fmla="*/ 4392000 h 4392000"/>
              <a:gd name="connsiteX7" fmla="*/ 8647102 w 8892000"/>
              <a:gd name="connsiteY7" fmla="*/ 4392000 h 4392000"/>
              <a:gd name="connsiteX8" fmla="*/ 3420000 w 8892000"/>
              <a:gd name="connsiteY8" fmla="*/ 4392000 h 4392000"/>
              <a:gd name="connsiteX9" fmla="*/ 244898 w 8892000"/>
              <a:gd name="connsiteY9" fmla="*/ 4392000 h 4392000"/>
              <a:gd name="connsiteX10" fmla="*/ 0 w 8892000"/>
              <a:gd name="connsiteY10" fmla="*/ 4147102 h 4392000"/>
              <a:gd name="connsiteX11" fmla="*/ 0 w 8892000"/>
              <a:gd name="connsiteY11" fmla="*/ 244898 h 4392000"/>
              <a:gd name="connsiteX12" fmla="*/ 244898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4898" y="0"/>
                </a:moveTo>
                <a:lnTo>
                  <a:pt x="3420000" y="0"/>
                </a:lnTo>
                <a:lnTo>
                  <a:pt x="8647102" y="0"/>
                </a:lnTo>
                <a:lnTo>
                  <a:pt x="8892000" y="0"/>
                </a:lnTo>
                <a:lnTo>
                  <a:pt x="8892000" y="244898"/>
                </a:lnTo>
                <a:lnTo>
                  <a:pt x="8892000" y="4147102"/>
                </a:lnTo>
                <a:lnTo>
                  <a:pt x="8892000" y="4392000"/>
                </a:lnTo>
                <a:lnTo>
                  <a:pt x="8647102" y="4392000"/>
                </a:lnTo>
                <a:lnTo>
                  <a:pt x="3420000" y="4392000"/>
                </a:lnTo>
                <a:lnTo>
                  <a:pt x="244898" y="4392000"/>
                </a:lnTo>
                <a:cubicBezTo>
                  <a:pt x="109645" y="4392000"/>
                  <a:pt x="0" y="4282355"/>
                  <a:pt x="0" y="4147102"/>
                </a:cubicBezTo>
                <a:lnTo>
                  <a:pt x="0" y="244898"/>
                </a:lnTo>
                <a:cubicBezTo>
                  <a:pt x="0" y="109645"/>
                  <a:pt x="109645" y="0"/>
                  <a:pt x="244898" y="0"/>
                </a:cubicBezTo>
                <a:close/>
              </a:path>
            </a:pathLst>
          </a:custGeom>
          <a:solidFill>
            <a:srgbClr val="FFFFFF">
              <a:lumMod val="85000"/>
            </a:srgbClr>
          </a:solidFill>
          <a:ln>
            <a:noFill/>
          </a:ln>
        </p:spPr>
      </p:pic>
      <p:sp>
        <p:nvSpPr>
          <p:cNvPr id="64" name="Espace réservé du texte 13"/>
          <p:cNvSpPr txBox="1">
            <a:spLocks noChangeAspect="1"/>
          </p:cNvSpPr>
          <p:nvPr userDrawn="1"/>
        </p:nvSpPr>
        <p:spPr bwMode="gray">
          <a:xfrm>
            <a:off x="5616000" y="2"/>
            <a:ext cx="960000" cy="823385"/>
          </a:xfrm>
          <a:prstGeom prst="rect">
            <a:avLst/>
          </a:prstGeom>
          <a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marL="359991" indent="-359991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SzPct val="80000"/>
              <a:buFont typeface="Wingdings" pitchFamily="2" charset="2"/>
              <a:buNone/>
              <a:defRPr sz="133" b="0" kern="1200" cap="none" baseline="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815980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SzPct val="100000"/>
              <a:buFont typeface="Wingdings" pitchFamily="2" charset="2"/>
              <a:buChar char="§"/>
              <a:defRPr sz="1800" kern="120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91965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Pct val="100000"/>
              <a:buFont typeface="Wingdings" pitchFamily="2" charset="2"/>
              <a:buChar char="§"/>
              <a:defRPr sz="1800" kern="1200" cap="none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967951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43936" indent="-239994" algn="l" defTabSz="914341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36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7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4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9982" marR="0" lvl="0" indent="-359982" algn="l" defTabSz="914318" rtl="0" eaLnBrk="1" fontAlgn="auto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Tx/>
              <a:buSzPct val="80000"/>
              <a:buFont typeface="Wingdings" pitchFamily="2" charset="2"/>
              <a:buNone/>
              <a:tabLst/>
              <a:defRPr/>
            </a:pPr>
            <a:r>
              <a:rPr kumimoji="0" lang="fr-FR" sz="133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endParaRPr kumimoji="0" lang="fr-FR" sz="133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5" name="Obraz 24" descr="CA_logo symetryczne 1L.png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41" b="241"/>
          <a:stretch/>
        </p:blipFill>
        <p:spPr>
          <a:xfrm>
            <a:off x="5338235" y="6281744"/>
            <a:ext cx="1519221" cy="480053"/>
          </a:xfrm>
          <a:prstGeom prst="rect">
            <a:avLst/>
          </a:prstGeom>
        </p:spPr>
      </p:pic>
      <p:sp>
        <p:nvSpPr>
          <p:cNvPr id="66" name="Rectangle 9"/>
          <p:cNvSpPr/>
          <p:nvPr userDrawn="1"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675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Espace réservé de la date 5"/>
          <p:cNvSpPr txBox="1">
            <a:spLocks/>
          </p:cNvSpPr>
          <p:nvPr userDrawn="1"/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733" kern="1200" baseline="0">
                <a:solidFill>
                  <a:schemeClr val="accent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33" b="0" i="0" u="none" strike="noStrike" kern="1200" cap="none" spc="0" normalizeH="0" baseline="0" noProof="0">
                <a:ln>
                  <a:noFill/>
                </a:ln>
                <a:solidFill>
                  <a:srgbClr val="008789">
                    <a:alpha val="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22.05.2017</a:t>
            </a:r>
            <a:endParaRPr kumimoji="0" lang="fr-FR" sz="733" b="0" i="0" u="none" strike="noStrike" kern="1200" cap="none" spc="0" normalizeH="0" baseline="0" noProof="0" dirty="0">
              <a:ln>
                <a:noFill/>
              </a:ln>
              <a:solidFill>
                <a:srgbClr val="008789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Espace réservé du numéro de diapositive 6"/>
          <p:cNvSpPr txBox="1">
            <a:spLocks/>
          </p:cNvSpPr>
          <p:nvPr userDrawn="1"/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733" b="0" kern="1200" cap="none" baseline="0">
                <a:solidFill>
                  <a:schemeClr val="accent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C140CD-8AED-46FF-A9A2-77308F3F39AE}" type="slidenum">
              <a:rPr kumimoji="0" lang="fr-FR" sz="733" b="0" i="0" u="none" strike="noStrike" kern="1200" cap="none" spc="0" normalizeH="0" baseline="0" noProof="0" smtClean="0">
                <a:ln>
                  <a:noFill/>
                </a:ln>
                <a:solidFill>
                  <a:srgbClr val="008789">
                    <a:alpha val="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4675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fr-FR" sz="733" b="0" i="0" u="none" strike="noStrike" kern="1200" cap="none" spc="0" normalizeH="0" baseline="0" noProof="0" dirty="0">
              <a:ln>
                <a:noFill/>
              </a:ln>
              <a:solidFill>
                <a:srgbClr val="008789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Espace réservé du pied de page 8"/>
          <p:cNvSpPr txBox="1">
            <a:spLocks/>
          </p:cNvSpPr>
          <p:nvPr userDrawn="1"/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800" kern="1200" cap="all" baseline="0">
                <a:solidFill>
                  <a:schemeClr val="accent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1200" cap="all" spc="0" normalizeH="0" baseline="0" noProof="0" dirty="0">
              <a:ln>
                <a:noFill/>
              </a:ln>
              <a:solidFill>
                <a:srgbClr val="008789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241577" y="3979549"/>
            <a:ext cx="9755320" cy="1440000"/>
          </a:xfrm>
        </p:spPr>
        <p:txBody>
          <a:bodyPr vert="horz" lIns="0" tIns="180000" rIns="0" bIns="0" rtlCol="0" anchor="ctr" anchorCtr="0">
            <a:noAutofit/>
          </a:bodyPr>
          <a:lstStyle>
            <a:lvl1pPr marL="359982" indent="-359982">
              <a:buNone/>
              <a:defRPr kumimoji="0" lang="en-US" sz="3600" b="0" i="0" u="none" strike="noStrike" cap="all" spc="0" normalizeH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lnSpc>
                <a:spcPct val="80000"/>
              </a:lnSpc>
              <a:spcAft>
                <a:spcPts val="0"/>
              </a:spcAft>
              <a:buClrTx/>
              <a:buSzTx/>
              <a:tabLst/>
            </a:pPr>
            <a:r>
              <a:rPr lang="en-US" dirty="0"/>
              <a:t>Click to add title</a:t>
            </a:r>
          </a:p>
        </p:txBody>
      </p:sp>
      <p:sp>
        <p:nvSpPr>
          <p:cNvPr id="71" name="Espace réservé du texte 13"/>
          <p:cNvSpPr txBox="1">
            <a:spLocks/>
          </p:cNvSpPr>
          <p:nvPr userDrawn="1"/>
        </p:nvSpPr>
        <p:spPr bwMode="gray">
          <a:xfrm>
            <a:off x="1877091" y="4293096"/>
            <a:ext cx="192000" cy="912000"/>
          </a:xfrm>
          <a:prstGeom prst="roundRect">
            <a:avLst>
              <a:gd name="adj" fmla="val 13081"/>
            </a:avLst>
          </a:prstGeom>
          <a:solidFill>
            <a:srgbClr val="96CA12"/>
          </a:solidFill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marL="359991" indent="-359991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SzPct val="80000"/>
              <a:buFont typeface="Wingdings" pitchFamily="2" charset="2"/>
              <a:buNone/>
              <a:defRPr sz="133" b="0" kern="1200" cap="none" baseline="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815980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SzPct val="100000"/>
              <a:buFont typeface="Wingdings" pitchFamily="2" charset="2"/>
              <a:buChar char="§"/>
              <a:defRPr sz="1800" kern="120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91965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Pct val="100000"/>
              <a:buFont typeface="Wingdings" pitchFamily="2" charset="2"/>
              <a:buChar char="§"/>
              <a:defRPr sz="1800" kern="1200" cap="none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967951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43936" indent="-239994" algn="l" defTabSz="914341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36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7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4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9982" marR="0" lvl="0" indent="-359982" algn="l" defTabSz="914318" rtl="0" eaLnBrk="1" fontAlgn="auto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Tx/>
              <a:buSzPct val="80000"/>
              <a:buFont typeface="Wingdings" pitchFamily="2" charset="2"/>
              <a:buNone/>
              <a:tabLst/>
              <a:defRPr/>
            </a:pPr>
            <a:r>
              <a:rPr kumimoji="0" lang="fr-FR" sz="133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endParaRPr kumimoji="0" lang="fr-FR" sz="133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241577" y="5421687"/>
            <a:ext cx="9755320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 marL="359982" indent="-359982">
              <a:buNone/>
              <a:defRPr kumimoji="0" lang="en-US" sz="1200" b="0" i="0" u="none" strike="noStrike" spc="0" normalizeH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lnSpc>
                <a:spcPct val="80000"/>
              </a:lnSpc>
              <a:buClrTx/>
              <a:tabLst/>
            </a:pPr>
            <a:r>
              <a:rPr lang="en-US" dirty="0"/>
              <a:t>Click to sub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241577" y="5598384"/>
            <a:ext cx="9755320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 marL="359982" indent="-359982">
              <a:buNone/>
              <a:defRPr kumimoji="0" lang="en-US" sz="1200" b="0" i="0" u="none" strike="noStrike" spc="0" normalizeH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lnSpc>
                <a:spcPct val="80000"/>
              </a:lnSpc>
              <a:buClrTx/>
              <a:tabLst/>
            </a:pPr>
            <a:r>
              <a:rPr lang="en-US" dirty="0"/>
              <a:t>Click to add dat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2241579" y="5774945"/>
            <a:ext cx="9755319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 marL="359982" indent="-359982">
              <a:buNone/>
              <a:defRPr kumimoji="0" lang="en-US" sz="1200" b="0" i="0" u="none" strike="noStrike" spc="0" normalizeH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lnSpc>
                <a:spcPct val="80000"/>
              </a:lnSpc>
              <a:buClrTx/>
              <a:tabLst/>
            </a:pPr>
            <a:r>
              <a:rPr lang="en-US" dirty="0"/>
              <a:t>Click to add text</a:t>
            </a:r>
          </a:p>
        </p:txBody>
      </p:sp>
      <p:sp>
        <p:nvSpPr>
          <p:cNvPr id="77" name="Text Placeholder 76"/>
          <p:cNvSpPr>
            <a:spLocks noGrp="1"/>
          </p:cNvSpPr>
          <p:nvPr>
            <p:ph type="body" sz="quarter" idx="14" hasCustomPrompt="1"/>
          </p:nvPr>
        </p:nvSpPr>
        <p:spPr>
          <a:xfrm>
            <a:off x="2241577" y="5949427"/>
            <a:ext cx="9755320" cy="168000"/>
          </a:xfr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359982" indent="-359982">
              <a:buNone/>
              <a:defRPr kumimoji="0" lang="en-US" sz="1200" b="0" i="0" u="none" strike="noStrike" spc="0" normalizeH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lnSpc>
                <a:spcPct val="80000"/>
              </a:lnSpc>
              <a:buClrTx/>
              <a:tabLst/>
            </a:pPr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77162501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rona tytułowa z motyw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5AAC722-2C2A-42A4-9AF1-74B0E37078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5AAC722-2C2A-42A4-9AF1-74B0E37078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Espace réservé pour une image  15"/>
          <p:cNvSpPr txBox="1">
            <a:spLocks/>
          </p:cNvSpPr>
          <p:nvPr userDrawn="1"/>
        </p:nvSpPr>
        <p:spPr bwMode="gray">
          <a:xfrm>
            <a:off x="340800" y="326400"/>
            <a:ext cx="11856000" cy="5856000"/>
          </a:xfrm>
          <a:custGeom>
            <a:avLst/>
            <a:gdLst>
              <a:gd name="connsiteX0" fmla="*/ 244898 w 8892000"/>
              <a:gd name="connsiteY0" fmla="*/ 0 h 4392000"/>
              <a:gd name="connsiteX1" fmla="*/ 3420000 w 8892000"/>
              <a:gd name="connsiteY1" fmla="*/ 0 h 4392000"/>
              <a:gd name="connsiteX2" fmla="*/ 8647102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4898 h 4392000"/>
              <a:gd name="connsiteX5" fmla="*/ 8892000 w 8892000"/>
              <a:gd name="connsiteY5" fmla="*/ 4147102 h 4392000"/>
              <a:gd name="connsiteX6" fmla="*/ 8892000 w 8892000"/>
              <a:gd name="connsiteY6" fmla="*/ 4392000 h 4392000"/>
              <a:gd name="connsiteX7" fmla="*/ 8647102 w 8892000"/>
              <a:gd name="connsiteY7" fmla="*/ 4392000 h 4392000"/>
              <a:gd name="connsiteX8" fmla="*/ 3420000 w 8892000"/>
              <a:gd name="connsiteY8" fmla="*/ 4392000 h 4392000"/>
              <a:gd name="connsiteX9" fmla="*/ 244898 w 8892000"/>
              <a:gd name="connsiteY9" fmla="*/ 4392000 h 4392000"/>
              <a:gd name="connsiteX10" fmla="*/ 0 w 8892000"/>
              <a:gd name="connsiteY10" fmla="*/ 4147102 h 4392000"/>
              <a:gd name="connsiteX11" fmla="*/ 0 w 8892000"/>
              <a:gd name="connsiteY11" fmla="*/ 244898 h 4392000"/>
              <a:gd name="connsiteX12" fmla="*/ 244898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4898" y="0"/>
                </a:moveTo>
                <a:lnTo>
                  <a:pt x="3420000" y="0"/>
                </a:lnTo>
                <a:lnTo>
                  <a:pt x="8647102" y="0"/>
                </a:lnTo>
                <a:lnTo>
                  <a:pt x="8892000" y="0"/>
                </a:lnTo>
                <a:lnTo>
                  <a:pt x="8892000" y="244898"/>
                </a:lnTo>
                <a:lnTo>
                  <a:pt x="8892000" y="4147102"/>
                </a:lnTo>
                <a:lnTo>
                  <a:pt x="8892000" y="4392000"/>
                </a:lnTo>
                <a:lnTo>
                  <a:pt x="8647102" y="4392000"/>
                </a:lnTo>
                <a:lnTo>
                  <a:pt x="3420000" y="4392000"/>
                </a:lnTo>
                <a:lnTo>
                  <a:pt x="244898" y="4392000"/>
                </a:lnTo>
                <a:cubicBezTo>
                  <a:pt x="109645" y="4392000"/>
                  <a:pt x="0" y="4282355"/>
                  <a:pt x="0" y="4147102"/>
                </a:cubicBezTo>
                <a:lnTo>
                  <a:pt x="0" y="244898"/>
                </a:lnTo>
                <a:cubicBezTo>
                  <a:pt x="0" y="109645"/>
                  <a:pt x="109645" y="0"/>
                  <a:pt x="244898" y="0"/>
                </a:cubicBezTo>
                <a:close/>
              </a:path>
            </a:pathLst>
          </a:custGeom>
          <a:solidFill>
            <a:srgbClr val="FFFFFF">
              <a:lumMod val="85000"/>
            </a:srgbClr>
          </a:solidFill>
          <a:ln>
            <a:noFill/>
          </a:ln>
        </p:spPr>
        <p:txBody>
          <a:bodyPr vert="horz" wrap="square" lIns="0" tIns="1260000" rIns="0" bIns="0" rtlCol="0" anchor="t" anchorCtr="0">
            <a:noAutofit/>
          </a:bodyPr>
          <a:lstStyle>
            <a:lvl1pPr marL="0" indent="0" algn="ctr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SzPct val="80000"/>
              <a:buFontTx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980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SzPct val="100000"/>
              <a:buFont typeface="Wingdings" pitchFamily="2" charset="2"/>
              <a:buChar char="§"/>
              <a:defRPr sz="1800" kern="120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91965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Pct val="100000"/>
              <a:buFont typeface="Wingdings" pitchFamily="2" charset="2"/>
              <a:buChar char="§"/>
              <a:defRPr sz="1800" kern="1200" cap="none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967951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43936" indent="-239994" algn="l" defTabSz="914341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36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7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4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18" rtl="0" eaLnBrk="1" fontAlgn="auto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Tx/>
              <a:buSzPct val="80000"/>
              <a:buFontTx/>
              <a:buNone/>
              <a:tabLst/>
              <a:defRPr/>
            </a:pPr>
            <a:r>
              <a:rPr kumimoji="0" lang="pl-PL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Kliknij ikonę, aby dodać zdjęcie tła</a:t>
            </a:r>
            <a:br>
              <a:rPr kumimoji="0" lang="pl-PL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kumimoji="0" lang="pl-PL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(Wybierz obraz prawym przyciskiem myszy / Ustaw jako tło)</a:t>
            </a:r>
          </a:p>
        </p:txBody>
      </p:sp>
      <p:sp>
        <p:nvSpPr>
          <p:cNvPr id="64" name="Espace réservé du texte 13"/>
          <p:cNvSpPr txBox="1">
            <a:spLocks noChangeAspect="1"/>
          </p:cNvSpPr>
          <p:nvPr userDrawn="1"/>
        </p:nvSpPr>
        <p:spPr bwMode="gray">
          <a:xfrm>
            <a:off x="5616000" y="2"/>
            <a:ext cx="960000" cy="823385"/>
          </a:xfrm>
          <a:prstGeom prst="rect">
            <a:avLst/>
          </a:prstGeo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marL="359991" indent="-359991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SzPct val="80000"/>
              <a:buFont typeface="Wingdings" pitchFamily="2" charset="2"/>
              <a:buNone/>
              <a:defRPr sz="133" b="0" kern="1200" cap="none" baseline="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815980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SzPct val="100000"/>
              <a:buFont typeface="Wingdings" pitchFamily="2" charset="2"/>
              <a:buChar char="§"/>
              <a:defRPr sz="1800" kern="120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91965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Pct val="100000"/>
              <a:buFont typeface="Wingdings" pitchFamily="2" charset="2"/>
              <a:buChar char="§"/>
              <a:defRPr sz="1800" kern="1200" cap="none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967951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43936" indent="-239994" algn="l" defTabSz="914341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36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7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4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9982" marR="0" lvl="0" indent="-359982" algn="l" defTabSz="914318" rtl="0" eaLnBrk="1" fontAlgn="auto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Tx/>
              <a:buSzPct val="80000"/>
              <a:buFont typeface="Wingdings" pitchFamily="2" charset="2"/>
              <a:buNone/>
              <a:tabLst/>
              <a:defRPr/>
            </a:pPr>
            <a:r>
              <a:rPr kumimoji="0" lang="fr-FR" sz="133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endParaRPr kumimoji="0" lang="fr-FR" sz="133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5" name="Obraz 24" descr="CA_logo symetryczne 1L.png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41" b="241"/>
          <a:stretch/>
        </p:blipFill>
        <p:spPr>
          <a:xfrm>
            <a:off x="5338235" y="6281744"/>
            <a:ext cx="1519221" cy="480053"/>
          </a:xfrm>
          <a:prstGeom prst="rect">
            <a:avLst/>
          </a:prstGeom>
        </p:spPr>
      </p:pic>
      <p:sp>
        <p:nvSpPr>
          <p:cNvPr id="66" name="Rectangle 9"/>
          <p:cNvSpPr/>
          <p:nvPr userDrawn="1"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675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Espace réservé de la date 5"/>
          <p:cNvSpPr txBox="1">
            <a:spLocks/>
          </p:cNvSpPr>
          <p:nvPr userDrawn="1"/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733" kern="1200" baseline="0">
                <a:solidFill>
                  <a:schemeClr val="accent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33" b="0" i="0" u="none" strike="noStrike" kern="1200" cap="none" spc="0" normalizeH="0" baseline="0" noProof="0">
                <a:ln>
                  <a:noFill/>
                </a:ln>
                <a:solidFill>
                  <a:srgbClr val="008789">
                    <a:alpha val="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22.05.2017</a:t>
            </a:r>
            <a:endParaRPr kumimoji="0" lang="fr-FR" sz="733" b="0" i="0" u="none" strike="noStrike" kern="1200" cap="none" spc="0" normalizeH="0" baseline="0" noProof="0" dirty="0">
              <a:ln>
                <a:noFill/>
              </a:ln>
              <a:solidFill>
                <a:srgbClr val="008789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Espace réservé du numéro de diapositive 6"/>
          <p:cNvSpPr txBox="1">
            <a:spLocks/>
          </p:cNvSpPr>
          <p:nvPr userDrawn="1"/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733" b="0" kern="1200" cap="none" baseline="0">
                <a:solidFill>
                  <a:schemeClr val="accent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C140CD-8AED-46FF-A9A2-77308F3F39AE}" type="slidenum">
              <a:rPr kumimoji="0" lang="fr-FR" sz="733" b="0" i="0" u="none" strike="noStrike" kern="1200" cap="none" spc="0" normalizeH="0" baseline="0" noProof="0" smtClean="0">
                <a:ln>
                  <a:noFill/>
                </a:ln>
                <a:solidFill>
                  <a:srgbClr val="008789">
                    <a:alpha val="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4675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fr-FR" sz="733" b="0" i="0" u="none" strike="noStrike" kern="1200" cap="none" spc="0" normalizeH="0" baseline="0" noProof="0" dirty="0">
              <a:ln>
                <a:noFill/>
              </a:ln>
              <a:solidFill>
                <a:srgbClr val="008789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Espace réservé du pied de page 8"/>
          <p:cNvSpPr txBox="1">
            <a:spLocks/>
          </p:cNvSpPr>
          <p:nvPr userDrawn="1"/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800" kern="1200" cap="all" baseline="0">
                <a:solidFill>
                  <a:schemeClr val="accent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1200" cap="all" spc="0" normalizeH="0" baseline="0" noProof="0" dirty="0">
              <a:ln>
                <a:noFill/>
              </a:ln>
              <a:solidFill>
                <a:srgbClr val="008789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241577" y="3979549"/>
            <a:ext cx="9755320" cy="1440000"/>
          </a:xfrm>
        </p:spPr>
        <p:txBody>
          <a:bodyPr vert="horz" lIns="0" tIns="180000" rIns="0" bIns="0" rtlCol="0" anchor="ctr" anchorCtr="0">
            <a:noAutofit/>
          </a:bodyPr>
          <a:lstStyle>
            <a:lvl1pPr marL="359982" indent="-359982">
              <a:buNone/>
              <a:defRPr kumimoji="0" lang="en-US" sz="3600" b="0" i="0" u="none" strike="noStrike" cap="all" spc="0" normalizeH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lnSpc>
                <a:spcPct val="80000"/>
              </a:lnSpc>
              <a:spcAft>
                <a:spcPts val="0"/>
              </a:spcAft>
              <a:buClrTx/>
              <a:buSzTx/>
              <a:tabLst/>
            </a:pPr>
            <a:r>
              <a:rPr lang="en-US" dirty="0"/>
              <a:t>Click to add title</a:t>
            </a:r>
          </a:p>
        </p:txBody>
      </p:sp>
      <p:sp>
        <p:nvSpPr>
          <p:cNvPr id="71" name="Espace réservé du texte 13"/>
          <p:cNvSpPr txBox="1">
            <a:spLocks/>
          </p:cNvSpPr>
          <p:nvPr userDrawn="1"/>
        </p:nvSpPr>
        <p:spPr bwMode="gray">
          <a:xfrm>
            <a:off x="1877091" y="4293096"/>
            <a:ext cx="192000" cy="912000"/>
          </a:xfrm>
          <a:prstGeom prst="roundRect">
            <a:avLst>
              <a:gd name="adj" fmla="val 13081"/>
            </a:avLst>
          </a:prstGeom>
          <a:solidFill>
            <a:srgbClr val="96CA12"/>
          </a:solidFill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marL="359991" indent="-359991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SzPct val="80000"/>
              <a:buFont typeface="Wingdings" pitchFamily="2" charset="2"/>
              <a:buNone/>
              <a:defRPr sz="133" b="0" kern="1200" cap="none" baseline="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815980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SzPct val="100000"/>
              <a:buFont typeface="Wingdings" pitchFamily="2" charset="2"/>
              <a:buChar char="§"/>
              <a:defRPr sz="1800" kern="120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91965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Pct val="100000"/>
              <a:buFont typeface="Wingdings" pitchFamily="2" charset="2"/>
              <a:buChar char="§"/>
              <a:defRPr sz="1800" kern="1200" cap="none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967951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43936" indent="-239994" algn="l" defTabSz="914341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36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7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4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9982" marR="0" lvl="0" indent="-359982" algn="l" defTabSz="914318" rtl="0" eaLnBrk="1" fontAlgn="auto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Tx/>
              <a:buSzPct val="80000"/>
              <a:buFont typeface="Wingdings" pitchFamily="2" charset="2"/>
              <a:buNone/>
              <a:tabLst/>
              <a:defRPr/>
            </a:pPr>
            <a:r>
              <a:rPr kumimoji="0" lang="fr-FR" sz="133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endParaRPr kumimoji="0" lang="fr-FR" sz="133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241577" y="5421687"/>
            <a:ext cx="9755320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 marL="359982" indent="-359982">
              <a:buNone/>
              <a:defRPr kumimoji="0" lang="en-US" sz="1200" b="0" i="0" u="none" strike="noStrike" spc="0" normalizeH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lnSpc>
                <a:spcPct val="80000"/>
              </a:lnSpc>
              <a:buClrTx/>
              <a:tabLst/>
            </a:pPr>
            <a:r>
              <a:rPr lang="en-US" dirty="0"/>
              <a:t>Click to sub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241577" y="5598384"/>
            <a:ext cx="9755320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 marL="359982" indent="-359982">
              <a:buNone/>
              <a:defRPr kumimoji="0" lang="en-US" sz="1200" b="0" i="0" u="none" strike="noStrike" spc="0" normalizeH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lnSpc>
                <a:spcPct val="80000"/>
              </a:lnSpc>
              <a:buClrTx/>
              <a:tabLst/>
            </a:pPr>
            <a:r>
              <a:rPr lang="en-US" dirty="0"/>
              <a:t>Click to add dat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2241579" y="5774945"/>
            <a:ext cx="9755319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 marL="359982" indent="-359982">
              <a:buNone/>
              <a:defRPr kumimoji="0" lang="en-US" sz="1200" b="0" i="0" u="none" strike="noStrike" spc="0" normalizeH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lnSpc>
                <a:spcPct val="80000"/>
              </a:lnSpc>
              <a:buClrTx/>
              <a:tabLst/>
            </a:pPr>
            <a:r>
              <a:rPr lang="en-US" dirty="0"/>
              <a:t>Click to add text</a:t>
            </a:r>
          </a:p>
        </p:txBody>
      </p:sp>
      <p:sp>
        <p:nvSpPr>
          <p:cNvPr id="77" name="Text Placeholder 76"/>
          <p:cNvSpPr>
            <a:spLocks noGrp="1"/>
          </p:cNvSpPr>
          <p:nvPr>
            <p:ph type="body" sz="quarter" idx="14" hasCustomPrompt="1"/>
          </p:nvPr>
        </p:nvSpPr>
        <p:spPr>
          <a:xfrm>
            <a:off x="2241577" y="5949427"/>
            <a:ext cx="9755320" cy="168000"/>
          </a:xfr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359982" indent="-359982">
              <a:buNone/>
              <a:defRPr kumimoji="0" lang="en-US" sz="1200" b="0" i="0" u="none" strike="noStrike" spc="0" normalizeH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lnSpc>
                <a:spcPct val="80000"/>
              </a:lnSpc>
              <a:buClrTx/>
              <a:tabLst/>
            </a:pPr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1963255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rona tytułowa z motyw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5AAC722-2C2A-42A4-9AF1-74B0E37078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5AAC722-2C2A-42A4-9AF1-74B0E37078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Forme libre 11"/>
          <p:cNvSpPr/>
          <p:nvPr userDrawn="1"/>
        </p:nvSpPr>
        <p:spPr>
          <a:xfrm>
            <a:off x="340800" y="32640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5864 h 4392000"/>
              <a:gd name="connsiteX5" fmla="*/ 8892000 w 8892000"/>
              <a:gd name="connsiteY5" fmla="*/ 4146136 h 4392000"/>
              <a:gd name="connsiteX6" fmla="*/ 8892000 w 8892000"/>
              <a:gd name="connsiteY6" fmla="*/ 4392000 h 4392000"/>
              <a:gd name="connsiteX7" fmla="*/ 8646136 w 8892000"/>
              <a:gd name="connsiteY7" fmla="*/ 4392000 h 4392000"/>
              <a:gd name="connsiteX8" fmla="*/ 5292000 w 8892000"/>
              <a:gd name="connsiteY8" fmla="*/ 4392000 h 4392000"/>
              <a:gd name="connsiteX9" fmla="*/ 245864 w 8892000"/>
              <a:gd name="connsiteY9" fmla="*/ 4392000 h 4392000"/>
              <a:gd name="connsiteX10" fmla="*/ 0 w 8892000"/>
              <a:gd name="connsiteY10" fmla="*/ 4146136 h 4392000"/>
              <a:gd name="connsiteX11" fmla="*/ 0 w 8892000"/>
              <a:gd name="connsiteY11" fmla="*/ 245864 h 4392000"/>
              <a:gd name="connsiteX12" fmla="*/ 245864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45864"/>
                </a:lnTo>
                <a:lnTo>
                  <a:pt x="8892000" y="4146136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rgbClr val="7E93A5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675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Espace réservé du texte 13"/>
          <p:cNvSpPr txBox="1">
            <a:spLocks noChangeAspect="1"/>
          </p:cNvSpPr>
          <p:nvPr userDrawn="1"/>
        </p:nvSpPr>
        <p:spPr bwMode="gray">
          <a:xfrm>
            <a:off x="5616000" y="2"/>
            <a:ext cx="960000" cy="823385"/>
          </a:xfrm>
          <a:prstGeom prst="rect">
            <a:avLst/>
          </a:prstGeo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marL="359991" indent="-359991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SzPct val="80000"/>
              <a:buFont typeface="Wingdings" pitchFamily="2" charset="2"/>
              <a:buNone/>
              <a:defRPr sz="133" b="0" kern="1200" cap="none" baseline="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815980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SzPct val="100000"/>
              <a:buFont typeface="Wingdings" pitchFamily="2" charset="2"/>
              <a:buChar char="§"/>
              <a:defRPr sz="1800" kern="120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91965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Pct val="100000"/>
              <a:buFont typeface="Wingdings" pitchFamily="2" charset="2"/>
              <a:buChar char="§"/>
              <a:defRPr sz="1800" kern="1200" cap="none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967951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43936" indent="-239994" algn="l" defTabSz="914341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36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7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4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9982" marR="0" lvl="0" indent="-359982" algn="l" defTabSz="914318" rtl="0" eaLnBrk="1" fontAlgn="auto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Tx/>
              <a:buSzPct val="80000"/>
              <a:buFont typeface="Wingdings" pitchFamily="2" charset="2"/>
              <a:buNone/>
              <a:tabLst/>
              <a:defRPr/>
            </a:pPr>
            <a:r>
              <a:rPr kumimoji="0" lang="fr-FR" sz="133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endParaRPr kumimoji="0" lang="fr-FR" sz="133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5" name="Obraz 24" descr="CA_logo symetryczne 1L.png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41" b="241"/>
          <a:stretch/>
        </p:blipFill>
        <p:spPr>
          <a:xfrm>
            <a:off x="5338235" y="6281744"/>
            <a:ext cx="1519221" cy="480053"/>
          </a:xfrm>
          <a:prstGeom prst="rect">
            <a:avLst/>
          </a:prstGeom>
        </p:spPr>
      </p:pic>
      <p:sp>
        <p:nvSpPr>
          <p:cNvPr id="66" name="Rectangle 9"/>
          <p:cNvSpPr/>
          <p:nvPr userDrawn="1"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675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Espace réservé de la date 5"/>
          <p:cNvSpPr txBox="1">
            <a:spLocks/>
          </p:cNvSpPr>
          <p:nvPr userDrawn="1"/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733" kern="1200" baseline="0">
                <a:solidFill>
                  <a:schemeClr val="accent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33" b="0" i="0" u="none" strike="noStrike" kern="1200" cap="none" spc="0" normalizeH="0" baseline="0" noProof="0">
                <a:ln>
                  <a:noFill/>
                </a:ln>
                <a:solidFill>
                  <a:srgbClr val="008789">
                    <a:alpha val="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22.05.2017</a:t>
            </a:r>
            <a:endParaRPr kumimoji="0" lang="fr-FR" sz="733" b="0" i="0" u="none" strike="noStrike" kern="1200" cap="none" spc="0" normalizeH="0" baseline="0" noProof="0" dirty="0">
              <a:ln>
                <a:noFill/>
              </a:ln>
              <a:solidFill>
                <a:srgbClr val="008789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Espace réservé du numéro de diapositive 6"/>
          <p:cNvSpPr txBox="1">
            <a:spLocks/>
          </p:cNvSpPr>
          <p:nvPr userDrawn="1"/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733" b="0" kern="1200" cap="none" baseline="0">
                <a:solidFill>
                  <a:schemeClr val="accent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C140CD-8AED-46FF-A9A2-77308F3F39AE}" type="slidenum">
              <a:rPr kumimoji="0" lang="fr-FR" sz="733" b="0" i="0" u="none" strike="noStrike" kern="1200" cap="none" spc="0" normalizeH="0" baseline="0" noProof="0" smtClean="0">
                <a:ln>
                  <a:noFill/>
                </a:ln>
                <a:solidFill>
                  <a:srgbClr val="008789">
                    <a:alpha val="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4675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fr-FR" sz="733" b="0" i="0" u="none" strike="noStrike" kern="1200" cap="none" spc="0" normalizeH="0" baseline="0" noProof="0" dirty="0">
              <a:ln>
                <a:noFill/>
              </a:ln>
              <a:solidFill>
                <a:srgbClr val="008789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Espace réservé du pied de page 8"/>
          <p:cNvSpPr txBox="1">
            <a:spLocks/>
          </p:cNvSpPr>
          <p:nvPr userDrawn="1"/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800" kern="1200" cap="all" baseline="0">
                <a:solidFill>
                  <a:schemeClr val="accent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1200" cap="all" spc="0" normalizeH="0" baseline="0" noProof="0" dirty="0">
              <a:ln>
                <a:noFill/>
              </a:ln>
              <a:solidFill>
                <a:srgbClr val="008789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241577" y="3979549"/>
            <a:ext cx="9755320" cy="1440000"/>
          </a:xfrm>
        </p:spPr>
        <p:txBody>
          <a:bodyPr vert="horz" lIns="0" tIns="180000" rIns="0" bIns="0" rtlCol="0" anchor="ctr" anchorCtr="0">
            <a:noAutofit/>
          </a:bodyPr>
          <a:lstStyle>
            <a:lvl1pPr marL="359982" indent="-359982">
              <a:buNone/>
              <a:defRPr kumimoji="0" lang="en-US" sz="3600" b="0" i="0" u="none" strike="noStrike" cap="all" spc="0" normalizeH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lnSpc>
                <a:spcPct val="80000"/>
              </a:lnSpc>
              <a:spcAft>
                <a:spcPts val="0"/>
              </a:spcAft>
              <a:buClrTx/>
              <a:buSzTx/>
              <a:tabLst/>
            </a:pPr>
            <a:r>
              <a:rPr lang="en-US" dirty="0"/>
              <a:t>Click to add title</a:t>
            </a:r>
          </a:p>
        </p:txBody>
      </p:sp>
      <p:sp>
        <p:nvSpPr>
          <p:cNvPr id="71" name="Espace réservé du texte 13"/>
          <p:cNvSpPr txBox="1">
            <a:spLocks/>
          </p:cNvSpPr>
          <p:nvPr userDrawn="1"/>
        </p:nvSpPr>
        <p:spPr bwMode="gray">
          <a:xfrm>
            <a:off x="1877091" y="4293096"/>
            <a:ext cx="192000" cy="912000"/>
          </a:xfrm>
          <a:prstGeom prst="roundRect">
            <a:avLst>
              <a:gd name="adj" fmla="val 13081"/>
            </a:avLst>
          </a:prstGeom>
          <a:solidFill>
            <a:srgbClr val="96CA12"/>
          </a:solidFill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marL="359991" indent="-359991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SzPct val="80000"/>
              <a:buFont typeface="Wingdings" pitchFamily="2" charset="2"/>
              <a:buNone/>
              <a:defRPr sz="133" b="0" kern="1200" cap="none" baseline="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815980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SzPct val="100000"/>
              <a:buFont typeface="Wingdings" pitchFamily="2" charset="2"/>
              <a:buChar char="§"/>
              <a:defRPr sz="1800" kern="120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91965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Pct val="100000"/>
              <a:buFont typeface="Wingdings" pitchFamily="2" charset="2"/>
              <a:buChar char="§"/>
              <a:defRPr sz="1800" kern="1200" cap="none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967951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43936" indent="-239994" algn="l" defTabSz="914341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36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7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4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9982" marR="0" lvl="0" indent="-359982" algn="l" defTabSz="914318" rtl="0" eaLnBrk="1" fontAlgn="auto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Tx/>
              <a:buSzPct val="80000"/>
              <a:buFont typeface="Wingdings" pitchFamily="2" charset="2"/>
              <a:buNone/>
              <a:tabLst/>
              <a:defRPr/>
            </a:pPr>
            <a:r>
              <a:rPr kumimoji="0" lang="fr-FR" sz="133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endParaRPr kumimoji="0" lang="fr-FR" sz="133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241577" y="5421687"/>
            <a:ext cx="9755320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 marL="359982" indent="-359982">
              <a:buNone/>
              <a:defRPr kumimoji="0" lang="en-US" sz="1200" b="0" i="0" u="none" strike="noStrike" spc="0" normalizeH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lnSpc>
                <a:spcPct val="80000"/>
              </a:lnSpc>
              <a:buClrTx/>
              <a:tabLst/>
            </a:pPr>
            <a:r>
              <a:rPr lang="en-US" dirty="0"/>
              <a:t>Click to sub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241577" y="5598384"/>
            <a:ext cx="9755320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 marL="359982" indent="-359982">
              <a:buNone/>
              <a:defRPr kumimoji="0" lang="en-US" sz="1200" b="0" i="0" u="none" strike="noStrike" spc="0" normalizeH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lnSpc>
                <a:spcPct val="80000"/>
              </a:lnSpc>
              <a:buClrTx/>
              <a:tabLst/>
            </a:pPr>
            <a:r>
              <a:rPr lang="en-US" dirty="0"/>
              <a:t>Click to add dat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2241579" y="5774945"/>
            <a:ext cx="9755319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 marL="359982" indent="-359982">
              <a:buNone/>
              <a:defRPr kumimoji="0" lang="en-US" sz="1200" b="0" i="0" u="none" strike="noStrike" spc="0" normalizeH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lnSpc>
                <a:spcPct val="80000"/>
              </a:lnSpc>
              <a:buClrTx/>
              <a:tabLst/>
            </a:pPr>
            <a:r>
              <a:rPr lang="en-US" dirty="0"/>
              <a:t>Click to add text</a:t>
            </a:r>
          </a:p>
        </p:txBody>
      </p:sp>
      <p:sp>
        <p:nvSpPr>
          <p:cNvPr id="77" name="Text Placeholder 76"/>
          <p:cNvSpPr>
            <a:spLocks noGrp="1"/>
          </p:cNvSpPr>
          <p:nvPr>
            <p:ph type="body" sz="quarter" idx="14" hasCustomPrompt="1"/>
          </p:nvPr>
        </p:nvSpPr>
        <p:spPr>
          <a:xfrm>
            <a:off x="2241577" y="5949427"/>
            <a:ext cx="9755320" cy="168000"/>
          </a:xfr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359982" indent="-359982">
              <a:buNone/>
              <a:defRPr kumimoji="0" lang="en-US" sz="1200" b="0" i="0" u="none" strike="noStrike" spc="0" normalizeH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lnSpc>
                <a:spcPct val="80000"/>
              </a:lnSpc>
              <a:buClrTx/>
              <a:tabLst/>
            </a:pPr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580799001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rona tytułowa z motyw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5AAC722-2C2A-42A4-9AF1-74B0E37078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5AAC722-2C2A-42A4-9AF1-74B0E37078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rme libre 11"/>
          <p:cNvSpPr/>
          <p:nvPr userDrawn="1"/>
        </p:nvSpPr>
        <p:spPr>
          <a:xfrm>
            <a:off x="340800" y="32640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5864 h 4392000"/>
              <a:gd name="connsiteX5" fmla="*/ 8892000 w 8892000"/>
              <a:gd name="connsiteY5" fmla="*/ 4146136 h 4392000"/>
              <a:gd name="connsiteX6" fmla="*/ 8892000 w 8892000"/>
              <a:gd name="connsiteY6" fmla="*/ 4392000 h 4392000"/>
              <a:gd name="connsiteX7" fmla="*/ 8646136 w 8892000"/>
              <a:gd name="connsiteY7" fmla="*/ 4392000 h 4392000"/>
              <a:gd name="connsiteX8" fmla="*/ 5292000 w 8892000"/>
              <a:gd name="connsiteY8" fmla="*/ 4392000 h 4392000"/>
              <a:gd name="connsiteX9" fmla="*/ 245864 w 8892000"/>
              <a:gd name="connsiteY9" fmla="*/ 4392000 h 4392000"/>
              <a:gd name="connsiteX10" fmla="*/ 0 w 8892000"/>
              <a:gd name="connsiteY10" fmla="*/ 4146136 h 4392000"/>
              <a:gd name="connsiteX11" fmla="*/ 0 w 8892000"/>
              <a:gd name="connsiteY11" fmla="*/ 245864 h 4392000"/>
              <a:gd name="connsiteX12" fmla="*/ 245864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45864"/>
                </a:lnTo>
                <a:lnTo>
                  <a:pt x="8892000" y="4146136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rgbClr val="00878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675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Espace réservé du texte 13"/>
          <p:cNvSpPr txBox="1">
            <a:spLocks noChangeAspect="1"/>
          </p:cNvSpPr>
          <p:nvPr userDrawn="1"/>
        </p:nvSpPr>
        <p:spPr bwMode="gray">
          <a:xfrm>
            <a:off x="5616000" y="2"/>
            <a:ext cx="960000" cy="823385"/>
          </a:xfrm>
          <a:prstGeom prst="rect">
            <a:avLst/>
          </a:prstGeo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marL="359991" indent="-359991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SzPct val="80000"/>
              <a:buFont typeface="Wingdings" pitchFamily="2" charset="2"/>
              <a:buNone/>
              <a:defRPr sz="133" b="0" kern="1200" cap="none" baseline="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815980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SzPct val="100000"/>
              <a:buFont typeface="Wingdings" pitchFamily="2" charset="2"/>
              <a:buChar char="§"/>
              <a:defRPr sz="1800" kern="120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91965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Pct val="100000"/>
              <a:buFont typeface="Wingdings" pitchFamily="2" charset="2"/>
              <a:buChar char="§"/>
              <a:defRPr sz="1800" kern="1200" cap="none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967951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43936" indent="-239994" algn="l" defTabSz="914341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36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7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4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9982" marR="0" lvl="0" indent="-359982" algn="l" defTabSz="914318" rtl="0" eaLnBrk="1" fontAlgn="auto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Tx/>
              <a:buSzPct val="80000"/>
              <a:buFont typeface="Wingdings" pitchFamily="2" charset="2"/>
              <a:buNone/>
              <a:tabLst/>
              <a:defRPr/>
            </a:pPr>
            <a:r>
              <a:rPr kumimoji="0" lang="fr-FR" sz="133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endParaRPr kumimoji="0" lang="fr-FR" sz="133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5" name="Obraz 24" descr="CA_logo symetryczne 1L.png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41" b="241"/>
          <a:stretch/>
        </p:blipFill>
        <p:spPr>
          <a:xfrm>
            <a:off x="5338235" y="6281744"/>
            <a:ext cx="1519221" cy="480053"/>
          </a:xfrm>
          <a:prstGeom prst="rect">
            <a:avLst/>
          </a:prstGeom>
        </p:spPr>
      </p:pic>
      <p:sp>
        <p:nvSpPr>
          <p:cNvPr id="66" name="Rectangle 9"/>
          <p:cNvSpPr/>
          <p:nvPr userDrawn="1"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675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Espace réservé de la date 5"/>
          <p:cNvSpPr txBox="1">
            <a:spLocks/>
          </p:cNvSpPr>
          <p:nvPr userDrawn="1"/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733" kern="1200" baseline="0">
                <a:solidFill>
                  <a:schemeClr val="accent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33" b="0" i="0" u="none" strike="noStrike" kern="1200" cap="none" spc="0" normalizeH="0" baseline="0" noProof="0">
                <a:ln>
                  <a:noFill/>
                </a:ln>
                <a:solidFill>
                  <a:srgbClr val="008789">
                    <a:alpha val="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22.05.2017</a:t>
            </a:r>
            <a:endParaRPr kumimoji="0" lang="fr-FR" sz="733" b="0" i="0" u="none" strike="noStrike" kern="1200" cap="none" spc="0" normalizeH="0" baseline="0" noProof="0" dirty="0">
              <a:ln>
                <a:noFill/>
              </a:ln>
              <a:solidFill>
                <a:srgbClr val="008789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Espace réservé du numéro de diapositive 6"/>
          <p:cNvSpPr txBox="1">
            <a:spLocks/>
          </p:cNvSpPr>
          <p:nvPr userDrawn="1"/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733" b="0" kern="1200" cap="none" baseline="0">
                <a:solidFill>
                  <a:schemeClr val="accent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C140CD-8AED-46FF-A9A2-77308F3F39AE}" type="slidenum">
              <a:rPr kumimoji="0" lang="fr-FR" sz="733" b="0" i="0" u="none" strike="noStrike" kern="1200" cap="none" spc="0" normalizeH="0" baseline="0" noProof="0" smtClean="0">
                <a:ln>
                  <a:noFill/>
                </a:ln>
                <a:solidFill>
                  <a:srgbClr val="008789">
                    <a:alpha val="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4675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fr-FR" sz="733" b="0" i="0" u="none" strike="noStrike" kern="1200" cap="none" spc="0" normalizeH="0" baseline="0" noProof="0" dirty="0">
              <a:ln>
                <a:noFill/>
              </a:ln>
              <a:solidFill>
                <a:srgbClr val="008789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Espace réservé du pied de page 8"/>
          <p:cNvSpPr txBox="1">
            <a:spLocks/>
          </p:cNvSpPr>
          <p:nvPr userDrawn="1"/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800" kern="1200" cap="all" baseline="0">
                <a:solidFill>
                  <a:schemeClr val="accent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1200" cap="all" spc="0" normalizeH="0" baseline="0" noProof="0" dirty="0">
              <a:ln>
                <a:noFill/>
              </a:ln>
              <a:solidFill>
                <a:srgbClr val="008789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241577" y="3979549"/>
            <a:ext cx="9755320" cy="1440000"/>
          </a:xfrm>
        </p:spPr>
        <p:txBody>
          <a:bodyPr vert="horz" lIns="0" tIns="180000" rIns="0" bIns="0" rtlCol="0" anchor="ctr" anchorCtr="0">
            <a:noAutofit/>
          </a:bodyPr>
          <a:lstStyle>
            <a:lvl1pPr marL="359982" indent="-359982">
              <a:buNone/>
              <a:defRPr kumimoji="0" lang="en-US" sz="3600" b="0" i="0" u="none" strike="noStrike" cap="all" spc="0" normalizeH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lnSpc>
                <a:spcPct val="80000"/>
              </a:lnSpc>
              <a:spcAft>
                <a:spcPts val="0"/>
              </a:spcAft>
              <a:buClrTx/>
              <a:buSzTx/>
              <a:tabLst/>
            </a:pPr>
            <a:r>
              <a:rPr lang="en-US" dirty="0"/>
              <a:t>Click to add title</a:t>
            </a:r>
          </a:p>
        </p:txBody>
      </p:sp>
      <p:sp>
        <p:nvSpPr>
          <p:cNvPr id="71" name="Espace réservé du texte 13"/>
          <p:cNvSpPr txBox="1">
            <a:spLocks/>
          </p:cNvSpPr>
          <p:nvPr userDrawn="1"/>
        </p:nvSpPr>
        <p:spPr bwMode="gray">
          <a:xfrm>
            <a:off x="1877091" y="4293096"/>
            <a:ext cx="192000" cy="912000"/>
          </a:xfrm>
          <a:prstGeom prst="roundRect">
            <a:avLst>
              <a:gd name="adj" fmla="val 13081"/>
            </a:avLst>
          </a:prstGeom>
          <a:solidFill>
            <a:srgbClr val="96CA12"/>
          </a:solidFill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marL="359991" indent="-359991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SzPct val="80000"/>
              <a:buFont typeface="Wingdings" pitchFamily="2" charset="2"/>
              <a:buNone/>
              <a:defRPr sz="133" b="0" kern="1200" cap="none" baseline="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815980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SzPct val="100000"/>
              <a:buFont typeface="Wingdings" pitchFamily="2" charset="2"/>
              <a:buChar char="§"/>
              <a:defRPr sz="1800" kern="120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91965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Pct val="100000"/>
              <a:buFont typeface="Wingdings" pitchFamily="2" charset="2"/>
              <a:buChar char="§"/>
              <a:defRPr sz="1800" kern="1200" cap="none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967951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43936" indent="-239994" algn="l" defTabSz="914341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36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7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4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9982" marR="0" lvl="0" indent="-359982" algn="l" defTabSz="914318" rtl="0" eaLnBrk="1" fontAlgn="auto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Tx/>
              <a:buSzPct val="80000"/>
              <a:buFont typeface="Wingdings" pitchFamily="2" charset="2"/>
              <a:buNone/>
              <a:tabLst/>
              <a:defRPr/>
            </a:pPr>
            <a:r>
              <a:rPr kumimoji="0" lang="fr-FR" sz="133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endParaRPr kumimoji="0" lang="fr-FR" sz="133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241577" y="5421687"/>
            <a:ext cx="9755320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 marL="359982" indent="-359982">
              <a:buNone/>
              <a:defRPr kumimoji="0" lang="en-US" sz="1200" b="0" i="0" u="none" strike="noStrike" spc="0" normalizeH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lnSpc>
                <a:spcPct val="80000"/>
              </a:lnSpc>
              <a:buClrTx/>
              <a:tabLst/>
            </a:pPr>
            <a:r>
              <a:rPr lang="en-US" dirty="0"/>
              <a:t>Click to sub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241577" y="5598384"/>
            <a:ext cx="9755320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 marL="359982" indent="-359982">
              <a:buNone/>
              <a:defRPr kumimoji="0" lang="en-US" sz="1200" b="0" i="0" u="none" strike="noStrike" spc="0" normalizeH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lnSpc>
                <a:spcPct val="80000"/>
              </a:lnSpc>
              <a:buClrTx/>
              <a:tabLst/>
            </a:pPr>
            <a:r>
              <a:rPr lang="en-US" dirty="0"/>
              <a:t>Click to add dat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2241579" y="5774945"/>
            <a:ext cx="9755319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 marL="359982" indent="-359982">
              <a:buNone/>
              <a:defRPr kumimoji="0" lang="en-US" sz="1200" b="0" i="0" u="none" strike="noStrike" spc="0" normalizeH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lnSpc>
                <a:spcPct val="80000"/>
              </a:lnSpc>
              <a:buClrTx/>
              <a:tabLst/>
            </a:pPr>
            <a:r>
              <a:rPr lang="en-US" dirty="0"/>
              <a:t>Click to add text</a:t>
            </a:r>
          </a:p>
        </p:txBody>
      </p:sp>
      <p:sp>
        <p:nvSpPr>
          <p:cNvPr id="77" name="Text Placeholder 76"/>
          <p:cNvSpPr>
            <a:spLocks noGrp="1"/>
          </p:cNvSpPr>
          <p:nvPr>
            <p:ph type="body" sz="quarter" idx="14" hasCustomPrompt="1"/>
          </p:nvPr>
        </p:nvSpPr>
        <p:spPr>
          <a:xfrm>
            <a:off x="2241577" y="5949427"/>
            <a:ext cx="9755320" cy="168000"/>
          </a:xfr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359982" indent="-359982">
              <a:buNone/>
              <a:defRPr kumimoji="0" lang="en-US" sz="1200" b="0" i="0" u="none" strike="noStrike" spc="0" normalizeH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lnSpc>
                <a:spcPct val="80000"/>
              </a:lnSpc>
              <a:buClrTx/>
              <a:tabLst/>
            </a:pPr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87983917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is treści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D263993-096B-4674-8A57-D5914F71D4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D263993-096B-4674-8A57-D5914F71D4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91744" y="457200"/>
            <a:ext cx="7902843" cy="1387624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kumimoji="0" lang="en-US" sz="3600" b="0" i="0" u="none" strike="noStrike" spc="0" normalizeH="0" dirty="0">
                <a:ln>
                  <a:noFill/>
                </a:ln>
                <a:solidFill>
                  <a:srgbClr val="7E93A5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lnSpc>
                <a:spcPct val="90000"/>
              </a:lnSpc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genda</a:t>
            </a:r>
          </a:p>
        </p:txBody>
      </p:sp>
      <p:sp>
        <p:nvSpPr>
          <p:cNvPr id="24" name="Content Placeholder 23"/>
          <p:cNvSpPr>
            <a:spLocks noGrp="1"/>
          </p:cNvSpPr>
          <p:nvPr>
            <p:ph sz="quarter" idx="12" hasCustomPrompt="1"/>
          </p:nvPr>
        </p:nvSpPr>
        <p:spPr>
          <a:xfrm>
            <a:off x="3791743" y="2114552"/>
            <a:ext cx="7902840" cy="3911601"/>
          </a:xfrm>
        </p:spPr>
        <p:txBody>
          <a:bodyPr/>
          <a:lstStyle>
            <a:lvl1pPr marL="0" marR="0" indent="0" algn="l" defTabSz="914318" rtl="0" eaLnBrk="1" fontAlgn="auto" latinLnBrk="0" hangingPunct="1">
              <a:spcBef>
                <a:spcPts val="0"/>
              </a:spcBef>
              <a:spcAft>
                <a:spcPts val="1200"/>
              </a:spcAft>
              <a:buClrTx/>
              <a:buFont typeface="Wingdings" pitchFamily="2" charset="2"/>
              <a:buChar char="n"/>
              <a:tabLst/>
              <a:defRPr kumimoji="0" lang="en-US" sz="1600" b="0" i="0" u="none" strike="noStrike" kern="1200" cap="all" spc="0" normalizeH="0" baseline="0" dirty="0" smtClean="0">
                <a:ln>
                  <a:noFill/>
                </a:ln>
                <a:solidFill>
                  <a:srgbClr val="7E93A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5972" marR="0" indent="0" algn="l" defTabSz="914318" rtl="0" eaLnBrk="1" fontAlgn="auto" latinLnBrk="0" hangingPunct="1">
              <a:spcBef>
                <a:spcPts val="0"/>
              </a:spcBef>
              <a:spcAft>
                <a:spcPts val="1200"/>
              </a:spcAft>
              <a:buClrTx/>
              <a:buFont typeface="Wingdings" pitchFamily="2" charset="2"/>
              <a:buChar char="n"/>
              <a:tabLst/>
              <a:defRPr kumimoji="0" lang="en-US" sz="1600" b="0" i="0" u="none" strike="noStrike" kern="1200" cap="all" spc="0" normalizeH="0" baseline="0" dirty="0" smtClean="0">
                <a:ln>
                  <a:noFill/>
                </a:ln>
                <a:solidFill>
                  <a:srgbClr val="7E93A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51942" indent="0">
              <a:buNone/>
              <a:defRPr/>
            </a:lvl3pPr>
            <a:lvl4pPr marL="1727914" indent="0">
              <a:buNone/>
              <a:defRPr/>
            </a:lvl4pPr>
            <a:lvl5pPr marL="2303885" indent="0">
              <a:buNone/>
              <a:defRPr/>
            </a:lvl5pPr>
          </a:lstStyle>
          <a:p>
            <a:pPr marL="484776" marR="0" lvl="0" indent="-484776" fontAlgn="auto">
              <a:lnSpc>
                <a:spcPct val="125000"/>
              </a:lnSpc>
              <a:buClrTx/>
              <a:buSzPct val="100000"/>
              <a:tabLst/>
            </a:pPr>
            <a:r>
              <a:rPr lang="en-US" dirty="0"/>
              <a:t>Text</a:t>
            </a:r>
          </a:p>
          <a:p>
            <a:pPr marL="835158" marR="0" lvl="1" indent="-350382" fontAlgn="auto">
              <a:buClrTx/>
              <a:buSzPct val="80000"/>
              <a:buChar char="n"/>
              <a:tabLst/>
            </a:pPr>
            <a:r>
              <a:rPr lang="en-US" dirty="0"/>
              <a:t>Text</a:t>
            </a:r>
          </a:p>
        </p:txBody>
      </p:sp>
      <p:sp>
        <p:nvSpPr>
          <p:cNvPr id="16" name="Espace réservé du pied de page 4"/>
          <p:cNvSpPr txBox="1">
            <a:spLocks/>
          </p:cNvSpPr>
          <p:nvPr userDrawn="1"/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800" kern="1200" cap="all" baseline="0">
                <a:solidFill>
                  <a:schemeClr val="tx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1200" cap="all" spc="0" normalizeH="0" baseline="0" noProof="0">
              <a:ln>
                <a:noFill/>
              </a:ln>
              <a:solidFill>
                <a:srgbClr val="000000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Espace réservé du numéro de diapositive 5"/>
          <p:cNvSpPr txBox="1">
            <a:spLocks/>
          </p:cNvSpPr>
          <p:nvPr userDrawn="1"/>
        </p:nvSpPr>
        <p:spPr bwMode="gray">
          <a:xfrm>
            <a:off x="2040940" y="6480335"/>
            <a:ext cx="391321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733" b="0" kern="1200" cap="none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571E2A-2AE4-4AE9-A5FF-468BE27EC277}" type="slidenum">
              <a:rPr kumimoji="0" lang="fr-FR" sz="733" b="0" i="0" u="none" strike="noStrike" kern="1200" cap="none" spc="0" normalizeH="0" baseline="0" noProof="0" smtClean="0">
                <a:ln>
                  <a:noFill/>
                </a:ln>
                <a:solidFill>
                  <a:srgbClr val="7E93A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4675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fr-FR" sz="733" b="0" i="0" u="none" strike="noStrike" kern="1200" cap="none" spc="0" normalizeH="0" baseline="0" noProof="0">
              <a:ln>
                <a:noFill/>
              </a:ln>
              <a:solidFill>
                <a:srgbClr val="7E93A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Forme libre 32"/>
          <p:cNvSpPr/>
          <p:nvPr userDrawn="1"/>
        </p:nvSpPr>
        <p:spPr>
          <a:xfrm>
            <a:off x="340220" y="32502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1960 h 4392000"/>
              <a:gd name="connsiteX5" fmla="*/ 8844375 w 8892000"/>
              <a:gd name="connsiteY5" fmla="*/ 21960 h 4392000"/>
              <a:gd name="connsiteX6" fmla="*/ 8600970 w 8892000"/>
              <a:gd name="connsiteY6" fmla="*/ 21960 h 4392000"/>
              <a:gd name="connsiteX7" fmla="*/ 5824949 w 8892000"/>
              <a:gd name="connsiteY7" fmla="*/ 21960 h 4392000"/>
              <a:gd name="connsiteX8" fmla="*/ 5280375 w 8892000"/>
              <a:gd name="connsiteY8" fmla="*/ 21960 h 4392000"/>
              <a:gd name="connsiteX9" fmla="*/ 284701 w 8892000"/>
              <a:gd name="connsiteY9" fmla="*/ 21960 h 4392000"/>
              <a:gd name="connsiteX10" fmla="*/ 41295 w 8892000"/>
              <a:gd name="connsiteY10" fmla="*/ 265365 h 4392000"/>
              <a:gd name="connsiteX11" fmla="*/ 41295 w 8892000"/>
              <a:gd name="connsiteY11" fmla="*/ 4126635 h 4392000"/>
              <a:gd name="connsiteX12" fmla="*/ 284701 w 8892000"/>
              <a:gd name="connsiteY12" fmla="*/ 4370040 h 4392000"/>
              <a:gd name="connsiteX13" fmla="*/ 5280375 w 8892000"/>
              <a:gd name="connsiteY13" fmla="*/ 4370040 h 4392000"/>
              <a:gd name="connsiteX14" fmla="*/ 5824949 w 8892000"/>
              <a:gd name="connsiteY14" fmla="*/ 4370040 h 4392000"/>
              <a:gd name="connsiteX15" fmla="*/ 5824949 w 8892000"/>
              <a:gd name="connsiteY15" fmla="*/ 4370760 h 4392000"/>
              <a:gd name="connsiteX16" fmla="*/ 8892000 w 8892000"/>
              <a:gd name="connsiteY16" fmla="*/ 4370760 h 4392000"/>
              <a:gd name="connsiteX17" fmla="*/ 8892000 w 8892000"/>
              <a:gd name="connsiteY17" fmla="*/ 4392000 h 4392000"/>
              <a:gd name="connsiteX18" fmla="*/ 8646136 w 8892000"/>
              <a:gd name="connsiteY18" fmla="*/ 4392000 h 4392000"/>
              <a:gd name="connsiteX19" fmla="*/ 5292000 w 8892000"/>
              <a:gd name="connsiteY19" fmla="*/ 4392000 h 4392000"/>
              <a:gd name="connsiteX20" fmla="*/ 245864 w 8892000"/>
              <a:gd name="connsiteY20" fmla="*/ 4392000 h 4392000"/>
              <a:gd name="connsiteX21" fmla="*/ 0 w 8892000"/>
              <a:gd name="connsiteY21" fmla="*/ 4146136 h 4392000"/>
              <a:gd name="connsiteX22" fmla="*/ 0 w 8892000"/>
              <a:gd name="connsiteY22" fmla="*/ 245864 h 4392000"/>
              <a:gd name="connsiteX23" fmla="*/ 245864 w 8892000"/>
              <a:gd name="connsiteY23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1960"/>
                </a:lnTo>
                <a:lnTo>
                  <a:pt x="8844375" y="21960"/>
                </a:lnTo>
                <a:lnTo>
                  <a:pt x="8600970" y="21960"/>
                </a:lnTo>
                <a:lnTo>
                  <a:pt x="5824949" y="21960"/>
                </a:lnTo>
                <a:lnTo>
                  <a:pt x="5280375" y="21960"/>
                </a:lnTo>
                <a:lnTo>
                  <a:pt x="284701" y="21960"/>
                </a:lnTo>
                <a:cubicBezTo>
                  <a:pt x="150271" y="21960"/>
                  <a:pt x="41295" y="130936"/>
                  <a:pt x="41295" y="265365"/>
                </a:cubicBezTo>
                <a:lnTo>
                  <a:pt x="41295" y="4126635"/>
                </a:lnTo>
                <a:cubicBezTo>
                  <a:pt x="41295" y="4261064"/>
                  <a:pt x="150271" y="4370040"/>
                  <a:pt x="284701" y="4370040"/>
                </a:cubicBezTo>
                <a:lnTo>
                  <a:pt x="5280375" y="4370040"/>
                </a:lnTo>
                <a:lnTo>
                  <a:pt x="5824949" y="4370040"/>
                </a:lnTo>
                <a:lnTo>
                  <a:pt x="5824949" y="4370760"/>
                </a:lnTo>
                <a:lnTo>
                  <a:pt x="8892000" y="4370760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rgbClr val="7E93A5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675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633933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pis treści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D263993-096B-4674-8A57-D5914F71D4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D263993-096B-4674-8A57-D5914F71D4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rme libre 7"/>
          <p:cNvSpPr/>
          <p:nvPr userDrawn="1"/>
        </p:nvSpPr>
        <p:spPr>
          <a:xfrm>
            <a:off x="340800" y="32640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5864 h 4392000"/>
              <a:gd name="connsiteX5" fmla="*/ 8892000 w 8892000"/>
              <a:gd name="connsiteY5" fmla="*/ 4146136 h 4392000"/>
              <a:gd name="connsiteX6" fmla="*/ 8892000 w 8892000"/>
              <a:gd name="connsiteY6" fmla="*/ 4392000 h 4392000"/>
              <a:gd name="connsiteX7" fmla="*/ 8646136 w 8892000"/>
              <a:gd name="connsiteY7" fmla="*/ 4392000 h 4392000"/>
              <a:gd name="connsiteX8" fmla="*/ 5292000 w 8892000"/>
              <a:gd name="connsiteY8" fmla="*/ 4392000 h 4392000"/>
              <a:gd name="connsiteX9" fmla="*/ 245864 w 8892000"/>
              <a:gd name="connsiteY9" fmla="*/ 4392000 h 4392000"/>
              <a:gd name="connsiteX10" fmla="*/ 0 w 8892000"/>
              <a:gd name="connsiteY10" fmla="*/ 4146136 h 4392000"/>
              <a:gd name="connsiteX11" fmla="*/ 0 w 8892000"/>
              <a:gd name="connsiteY11" fmla="*/ 245864 h 4392000"/>
              <a:gd name="connsiteX12" fmla="*/ 245864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45864"/>
                </a:lnTo>
                <a:lnTo>
                  <a:pt x="8892000" y="4146136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rgbClr val="7E93A5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675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91744" y="457200"/>
            <a:ext cx="7902843" cy="1387624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kumimoji="0" lang="en-US" sz="3600" b="0" i="0" u="none" strike="noStrike" spc="0" normalizeH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lnSpc>
                <a:spcPct val="90000"/>
              </a:lnSpc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genda</a:t>
            </a:r>
          </a:p>
        </p:txBody>
      </p:sp>
      <p:sp>
        <p:nvSpPr>
          <p:cNvPr id="24" name="Content Placeholder 23"/>
          <p:cNvSpPr>
            <a:spLocks noGrp="1"/>
          </p:cNvSpPr>
          <p:nvPr>
            <p:ph sz="quarter" idx="12" hasCustomPrompt="1"/>
          </p:nvPr>
        </p:nvSpPr>
        <p:spPr>
          <a:xfrm>
            <a:off x="3791743" y="2114552"/>
            <a:ext cx="7902840" cy="3911601"/>
          </a:xfrm>
        </p:spPr>
        <p:txBody>
          <a:bodyPr/>
          <a:lstStyle>
            <a:lvl1pPr marL="0" marR="0" indent="0" algn="l" defTabSz="914318" rtl="0" eaLnBrk="1" fontAlgn="auto" latinLnBrk="0" hangingPunct="1">
              <a:spcBef>
                <a:spcPts val="0"/>
              </a:spcBef>
              <a:spcAft>
                <a:spcPts val="1200"/>
              </a:spcAft>
              <a:buClrTx/>
              <a:buFont typeface="Wingdings" pitchFamily="2" charset="2"/>
              <a:buChar char="n"/>
              <a:tabLst/>
              <a:defRPr kumimoji="0" lang="en-US" sz="1600" b="0" i="0" u="none" strike="noStrike" kern="1200" cap="all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5972" marR="0" indent="0" algn="l" defTabSz="914318" rtl="0" eaLnBrk="1" fontAlgn="auto" latinLnBrk="0" hangingPunct="1">
              <a:spcBef>
                <a:spcPts val="0"/>
              </a:spcBef>
              <a:spcAft>
                <a:spcPts val="1200"/>
              </a:spcAft>
              <a:buClrTx/>
              <a:buFont typeface="Wingdings" pitchFamily="2" charset="2"/>
              <a:buChar char="n"/>
              <a:tabLst/>
              <a:defRPr kumimoji="0" lang="en-US" sz="1600" b="0" i="0" u="none" strike="noStrike" kern="1200" cap="all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51942" indent="0">
              <a:buNone/>
              <a:defRPr/>
            </a:lvl3pPr>
            <a:lvl4pPr marL="1727914" indent="0">
              <a:buNone/>
              <a:defRPr/>
            </a:lvl4pPr>
            <a:lvl5pPr marL="2303885" indent="0">
              <a:buNone/>
              <a:defRPr/>
            </a:lvl5pPr>
          </a:lstStyle>
          <a:p>
            <a:pPr marL="484776" marR="0" lvl="0" indent="-484776" fontAlgn="auto">
              <a:lnSpc>
                <a:spcPct val="125000"/>
              </a:lnSpc>
              <a:buClrTx/>
              <a:buSzPct val="100000"/>
              <a:tabLst/>
            </a:pPr>
            <a:r>
              <a:rPr lang="en-US" dirty="0"/>
              <a:t>Text</a:t>
            </a:r>
          </a:p>
          <a:p>
            <a:pPr marL="835158" marR="0" lvl="1" indent="-350382" fontAlgn="auto">
              <a:buClrTx/>
              <a:buSzPct val="80000"/>
              <a:buChar char="n"/>
              <a:tabLst/>
            </a:pPr>
            <a:r>
              <a:rPr lang="en-US" dirty="0"/>
              <a:t>Text</a:t>
            </a:r>
          </a:p>
        </p:txBody>
      </p:sp>
      <p:sp>
        <p:nvSpPr>
          <p:cNvPr id="15" name="Espace réservé de la date 3"/>
          <p:cNvSpPr txBox="1">
            <a:spLocks/>
          </p:cNvSpPr>
          <p:nvPr userDrawn="1"/>
        </p:nvSpPr>
        <p:spPr bwMode="gray">
          <a:xfrm>
            <a:off x="924311" y="6480335"/>
            <a:ext cx="659188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733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33" b="0" i="0" u="none" strike="noStrike" kern="1200" cap="none" spc="0" normalizeH="0" baseline="0" noProof="0">
                <a:ln>
                  <a:noFill/>
                </a:ln>
                <a:solidFill>
                  <a:srgbClr val="7E93A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22.05.2017</a:t>
            </a:r>
            <a:endParaRPr kumimoji="0" lang="fr-FR" sz="733" b="0" i="0" u="none" strike="noStrike" kern="1200" cap="none" spc="0" normalizeH="0" baseline="0" noProof="0">
              <a:ln>
                <a:noFill/>
              </a:ln>
              <a:solidFill>
                <a:srgbClr val="7E93A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Espace réservé du pied de page 4"/>
          <p:cNvSpPr txBox="1">
            <a:spLocks/>
          </p:cNvSpPr>
          <p:nvPr userDrawn="1"/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800" kern="1200" cap="all" baseline="0">
                <a:solidFill>
                  <a:schemeClr val="tx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1200" cap="all" spc="0" normalizeH="0" baseline="0" noProof="0">
              <a:ln>
                <a:noFill/>
              </a:ln>
              <a:solidFill>
                <a:srgbClr val="000000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Espace réservé du numéro de diapositive 5"/>
          <p:cNvSpPr txBox="1">
            <a:spLocks/>
          </p:cNvSpPr>
          <p:nvPr userDrawn="1"/>
        </p:nvSpPr>
        <p:spPr bwMode="gray">
          <a:xfrm>
            <a:off x="2040940" y="6480335"/>
            <a:ext cx="391321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733" b="0" kern="1200" cap="none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571E2A-2AE4-4AE9-A5FF-468BE27EC277}" type="slidenum">
              <a:rPr kumimoji="0" lang="fr-FR" sz="733" b="0" i="0" u="none" strike="noStrike" kern="1200" cap="none" spc="0" normalizeH="0" baseline="0" noProof="0" smtClean="0">
                <a:ln>
                  <a:noFill/>
                </a:ln>
                <a:solidFill>
                  <a:srgbClr val="7E93A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4675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fr-FR" sz="733" b="0" i="0" u="none" strike="noStrike" kern="1200" cap="none" spc="0" normalizeH="0" baseline="0" noProof="0">
              <a:ln>
                <a:noFill/>
              </a:ln>
              <a:solidFill>
                <a:srgbClr val="7E93A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34770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 su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/>
        <p:txBody>
          <a:bodyPr/>
          <a:lstStyle>
            <a:lvl1pPr marL="0" indent="180000">
              <a:lnSpc>
                <a:spcPct val="95000"/>
              </a:lnSpc>
              <a:buSzPct val="100000"/>
              <a:buFont typeface="Wingdings" pitchFamily="2" charset="2"/>
              <a:buChar char="§"/>
              <a:defRPr sz="1400" b="0">
                <a:solidFill>
                  <a:schemeClr val="accent3"/>
                </a:solidFill>
              </a:defRPr>
            </a:lvl1pPr>
            <a:lvl2pPr marL="187325" indent="179388">
              <a:lnSpc>
                <a:spcPct val="95000"/>
              </a:lnSpc>
              <a:defRPr sz="1400">
                <a:solidFill>
                  <a:schemeClr val="accent3"/>
                </a:solidFill>
              </a:defRPr>
            </a:lvl2pPr>
            <a:lvl3pPr marL="357188" indent="179388">
              <a:lnSpc>
                <a:spcPct val="95000"/>
              </a:lnSpc>
              <a:defRPr sz="1400">
                <a:solidFill>
                  <a:schemeClr val="accent3"/>
                </a:solidFill>
              </a:defRPr>
            </a:lvl3pPr>
            <a:lvl4pPr marL="536575" indent="179388">
              <a:lnSpc>
                <a:spcPct val="95000"/>
              </a:lnSpc>
              <a:buClr>
                <a:schemeClr val="accent3"/>
              </a:buClr>
              <a:buSzPct val="90000"/>
              <a:defRPr sz="1400">
                <a:solidFill>
                  <a:schemeClr val="accent3"/>
                </a:solidFill>
              </a:defRPr>
            </a:lvl4pPr>
            <a:lvl5pPr marL="715963" indent="179388">
              <a:lnSpc>
                <a:spcPct val="95000"/>
              </a:lnSpc>
              <a:buClr>
                <a:schemeClr val="accent3"/>
              </a:buClr>
              <a:buSzPct val="90000"/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BPI - AAP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53314127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pis treści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D263993-096B-4674-8A57-D5914F71D4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D263993-096B-4674-8A57-D5914F71D4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orme libre 9"/>
          <p:cNvSpPr/>
          <p:nvPr userDrawn="1"/>
        </p:nvSpPr>
        <p:spPr>
          <a:xfrm>
            <a:off x="340800" y="32640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5864 h 4392000"/>
              <a:gd name="connsiteX5" fmla="*/ 8892000 w 8892000"/>
              <a:gd name="connsiteY5" fmla="*/ 4146136 h 4392000"/>
              <a:gd name="connsiteX6" fmla="*/ 8892000 w 8892000"/>
              <a:gd name="connsiteY6" fmla="*/ 4392000 h 4392000"/>
              <a:gd name="connsiteX7" fmla="*/ 8646136 w 8892000"/>
              <a:gd name="connsiteY7" fmla="*/ 4392000 h 4392000"/>
              <a:gd name="connsiteX8" fmla="*/ 5292000 w 8892000"/>
              <a:gd name="connsiteY8" fmla="*/ 4392000 h 4392000"/>
              <a:gd name="connsiteX9" fmla="*/ 245864 w 8892000"/>
              <a:gd name="connsiteY9" fmla="*/ 4392000 h 4392000"/>
              <a:gd name="connsiteX10" fmla="*/ 0 w 8892000"/>
              <a:gd name="connsiteY10" fmla="*/ 4146136 h 4392000"/>
              <a:gd name="connsiteX11" fmla="*/ 0 w 8892000"/>
              <a:gd name="connsiteY11" fmla="*/ 245864 h 4392000"/>
              <a:gd name="connsiteX12" fmla="*/ 245864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45864"/>
                </a:lnTo>
                <a:lnTo>
                  <a:pt x="8892000" y="4146136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rgbClr val="00878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675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91744" y="457200"/>
            <a:ext cx="7902843" cy="1387624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kumimoji="0" lang="en-US" sz="3600" b="0" i="0" u="none" strike="noStrike" spc="0" normalizeH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lnSpc>
                <a:spcPct val="90000"/>
              </a:lnSpc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genda</a:t>
            </a:r>
          </a:p>
        </p:txBody>
      </p:sp>
      <p:sp>
        <p:nvSpPr>
          <p:cNvPr id="24" name="Content Placeholder 23"/>
          <p:cNvSpPr>
            <a:spLocks noGrp="1"/>
          </p:cNvSpPr>
          <p:nvPr>
            <p:ph sz="quarter" idx="12" hasCustomPrompt="1"/>
          </p:nvPr>
        </p:nvSpPr>
        <p:spPr>
          <a:xfrm>
            <a:off x="3791743" y="2114552"/>
            <a:ext cx="7902840" cy="3911601"/>
          </a:xfrm>
        </p:spPr>
        <p:txBody>
          <a:bodyPr/>
          <a:lstStyle>
            <a:lvl1pPr marL="0" marR="0" indent="0" algn="l" defTabSz="914318" rtl="0" eaLnBrk="1" fontAlgn="auto" latinLnBrk="0" hangingPunct="1">
              <a:spcBef>
                <a:spcPts val="0"/>
              </a:spcBef>
              <a:spcAft>
                <a:spcPts val="1200"/>
              </a:spcAft>
              <a:buClrTx/>
              <a:buFont typeface="Wingdings" pitchFamily="2" charset="2"/>
              <a:buChar char="n"/>
              <a:tabLst/>
              <a:defRPr kumimoji="0" lang="en-US" sz="1600" b="0" i="0" u="none" strike="noStrike" kern="1200" cap="all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5972" marR="0" indent="0" algn="l" defTabSz="914318" rtl="0" eaLnBrk="1" fontAlgn="auto" latinLnBrk="0" hangingPunct="1">
              <a:spcBef>
                <a:spcPts val="0"/>
              </a:spcBef>
              <a:spcAft>
                <a:spcPts val="1200"/>
              </a:spcAft>
              <a:buClrTx/>
              <a:buFont typeface="Wingdings" pitchFamily="2" charset="2"/>
              <a:buChar char="n"/>
              <a:tabLst/>
              <a:defRPr kumimoji="0" lang="en-US" sz="1600" b="0" i="0" u="none" strike="noStrike" kern="1200" cap="all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51942" indent="0">
              <a:buNone/>
              <a:defRPr/>
            </a:lvl3pPr>
            <a:lvl4pPr marL="1727914" indent="0">
              <a:buNone/>
              <a:defRPr/>
            </a:lvl4pPr>
            <a:lvl5pPr marL="2303885" indent="0">
              <a:buNone/>
              <a:defRPr/>
            </a:lvl5pPr>
          </a:lstStyle>
          <a:p>
            <a:pPr marL="484776" marR="0" lvl="0" indent="-484776" fontAlgn="auto">
              <a:lnSpc>
                <a:spcPct val="125000"/>
              </a:lnSpc>
              <a:buClrTx/>
              <a:buSzPct val="100000"/>
              <a:tabLst/>
            </a:pPr>
            <a:r>
              <a:rPr lang="en-US" dirty="0"/>
              <a:t>Text</a:t>
            </a:r>
          </a:p>
          <a:p>
            <a:pPr marL="835158" marR="0" lvl="1" indent="-350382" fontAlgn="auto">
              <a:buClrTx/>
              <a:buSzPct val="80000"/>
              <a:buChar char="n"/>
              <a:tabLst/>
            </a:pPr>
            <a:r>
              <a:rPr lang="en-US" dirty="0"/>
              <a:t>Text</a:t>
            </a:r>
          </a:p>
        </p:txBody>
      </p:sp>
      <p:sp>
        <p:nvSpPr>
          <p:cNvPr id="15" name="Espace réservé de la date 3"/>
          <p:cNvSpPr txBox="1">
            <a:spLocks/>
          </p:cNvSpPr>
          <p:nvPr userDrawn="1"/>
        </p:nvSpPr>
        <p:spPr bwMode="gray">
          <a:xfrm>
            <a:off x="924311" y="6480335"/>
            <a:ext cx="659188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733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33" b="0" i="0" u="none" strike="noStrike" kern="1200" cap="none" spc="0" normalizeH="0" baseline="0" noProof="0">
                <a:ln>
                  <a:noFill/>
                </a:ln>
                <a:solidFill>
                  <a:srgbClr val="7E93A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22.05.2017</a:t>
            </a:r>
            <a:endParaRPr kumimoji="0" lang="fr-FR" sz="733" b="0" i="0" u="none" strike="noStrike" kern="1200" cap="none" spc="0" normalizeH="0" baseline="0" noProof="0">
              <a:ln>
                <a:noFill/>
              </a:ln>
              <a:solidFill>
                <a:srgbClr val="7E93A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Espace réservé du pied de page 4"/>
          <p:cNvSpPr txBox="1">
            <a:spLocks/>
          </p:cNvSpPr>
          <p:nvPr userDrawn="1"/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800" kern="1200" cap="all" baseline="0">
                <a:solidFill>
                  <a:schemeClr val="tx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1200" cap="all" spc="0" normalizeH="0" baseline="0" noProof="0">
              <a:ln>
                <a:noFill/>
              </a:ln>
              <a:solidFill>
                <a:srgbClr val="000000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Espace réservé du numéro de diapositive 5"/>
          <p:cNvSpPr txBox="1">
            <a:spLocks/>
          </p:cNvSpPr>
          <p:nvPr userDrawn="1"/>
        </p:nvSpPr>
        <p:spPr bwMode="gray">
          <a:xfrm>
            <a:off x="2040940" y="6480335"/>
            <a:ext cx="391321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733" b="0" kern="1200" cap="none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571E2A-2AE4-4AE9-A5FF-468BE27EC277}" type="slidenum">
              <a:rPr kumimoji="0" lang="fr-FR" sz="733" b="0" i="0" u="none" strike="noStrike" kern="1200" cap="none" spc="0" normalizeH="0" baseline="0" noProof="0" smtClean="0">
                <a:ln>
                  <a:noFill/>
                </a:ln>
                <a:solidFill>
                  <a:srgbClr val="7E93A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4675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fr-FR" sz="733" b="0" i="0" u="none" strike="noStrike" kern="1200" cap="none" spc="0" normalizeH="0" baseline="0" noProof="0">
              <a:ln>
                <a:noFill/>
              </a:ln>
              <a:solidFill>
                <a:srgbClr val="7E93A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932681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pis treści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D263993-096B-4674-8A57-D5914F71D4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D263993-096B-4674-8A57-D5914F71D4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orme libre 9"/>
          <p:cNvSpPr/>
          <p:nvPr userDrawn="1"/>
        </p:nvSpPr>
        <p:spPr>
          <a:xfrm>
            <a:off x="340800" y="32640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5864 h 4392000"/>
              <a:gd name="connsiteX5" fmla="*/ 8892000 w 8892000"/>
              <a:gd name="connsiteY5" fmla="*/ 4146136 h 4392000"/>
              <a:gd name="connsiteX6" fmla="*/ 8892000 w 8892000"/>
              <a:gd name="connsiteY6" fmla="*/ 4392000 h 4392000"/>
              <a:gd name="connsiteX7" fmla="*/ 8646136 w 8892000"/>
              <a:gd name="connsiteY7" fmla="*/ 4392000 h 4392000"/>
              <a:gd name="connsiteX8" fmla="*/ 5292000 w 8892000"/>
              <a:gd name="connsiteY8" fmla="*/ 4392000 h 4392000"/>
              <a:gd name="connsiteX9" fmla="*/ 245864 w 8892000"/>
              <a:gd name="connsiteY9" fmla="*/ 4392000 h 4392000"/>
              <a:gd name="connsiteX10" fmla="*/ 0 w 8892000"/>
              <a:gd name="connsiteY10" fmla="*/ 4146136 h 4392000"/>
              <a:gd name="connsiteX11" fmla="*/ 0 w 8892000"/>
              <a:gd name="connsiteY11" fmla="*/ 245864 h 4392000"/>
              <a:gd name="connsiteX12" fmla="*/ 245864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45864"/>
                </a:lnTo>
                <a:lnTo>
                  <a:pt x="8892000" y="4146136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rgbClr val="00878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675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Espace réservé du pied de page 4"/>
          <p:cNvSpPr txBox="1">
            <a:spLocks/>
          </p:cNvSpPr>
          <p:nvPr userDrawn="1"/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800" kern="1200" cap="all" baseline="0">
                <a:solidFill>
                  <a:schemeClr val="tx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1200" cap="all" spc="0" normalizeH="0" baseline="0" noProof="0">
              <a:ln>
                <a:noFill/>
              </a:ln>
              <a:solidFill>
                <a:srgbClr val="000000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Espace réservé du numéro de diapositive 5"/>
          <p:cNvSpPr txBox="1">
            <a:spLocks/>
          </p:cNvSpPr>
          <p:nvPr userDrawn="1"/>
        </p:nvSpPr>
        <p:spPr bwMode="gray">
          <a:xfrm>
            <a:off x="2040940" y="6480335"/>
            <a:ext cx="391321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733" b="0" kern="1200" cap="none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571E2A-2AE4-4AE9-A5FF-468BE27EC277}" type="slidenum">
              <a:rPr kumimoji="0" lang="fr-FR" sz="733" b="0" i="0" u="none" strike="noStrike" kern="1200" cap="none" spc="0" normalizeH="0" baseline="0" noProof="0" smtClean="0">
                <a:ln>
                  <a:noFill/>
                </a:ln>
                <a:solidFill>
                  <a:srgbClr val="7E93A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4675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fr-FR" sz="733" b="0" i="0" u="none" strike="noStrike" kern="1200" cap="none" spc="0" normalizeH="0" baseline="0" noProof="0">
              <a:ln>
                <a:noFill/>
              </a:ln>
              <a:solidFill>
                <a:srgbClr val="7E93A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786912" y="514352"/>
            <a:ext cx="7816499" cy="5511800"/>
          </a:xfrm>
        </p:spPr>
        <p:txBody>
          <a:bodyPr anchor="ctr" anchorCtr="0"/>
          <a:lstStyle>
            <a:lvl1pPr>
              <a:defRPr sz="4000" b="0" cap="all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pl-PL" noProof="0" dirty="0"/>
              <a:t>Slajd przekładkowy WARIANT 1</a:t>
            </a:r>
          </a:p>
        </p:txBody>
      </p:sp>
    </p:spTree>
    <p:extLst>
      <p:ext uri="{BB962C8B-B14F-4D97-AF65-F5344CB8AC3E}">
        <p14:creationId xmlns:p14="http://schemas.microsoft.com/office/powerpoint/2010/main" val="1394741134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pis treści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D263993-096B-4674-8A57-D5914F71D4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D263993-096B-4674-8A57-D5914F71D4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orme libre 6"/>
          <p:cNvSpPr/>
          <p:nvPr userDrawn="1"/>
        </p:nvSpPr>
        <p:spPr>
          <a:xfrm>
            <a:off x="340800" y="32640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5864 h 4392000"/>
              <a:gd name="connsiteX5" fmla="*/ 8892000 w 8892000"/>
              <a:gd name="connsiteY5" fmla="*/ 4146136 h 4392000"/>
              <a:gd name="connsiteX6" fmla="*/ 8892000 w 8892000"/>
              <a:gd name="connsiteY6" fmla="*/ 4392000 h 4392000"/>
              <a:gd name="connsiteX7" fmla="*/ 8646136 w 8892000"/>
              <a:gd name="connsiteY7" fmla="*/ 4392000 h 4392000"/>
              <a:gd name="connsiteX8" fmla="*/ 5292000 w 8892000"/>
              <a:gd name="connsiteY8" fmla="*/ 4392000 h 4392000"/>
              <a:gd name="connsiteX9" fmla="*/ 245864 w 8892000"/>
              <a:gd name="connsiteY9" fmla="*/ 4392000 h 4392000"/>
              <a:gd name="connsiteX10" fmla="*/ 0 w 8892000"/>
              <a:gd name="connsiteY10" fmla="*/ 4146136 h 4392000"/>
              <a:gd name="connsiteX11" fmla="*/ 0 w 8892000"/>
              <a:gd name="connsiteY11" fmla="*/ 245864 h 4392000"/>
              <a:gd name="connsiteX12" fmla="*/ 245864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45864"/>
                </a:lnTo>
                <a:lnTo>
                  <a:pt x="8892000" y="4146136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rgbClr val="48769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675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Espace réservé du pied de page 4"/>
          <p:cNvSpPr txBox="1">
            <a:spLocks/>
          </p:cNvSpPr>
          <p:nvPr userDrawn="1"/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800" kern="1200" cap="all" baseline="0">
                <a:solidFill>
                  <a:schemeClr val="tx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1200" cap="all" spc="0" normalizeH="0" baseline="0" noProof="0">
              <a:ln>
                <a:noFill/>
              </a:ln>
              <a:solidFill>
                <a:srgbClr val="000000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Espace réservé du numéro de diapositive 5"/>
          <p:cNvSpPr txBox="1">
            <a:spLocks/>
          </p:cNvSpPr>
          <p:nvPr userDrawn="1"/>
        </p:nvSpPr>
        <p:spPr bwMode="gray">
          <a:xfrm>
            <a:off x="2040940" y="6480335"/>
            <a:ext cx="391321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733" b="0" kern="1200" cap="none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571E2A-2AE4-4AE9-A5FF-468BE27EC277}" type="slidenum">
              <a:rPr kumimoji="0" lang="fr-FR" sz="733" b="0" i="0" u="none" strike="noStrike" kern="1200" cap="none" spc="0" normalizeH="0" baseline="0" noProof="0" smtClean="0">
                <a:ln>
                  <a:noFill/>
                </a:ln>
                <a:solidFill>
                  <a:srgbClr val="7E93A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4675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fr-FR" sz="733" b="0" i="0" u="none" strike="noStrike" kern="1200" cap="none" spc="0" normalizeH="0" baseline="0" noProof="0">
              <a:ln>
                <a:noFill/>
              </a:ln>
              <a:solidFill>
                <a:srgbClr val="7E93A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786912" y="514352"/>
            <a:ext cx="7816499" cy="5511800"/>
          </a:xfrm>
        </p:spPr>
        <p:txBody>
          <a:bodyPr anchor="ctr" anchorCtr="0"/>
          <a:lstStyle>
            <a:lvl1pPr>
              <a:defRPr sz="4000" b="0" cap="all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pl-PL" noProof="0" dirty="0"/>
              <a:t>Slajd przekładkowy WARIANT </a:t>
            </a:r>
            <a:r>
              <a:rPr lang="en-US" noProof="0" dirty="0"/>
              <a:t>2</a:t>
            </a:r>
            <a:endParaRPr lang="pl-PL" noProof="0" dirty="0"/>
          </a:p>
        </p:txBody>
      </p:sp>
    </p:spTree>
    <p:extLst>
      <p:ext uri="{BB962C8B-B14F-4D97-AF65-F5344CB8AC3E}">
        <p14:creationId xmlns:p14="http://schemas.microsoft.com/office/powerpoint/2010/main" val="3176074023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pis treści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D263993-096B-4674-8A57-D5914F71D4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D263993-096B-4674-8A57-D5914F71D4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orme libre 6"/>
          <p:cNvSpPr/>
          <p:nvPr userDrawn="1"/>
        </p:nvSpPr>
        <p:spPr>
          <a:xfrm>
            <a:off x="340800" y="32640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5864 h 4392000"/>
              <a:gd name="connsiteX5" fmla="*/ 8892000 w 8892000"/>
              <a:gd name="connsiteY5" fmla="*/ 4146136 h 4392000"/>
              <a:gd name="connsiteX6" fmla="*/ 8892000 w 8892000"/>
              <a:gd name="connsiteY6" fmla="*/ 4392000 h 4392000"/>
              <a:gd name="connsiteX7" fmla="*/ 8646136 w 8892000"/>
              <a:gd name="connsiteY7" fmla="*/ 4392000 h 4392000"/>
              <a:gd name="connsiteX8" fmla="*/ 5292000 w 8892000"/>
              <a:gd name="connsiteY8" fmla="*/ 4392000 h 4392000"/>
              <a:gd name="connsiteX9" fmla="*/ 245864 w 8892000"/>
              <a:gd name="connsiteY9" fmla="*/ 4392000 h 4392000"/>
              <a:gd name="connsiteX10" fmla="*/ 0 w 8892000"/>
              <a:gd name="connsiteY10" fmla="*/ 4146136 h 4392000"/>
              <a:gd name="connsiteX11" fmla="*/ 0 w 8892000"/>
              <a:gd name="connsiteY11" fmla="*/ 245864 h 4392000"/>
              <a:gd name="connsiteX12" fmla="*/ 245864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45864"/>
                </a:lnTo>
                <a:lnTo>
                  <a:pt x="8892000" y="4146136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rgbClr val="A49C9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675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Espace réservé du pied de page 4"/>
          <p:cNvSpPr txBox="1">
            <a:spLocks/>
          </p:cNvSpPr>
          <p:nvPr userDrawn="1"/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800" kern="1200" cap="all" baseline="0">
                <a:solidFill>
                  <a:schemeClr val="tx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1200" cap="all" spc="0" normalizeH="0" baseline="0" noProof="0">
              <a:ln>
                <a:noFill/>
              </a:ln>
              <a:solidFill>
                <a:srgbClr val="000000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Espace réservé du numéro de diapositive 5"/>
          <p:cNvSpPr txBox="1">
            <a:spLocks/>
          </p:cNvSpPr>
          <p:nvPr userDrawn="1"/>
        </p:nvSpPr>
        <p:spPr bwMode="gray">
          <a:xfrm>
            <a:off x="2040940" y="6480335"/>
            <a:ext cx="391321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733" b="0" kern="1200" cap="none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571E2A-2AE4-4AE9-A5FF-468BE27EC277}" type="slidenum">
              <a:rPr kumimoji="0" lang="fr-FR" sz="733" b="0" i="0" u="none" strike="noStrike" kern="1200" cap="none" spc="0" normalizeH="0" baseline="0" noProof="0" smtClean="0">
                <a:ln>
                  <a:noFill/>
                </a:ln>
                <a:solidFill>
                  <a:srgbClr val="7E93A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4675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fr-FR" sz="733" b="0" i="0" u="none" strike="noStrike" kern="1200" cap="none" spc="0" normalizeH="0" baseline="0" noProof="0">
              <a:ln>
                <a:noFill/>
              </a:ln>
              <a:solidFill>
                <a:srgbClr val="7E93A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786912" y="514352"/>
            <a:ext cx="7816499" cy="5511800"/>
          </a:xfrm>
        </p:spPr>
        <p:txBody>
          <a:bodyPr anchor="ctr" anchorCtr="0"/>
          <a:lstStyle>
            <a:lvl1pPr>
              <a:defRPr sz="4000" b="0" cap="all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pl-PL" noProof="0" dirty="0"/>
              <a:t>Slajd przekładkowy WARIANT </a:t>
            </a:r>
            <a:r>
              <a:rPr lang="en-US" noProof="0" dirty="0"/>
              <a:t>3</a:t>
            </a:r>
            <a:endParaRPr lang="pl-PL" noProof="0" dirty="0"/>
          </a:p>
        </p:txBody>
      </p:sp>
    </p:spTree>
    <p:extLst>
      <p:ext uri="{BB962C8B-B14F-4D97-AF65-F5344CB8AC3E}">
        <p14:creationId xmlns:p14="http://schemas.microsoft.com/office/powerpoint/2010/main" val="117874053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tuł z treścią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E469AE0-6A11-4B2F-B7B3-7AD9F72B3C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E469AE0-6A11-4B2F-B7B3-7AD9F72B3C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660401" y="457200"/>
            <a:ext cx="11034187" cy="1387624"/>
          </a:xfrm>
        </p:spPr>
        <p:txBody>
          <a:bodyPr vert="horz" lIns="0" tIns="0" rIns="0" bIns="0" rtlCol="0" anchor="t" anchorCtr="0">
            <a:noAutofit/>
          </a:bodyPr>
          <a:lstStyle>
            <a:lvl1pPr marL="359982" indent="-359982">
              <a:buNone/>
              <a:defRPr kumimoji="0" lang="en-US" sz="3600" i="0" u="none" strike="noStrike" spc="0" normalizeH="0" dirty="0">
                <a:ln>
                  <a:noFill/>
                </a:ln>
                <a:solidFill>
                  <a:srgbClr val="008789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lnSpc>
                <a:spcPct val="90000"/>
              </a:lnSpc>
              <a:spcAft>
                <a:spcPts val="0"/>
              </a:spcAft>
              <a:buClrTx/>
              <a:buSzTx/>
              <a:tabLst/>
            </a:pPr>
            <a:r>
              <a:rPr lang="en-US" dirty="0"/>
              <a:t>Click to add titl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660401" y="2000250"/>
            <a:ext cx="11034187" cy="4025903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kumimoji="0" lang="pl-PL" i="0" u="none" strike="noStrike" spc="0" normalizeH="0" noProof="0" dirty="0" smtClean="0">
                <a:ln>
                  <a:noFill/>
                </a:ln>
                <a:solidFill>
                  <a:srgbClr val="00878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 kumimoji="0" lang="pl-PL" b="0" i="0" u="none" strike="noStrik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 kumimoji="0" lang="pl-PL" b="0" i="0" u="none" strike="noStrike" spc="0" normalizeH="0" baseline="0" noProof="0" dirty="0" smtClean="0">
                <a:ln>
                  <a:noFill/>
                </a:ln>
                <a:solidFill>
                  <a:srgbClr val="7E93A5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 kumimoji="0" lang="pl-PL" i="0" u="none" strike="noStrik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 kumimoji="0" lang="en-US" b="0" i="0" u="none" strike="noStrik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marR="0" lvl="0" fontAlgn="auto">
              <a:buClr>
                <a:srgbClr val="008789"/>
              </a:buClr>
              <a:tabLst/>
            </a:pPr>
            <a:r>
              <a:rPr kumimoji="0" lang="pl-PL" sz="1800" b="1" i="0" u="none" strike="noStrike" kern="1200" cap="none" spc="0" normalizeH="0" baseline="0" noProof="0" dirty="0">
                <a:ln>
                  <a:noFill/>
                </a:ln>
                <a:solidFill>
                  <a:srgbClr val="008789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Kliknij, aby edytować style wzorca tekstu</a:t>
            </a:r>
          </a:p>
          <a:p>
            <a:pPr marR="0" lvl="1" fontAlgn="auto">
              <a:buClrTx/>
              <a:tabLst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rugi poziom</a:t>
            </a:r>
          </a:p>
          <a:p>
            <a:pPr marR="0" lvl="2" fontAlgn="auto">
              <a:buClr>
                <a:srgbClr val="7E93A5"/>
              </a:buClr>
              <a:tabLst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srgbClr val="7E93A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rzeci poziom</a:t>
            </a:r>
          </a:p>
          <a:p>
            <a:pPr marR="0" lvl="3" fontAlgn="auto">
              <a:buClr>
                <a:srgbClr val="008789"/>
              </a:buClr>
              <a:buSzPct val="90000"/>
              <a:tabLst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zwarty poziom</a:t>
            </a:r>
          </a:p>
          <a:p>
            <a:pPr marR="0" lvl="4" fontAlgn="auto">
              <a:lnSpc>
                <a:spcPct val="82000"/>
              </a:lnSpc>
              <a:buClr>
                <a:srgbClr val="008789"/>
              </a:buClr>
              <a:buSzPct val="90000"/>
              <a:tabLst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iąty poziom</a:t>
            </a:r>
          </a:p>
          <a:p>
            <a:pPr marR="0" lvl="4" fontAlgn="auto">
              <a:lnSpc>
                <a:spcPct val="82000"/>
              </a:lnSpc>
              <a:buClr>
                <a:srgbClr val="008789"/>
              </a:buClr>
              <a:buSzPct val="90000"/>
              <a:tabLst/>
            </a:pPr>
            <a:endParaRPr lang="en-US" dirty="0"/>
          </a:p>
        </p:txBody>
      </p:sp>
      <p:sp>
        <p:nvSpPr>
          <p:cNvPr id="20" name="Espace réservé du pied de page 4"/>
          <p:cNvSpPr txBox="1">
            <a:spLocks/>
          </p:cNvSpPr>
          <p:nvPr userDrawn="1"/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800" kern="1200" cap="all" baseline="0">
                <a:solidFill>
                  <a:schemeClr val="tx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1200" cap="all" spc="0" normalizeH="0" baseline="0" noProof="0">
              <a:ln>
                <a:noFill/>
              </a:ln>
              <a:solidFill>
                <a:srgbClr val="000000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Espace réservé du numéro de diapositive 5"/>
          <p:cNvSpPr txBox="1">
            <a:spLocks/>
          </p:cNvSpPr>
          <p:nvPr userDrawn="1"/>
        </p:nvSpPr>
        <p:spPr bwMode="gray">
          <a:xfrm>
            <a:off x="2040940" y="6480335"/>
            <a:ext cx="391321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733" b="0" kern="1200" cap="none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571E2A-2AE4-4AE9-A5FF-468BE27EC277}" type="slidenum">
              <a:rPr kumimoji="0" lang="fr-FR" sz="733" b="0" i="0" u="none" strike="noStrike" kern="1200" cap="none" spc="0" normalizeH="0" baseline="0" noProof="0" smtClean="0">
                <a:ln>
                  <a:noFill/>
                </a:ln>
                <a:solidFill>
                  <a:srgbClr val="7E93A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4675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fr-FR" sz="733" b="0" i="0" u="none" strike="noStrike" kern="1200" cap="none" spc="0" normalizeH="0" baseline="0" noProof="0">
              <a:ln>
                <a:noFill/>
              </a:ln>
              <a:solidFill>
                <a:srgbClr val="7E93A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Forme libre 32"/>
          <p:cNvSpPr/>
          <p:nvPr userDrawn="1"/>
        </p:nvSpPr>
        <p:spPr>
          <a:xfrm>
            <a:off x="340220" y="32502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1960 h 4392000"/>
              <a:gd name="connsiteX5" fmla="*/ 8844375 w 8892000"/>
              <a:gd name="connsiteY5" fmla="*/ 21960 h 4392000"/>
              <a:gd name="connsiteX6" fmla="*/ 8600970 w 8892000"/>
              <a:gd name="connsiteY6" fmla="*/ 21960 h 4392000"/>
              <a:gd name="connsiteX7" fmla="*/ 5824949 w 8892000"/>
              <a:gd name="connsiteY7" fmla="*/ 21960 h 4392000"/>
              <a:gd name="connsiteX8" fmla="*/ 5280375 w 8892000"/>
              <a:gd name="connsiteY8" fmla="*/ 21960 h 4392000"/>
              <a:gd name="connsiteX9" fmla="*/ 284701 w 8892000"/>
              <a:gd name="connsiteY9" fmla="*/ 21960 h 4392000"/>
              <a:gd name="connsiteX10" fmla="*/ 41295 w 8892000"/>
              <a:gd name="connsiteY10" fmla="*/ 265365 h 4392000"/>
              <a:gd name="connsiteX11" fmla="*/ 41295 w 8892000"/>
              <a:gd name="connsiteY11" fmla="*/ 4126635 h 4392000"/>
              <a:gd name="connsiteX12" fmla="*/ 284701 w 8892000"/>
              <a:gd name="connsiteY12" fmla="*/ 4370040 h 4392000"/>
              <a:gd name="connsiteX13" fmla="*/ 5280375 w 8892000"/>
              <a:gd name="connsiteY13" fmla="*/ 4370040 h 4392000"/>
              <a:gd name="connsiteX14" fmla="*/ 5824949 w 8892000"/>
              <a:gd name="connsiteY14" fmla="*/ 4370040 h 4392000"/>
              <a:gd name="connsiteX15" fmla="*/ 5824949 w 8892000"/>
              <a:gd name="connsiteY15" fmla="*/ 4370760 h 4392000"/>
              <a:gd name="connsiteX16" fmla="*/ 8892000 w 8892000"/>
              <a:gd name="connsiteY16" fmla="*/ 4370760 h 4392000"/>
              <a:gd name="connsiteX17" fmla="*/ 8892000 w 8892000"/>
              <a:gd name="connsiteY17" fmla="*/ 4392000 h 4392000"/>
              <a:gd name="connsiteX18" fmla="*/ 8646136 w 8892000"/>
              <a:gd name="connsiteY18" fmla="*/ 4392000 h 4392000"/>
              <a:gd name="connsiteX19" fmla="*/ 5292000 w 8892000"/>
              <a:gd name="connsiteY19" fmla="*/ 4392000 h 4392000"/>
              <a:gd name="connsiteX20" fmla="*/ 245864 w 8892000"/>
              <a:gd name="connsiteY20" fmla="*/ 4392000 h 4392000"/>
              <a:gd name="connsiteX21" fmla="*/ 0 w 8892000"/>
              <a:gd name="connsiteY21" fmla="*/ 4146136 h 4392000"/>
              <a:gd name="connsiteX22" fmla="*/ 0 w 8892000"/>
              <a:gd name="connsiteY22" fmla="*/ 245864 h 4392000"/>
              <a:gd name="connsiteX23" fmla="*/ 245864 w 8892000"/>
              <a:gd name="connsiteY23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1960"/>
                </a:lnTo>
                <a:lnTo>
                  <a:pt x="8844375" y="21960"/>
                </a:lnTo>
                <a:lnTo>
                  <a:pt x="8600970" y="21960"/>
                </a:lnTo>
                <a:lnTo>
                  <a:pt x="5824949" y="21960"/>
                </a:lnTo>
                <a:lnTo>
                  <a:pt x="5280375" y="21960"/>
                </a:lnTo>
                <a:lnTo>
                  <a:pt x="284701" y="21960"/>
                </a:lnTo>
                <a:cubicBezTo>
                  <a:pt x="150271" y="21960"/>
                  <a:pt x="41295" y="130936"/>
                  <a:pt x="41295" y="265365"/>
                </a:cubicBezTo>
                <a:lnTo>
                  <a:pt x="41295" y="4126635"/>
                </a:lnTo>
                <a:cubicBezTo>
                  <a:pt x="41295" y="4261064"/>
                  <a:pt x="150271" y="4370040"/>
                  <a:pt x="284701" y="4370040"/>
                </a:cubicBezTo>
                <a:lnTo>
                  <a:pt x="5280375" y="4370040"/>
                </a:lnTo>
                <a:lnTo>
                  <a:pt x="5824949" y="4370040"/>
                </a:lnTo>
                <a:lnTo>
                  <a:pt x="5824949" y="4370760"/>
                </a:lnTo>
                <a:lnTo>
                  <a:pt x="8892000" y="4370760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rgbClr val="7E93A5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675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3182774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E469AE0-6A11-4B2F-B7B3-7AD9F72B3C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E469AE0-6A11-4B2F-B7B3-7AD9F72B3C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60401" y="457201"/>
            <a:ext cx="11034187" cy="919537"/>
          </a:xfrm>
        </p:spPr>
        <p:txBody>
          <a:bodyPr vert="horz" lIns="0" tIns="0" rIns="0" bIns="0" rtlCol="0" anchor="t" anchorCtr="0">
            <a:noAutofit/>
          </a:bodyPr>
          <a:lstStyle>
            <a:lvl1pPr marL="359982" indent="-359982">
              <a:buNone/>
              <a:defRPr kumimoji="0" lang="en-US" sz="3600" i="0" u="none" strike="noStrike" spc="0" normalizeH="0" dirty="0">
                <a:ln>
                  <a:noFill/>
                </a:ln>
                <a:solidFill>
                  <a:srgbClr val="008789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lnSpc>
                <a:spcPct val="90000"/>
              </a:lnSpc>
              <a:spcAft>
                <a:spcPts val="0"/>
              </a:spcAft>
              <a:buClrTx/>
              <a:buSzTx/>
              <a:tabLst/>
            </a:pPr>
            <a:r>
              <a:rPr lang="en-US" dirty="0"/>
              <a:t>Click to add title</a:t>
            </a:r>
          </a:p>
        </p:txBody>
      </p:sp>
      <p:sp>
        <p:nvSpPr>
          <p:cNvPr id="17" name="Espace réservé du pied de page 4"/>
          <p:cNvSpPr txBox="1">
            <a:spLocks/>
          </p:cNvSpPr>
          <p:nvPr userDrawn="1"/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800" kern="1200" cap="all" baseline="0">
                <a:solidFill>
                  <a:schemeClr val="tx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1200" cap="all" spc="0" normalizeH="0" baseline="0" noProof="0">
              <a:ln>
                <a:noFill/>
              </a:ln>
              <a:solidFill>
                <a:srgbClr val="000000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Espace réservé du numéro de diapositive 5"/>
          <p:cNvSpPr txBox="1">
            <a:spLocks/>
          </p:cNvSpPr>
          <p:nvPr userDrawn="1"/>
        </p:nvSpPr>
        <p:spPr bwMode="gray">
          <a:xfrm>
            <a:off x="2040940" y="6480335"/>
            <a:ext cx="391321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733" b="0" kern="1200" cap="none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571E2A-2AE4-4AE9-A5FF-468BE27EC277}" type="slidenum">
              <a:rPr kumimoji="0" lang="fr-FR" sz="733" b="0" i="0" u="none" strike="noStrike" kern="1200" cap="none" spc="0" normalizeH="0" baseline="0" noProof="0" smtClean="0">
                <a:ln>
                  <a:noFill/>
                </a:ln>
                <a:solidFill>
                  <a:srgbClr val="7E93A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4675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fr-FR" sz="733" b="0" i="0" u="none" strike="noStrike" kern="1200" cap="none" spc="0" normalizeH="0" baseline="0" noProof="0">
              <a:ln>
                <a:noFill/>
              </a:ln>
              <a:solidFill>
                <a:srgbClr val="7E93A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Forme libre 32"/>
          <p:cNvSpPr/>
          <p:nvPr userDrawn="1"/>
        </p:nvSpPr>
        <p:spPr>
          <a:xfrm>
            <a:off x="340220" y="32502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1960 h 4392000"/>
              <a:gd name="connsiteX5" fmla="*/ 8844375 w 8892000"/>
              <a:gd name="connsiteY5" fmla="*/ 21960 h 4392000"/>
              <a:gd name="connsiteX6" fmla="*/ 8600970 w 8892000"/>
              <a:gd name="connsiteY6" fmla="*/ 21960 h 4392000"/>
              <a:gd name="connsiteX7" fmla="*/ 5824949 w 8892000"/>
              <a:gd name="connsiteY7" fmla="*/ 21960 h 4392000"/>
              <a:gd name="connsiteX8" fmla="*/ 5280375 w 8892000"/>
              <a:gd name="connsiteY8" fmla="*/ 21960 h 4392000"/>
              <a:gd name="connsiteX9" fmla="*/ 284701 w 8892000"/>
              <a:gd name="connsiteY9" fmla="*/ 21960 h 4392000"/>
              <a:gd name="connsiteX10" fmla="*/ 41295 w 8892000"/>
              <a:gd name="connsiteY10" fmla="*/ 265365 h 4392000"/>
              <a:gd name="connsiteX11" fmla="*/ 41295 w 8892000"/>
              <a:gd name="connsiteY11" fmla="*/ 4126635 h 4392000"/>
              <a:gd name="connsiteX12" fmla="*/ 284701 w 8892000"/>
              <a:gd name="connsiteY12" fmla="*/ 4370040 h 4392000"/>
              <a:gd name="connsiteX13" fmla="*/ 5280375 w 8892000"/>
              <a:gd name="connsiteY13" fmla="*/ 4370040 h 4392000"/>
              <a:gd name="connsiteX14" fmla="*/ 5824949 w 8892000"/>
              <a:gd name="connsiteY14" fmla="*/ 4370040 h 4392000"/>
              <a:gd name="connsiteX15" fmla="*/ 5824949 w 8892000"/>
              <a:gd name="connsiteY15" fmla="*/ 4370760 h 4392000"/>
              <a:gd name="connsiteX16" fmla="*/ 8892000 w 8892000"/>
              <a:gd name="connsiteY16" fmla="*/ 4370760 h 4392000"/>
              <a:gd name="connsiteX17" fmla="*/ 8892000 w 8892000"/>
              <a:gd name="connsiteY17" fmla="*/ 4392000 h 4392000"/>
              <a:gd name="connsiteX18" fmla="*/ 8646136 w 8892000"/>
              <a:gd name="connsiteY18" fmla="*/ 4392000 h 4392000"/>
              <a:gd name="connsiteX19" fmla="*/ 5292000 w 8892000"/>
              <a:gd name="connsiteY19" fmla="*/ 4392000 h 4392000"/>
              <a:gd name="connsiteX20" fmla="*/ 245864 w 8892000"/>
              <a:gd name="connsiteY20" fmla="*/ 4392000 h 4392000"/>
              <a:gd name="connsiteX21" fmla="*/ 0 w 8892000"/>
              <a:gd name="connsiteY21" fmla="*/ 4146136 h 4392000"/>
              <a:gd name="connsiteX22" fmla="*/ 0 w 8892000"/>
              <a:gd name="connsiteY22" fmla="*/ 245864 h 4392000"/>
              <a:gd name="connsiteX23" fmla="*/ 245864 w 8892000"/>
              <a:gd name="connsiteY23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1960"/>
                </a:lnTo>
                <a:lnTo>
                  <a:pt x="8844375" y="21960"/>
                </a:lnTo>
                <a:lnTo>
                  <a:pt x="8600970" y="21960"/>
                </a:lnTo>
                <a:lnTo>
                  <a:pt x="5824949" y="21960"/>
                </a:lnTo>
                <a:lnTo>
                  <a:pt x="5280375" y="21960"/>
                </a:lnTo>
                <a:lnTo>
                  <a:pt x="284701" y="21960"/>
                </a:lnTo>
                <a:cubicBezTo>
                  <a:pt x="150271" y="21960"/>
                  <a:pt x="41295" y="130936"/>
                  <a:pt x="41295" y="265365"/>
                </a:cubicBezTo>
                <a:lnTo>
                  <a:pt x="41295" y="4126635"/>
                </a:lnTo>
                <a:cubicBezTo>
                  <a:pt x="41295" y="4261064"/>
                  <a:pt x="150271" y="4370040"/>
                  <a:pt x="284701" y="4370040"/>
                </a:cubicBezTo>
                <a:lnTo>
                  <a:pt x="5280375" y="4370040"/>
                </a:lnTo>
                <a:lnTo>
                  <a:pt x="5824949" y="4370040"/>
                </a:lnTo>
                <a:lnTo>
                  <a:pt x="5824949" y="4370760"/>
                </a:lnTo>
                <a:lnTo>
                  <a:pt x="8892000" y="4370760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rgbClr val="7E93A5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675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8105842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tuł Mały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E469AE0-6A11-4B2F-B7B3-7AD9F72B3C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E469AE0-6A11-4B2F-B7B3-7AD9F72B3C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8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12800" y="609601"/>
            <a:ext cx="11034187" cy="1167319"/>
          </a:xfrm>
        </p:spPr>
        <p:txBody>
          <a:bodyPr/>
          <a:lstStyle>
            <a:lvl1pPr>
              <a:defRPr kumimoji="0" lang="en-US" sz="2800" b="1" i="0" u="none" strike="noStrike" kern="1200" cap="none" spc="0" normalizeH="0" baseline="0" dirty="0">
                <a:ln>
                  <a:noFill/>
                </a:ln>
                <a:solidFill>
                  <a:srgbClr val="008789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algn="l" defTabSz="9143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</a:pPr>
            <a:r>
              <a:rPr lang="en-US" dirty="0"/>
              <a:t>Click to add title</a:t>
            </a:r>
          </a:p>
        </p:txBody>
      </p:sp>
      <p:sp>
        <p:nvSpPr>
          <p:cNvPr id="24" name="Forme libre 32"/>
          <p:cNvSpPr/>
          <p:nvPr userDrawn="1"/>
        </p:nvSpPr>
        <p:spPr>
          <a:xfrm>
            <a:off x="340220" y="32502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1960 h 4392000"/>
              <a:gd name="connsiteX5" fmla="*/ 8844375 w 8892000"/>
              <a:gd name="connsiteY5" fmla="*/ 21960 h 4392000"/>
              <a:gd name="connsiteX6" fmla="*/ 8600970 w 8892000"/>
              <a:gd name="connsiteY6" fmla="*/ 21960 h 4392000"/>
              <a:gd name="connsiteX7" fmla="*/ 5824949 w 8892000"/>
              <a:gd name="connsiteY7" fmla="*/ 21960 h 4392000"/>
              <a:gd name="connsiteX8" fmla="*/ 5280375 w 8892000"/>
              <a:gd name="connsiteY8" fmla="*/ 21960 h 4392000"/>
              <a:gd name="connsiteX9" fmla="*/ 284701 w 8892000"/>
              <a:gd name="connsiteY9" fmla="*/ 21960 h 4392000"/>
              <a:gd name="connsiteX10" fmla="*/ 41295 w 8892000"/>
              <a:gd name="connsiteY10" fmla="*/ 265365 h 4392000"/>
              <a:gd name="connsiteX11" fmla="*/ 41295 w 8892000"/>
              <a:gd name="connsiteY11" fmla="*/ 4126635 h 4392000"/>
              <a:gd name="connsiteX12" fmla="*/ 284701 w 8892000"/>
              <a:gd name="connsiteY12" fmla="*/ 4370040 h 4392000"/>
              <a:gd name="connsiteX13" fmla="*/ 5280375 w 8892000"/>
              <a:gd name="connsiteY13" fmla="*/ 4370040 h 4392000"/>
              <a:gd name="connsiteX14" fmla="*/ 5824949 w 8892000"/>
              <a:gd name="connsiteY14" fmla="*/ 4370040 h 4392000"/>
              <a:gd name="connsiteX15" fmla="*/ 5824949 w 8892000"/>
              <a:gd name="connsiteY15" fmla="*/ 4370760 h 4392000"/>
              <a:gd name="connsiteX16" fmla="*/ 8892000 w 8892000"/>
              <a:gd name="connsiteY16" fmla="*/ 4370760 h 4392000"/>
              <a:gd name="connsiteX17" fmla="*/ 8892000 w 8892000"/>
              <a:gd name="connsiteY17" fmla="*/ 4392000 h 4392000"/>
              <a:gd name="connsiteX18" fmla="*/ 8646136 w 8892000"/>
              <a:gd name="connsiteY18" fmla="*/ 4392000 h 4392000"/>
              <a:gd name="connsiteX19" fmla="*/ 5292000 w 8892000"/>
              <a:gd name="connsiteY19" fmla="*/ 4392000 h 4392000"/>
              <a:gd name="connsiteX20" fmla="*/ 245864 w 8892000"/>
              <a:gd name="connsiteY20" fmla="*/ 4392000 h 4392000"/>
              <a:gd name="connsiteX21" fmla="*/ 0 w 8892000"/>
              <a:gd name="connsiteY21" fmla="*/ 4146136 h 4392000"/>
              <a:gd name="connsiteX22" fmla="*/ 0 w 8892000"/>
              <a:gd name="connsiteY22" fmla="*/ 245864 h 4392000"/>
              <a:gd name="connsiteX23" fmla="*/ 245864 w 8892000"/>
              <a:gd name="connsiteY23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1960"/>
                </a:lnTo>
                <a:lnTo>
                  <a:pt x="8844375" y="21960"/>
                </a:lnTo>
                <a:lnTo>
                  <a:pt x="8600970" y="21960"/>
                </a:lnTo>
                <a:lnTo>
                  <a:pt x="5824949" y="21960"/>
                </a:lnTo>
                <a:lnTo>
                  <a:pt x="5280375" y="21960"/>
                </a:lnTo>
                <a:lnTo>
                  <a:pt x="284701" y="21960"/>
                </a:lnTo>
                <a:cubicBezTo>
                  <a:pt x="150271" y="21960"/>
                  <a:pt x="41295" y="130936"/>
                  <a:pt x="41295" y="265365"/>
                </a:cubicBezTo>
                <a:lnTo>
                  <a:pt x="41295" y="4126635"/>
                </a:lnTo>
                <a:cubicBezTo>
                  <a:pt x="41295" y="4261064"/>
                  <a:pt x="150271" y="4370040"/>
                  <a:pt x="284701" y="4370040"/>
                </a:cubicBezTo>
                <a:lnTo>
                  <a:pt x="5280375" y="4370040"/>
                </a:lnTo>
                <a:lnTo>
                  <a:pt x="5824949" y="4370040"/>
                </a:lnTo>
                <a:lnTo>
                  <a:pt x="5824949" y="4370760"/>
                </a:lnTo>
                <a:lnTo>
                  <a:pt x="8892000" y="4370760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rgbClr val="7E93A5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675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237457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tuł z treścią i wykre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7D38FD-4936-4E22-B300-FC79462619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7D38FD-4936-4E22-B300-FC79462619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60401" y="457201"/>
            <a:ext cx="11034187" cy="956039"/>
          </a:xfrm>
        </p:spPr>
        <p:txBody>
          <a:bodyPr/>
          <a:lstStyle>
            <a:lvl1pPr marL="359982" indent="-359982">
              <a:buNone/>
              <a:defRPr kumimoji="0" lang="en-US" sz="3600" b="1" i="0" u="none" strike="noStrike" kern="1200" cap="none" spc="0" normalizeH="0" baseline="0" dirty="0">
                <a:ln>
                  <a:noFill/>
                </a:ln>
                <a:solidFill>
                  <a:srgbClr val="008789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algn="l" defTabSz="9143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Click to add title</a:t>
            </a:r>
          </a:p>
        </p:txBody>
      </p:sp>
      <p:sp>
        <p:nvSpPr>
          <p:cNvPr id="45" name="Chart Placeholder 44"/>
          <p:cNvSpPr>
            <a:spLocks noGrp="1"/>
          </p:cNvSpPr>
          <p:nvPr>
            <p:ph type="chart" sz="quarter" idx="13" hasCustomPrompt="1"/>
          </p:nvPr>
        </p:nvSpPr>
        <p:spPr>
          <a:xfrm>
            <a:off x="660401" y="2164080"/>
            <a:ext cx="5171867" cy="3862069"/>
          </a:xfrm>
          <a:solidFill>
            <a:srgbClr val="FFFFFF">
              <a:lumMod val="85000"/>
            </a:srgbClr>
          </a:solidFill>
        </p:spPr>
        <p:txBody>
          <a:bodyPr vert="horz" lIns="0" tIns="1260000" rIns="0" bIns="0" rtlCol="0" anchor="t" anchorCtr="0">
            <a:noAutofit/>
          </a:bodyPr>
          <a:lstStyle>
            <a:lvl1pPr>
              <a:defRPr kumimoji="0" lang="pl-PL" sz="1200" i="0" u="none" strike="noStrik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R="0" lvl="0" algn="ctr" fontAlgn="auto">
              <a:buClrTx/>
              <a:buNone/>
              <a:tabLst/>
            </a:pPr>
            <a:r>
              <a:rPr kumimoji="0" lang="pl-PL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ykr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660401" y="1518659"/>
            <a:ext cx="11034187" cy="529216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kumimoji="0" lang="en-US" i="0" u="none" strike="noStrike" spc="0" normalizeH="0" dirty="0">
                <a:ln>
                  <a:noFill/>
                </a:ln>
                <a:solidFill>
                  <a:srgbClr val="00878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spcAft>
                <a:spcPts val="600"/>
              </a:spcAft>
              <a:buClrTx/>
              <a:buNone/>
              <a:tabLst/>
            </a:pPr>
            <a:r>
              <a:rPr lang="en-US" dirty="0"/>
              <a:t>Subtitl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2" hasCustomPrompt="1"/>
          </p:nvPr>
        </p:nvSpPr>
        <p:spPr>
          <a:xfrm>
            <a:off x="6522721" y="2164080"/>
            <a:ext cx="5171867" cy="386206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kumimoji="0" lang="pl-PL" sz="1400" i="0" u="none" strike="noStrike" spc="0" normalizeH="0" noProof="0" dirty="0" smtClean="0">
                <a:ln>
                  <a:noFill/>
                </a:ln>
                <a:solidFill>
                  <a:srgbClr val="00878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 kumimoji="0" lang="pl-PL" sz="1400" b="0" i="0" u="none" strike="noStrike" spc="0" normalizeH="0" baseline="0" noProof="0" dirty="0" smtClean="0">
                <a:ln>
                  <a:noFill/>
                </a:ln>
                <a:solidFill>
                  <a:srgbClr val="7E93A5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</a:lstStyle>
          <a:p>
            <a:pPr marL="244789" marR="0" lvl="0" indent="-244789" fontAlgn="auto">
              <a:lnSpc>
                <a:spcPct val="95000"/>
              </a:lnSpc>
              <a:buClr>
                <a:srgbClr val="008789"/>
              </a:buClr>
              <a:buSzPct val="90000"/>
              <a:buChar char="§"/>
              <a:tabLst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srgbClr val="008789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odyfikuj style wzorca tekstu</a:t>
            </a:r>
          </a:p>
          <a:p>
            <a:pPr marL="244789" marR="0" lvl="1" indent="-244789" fontAlgn="auto">
              <a:lnSpc>
                <a:spcPct val="95000"/>
              </a:lnSpc>
              <a:buClr>
                <a:srgbClr val="7E93A5"/>
              </a:buClr>
              <a:buSzPct val="90000"/>
              <a:tabLst/>
            </a:pPr>
            <a:r>
              <a:rPr kumimoji="0" lang="pl-PL" sz="1400" b="0" i="0" u="none" strike="noStrike" kern="1200" cap="none" spc="0" normalizeH="0" baseline="0" noProof="0" dirty="0">
                <a:ln>
                  <a:noFill/>
                </a:ln>
                <a:solidFill>
                  <a:srgbClr val="7E93A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rugi poziom</a:t>
            </a:r>
          </a:p>
        </p:txBody>
      </p:sp>
      <p:sp>
        <p:nvSpPr>
          <p:cNvPr id="40" name="Espace réservé du pied de page 4"/>
          <p:cNvSpPr txBox="1">
            <a:spLocks/>
          </p:cNvSpPr>
          <p:nvPr userDrawn="1"/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800" kern="1200" cap="all" baseline="0">
                <a:solidFill>
                  <a:schemeClr val="tx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1200" cap="all" spc="0" normalizeH="0" baseline="0" noProof="0">
              <a:ln>
                <a:noFill/>
              </a:ln>
              <a:solidFill>
                <a:srgbClr val="000000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1" name="Espace réservé du numéro de diapositive 5"/>
          <p:cNvSpPr txBox="1">
            <a:spLocks/>
          </p:cNvSpPr>
          <p:nvPr userDrawn="1"/>
        </p:nvSpPr>
        <p:spPr bwMode="gray">
          <a:xfrm>
            <a:off x="2040940" y="6480335"/>
            <a:ext cx="391321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733" b="0" kern="1200" cap="none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571E2A-2AE4-4AE9-A5FF-468BE27EC277}" type="slidenum">
              <a:rPr kumimoji="0" lang="fr-FR" sz="733" b="0" i="0" u="none" strike="noStrike" kern="1200" cap="none" spc="0" normalizeH="0" baseline="0" noProof="0" smtClean="0">
                <a:ln>
                  <a:noFill/>
                </a:ln>
                <a:solidFill>
                  <a:srgbClr val="7E93A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4675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fr-FR" sz="733" b="0" i="0" u="none" strike="noStrike" kern="1200" cap="none" spc="0" normalizeH="0" baseline="0" noProof="0">
              <a:ln>
                <a:noFill/>
              </a:ln>
              <a:solidFill>
                <a:srgbClr val="7E93A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2" name="Forme libre 32"/>
          <p:cNvSpPr/>
          <p:nvPr userDrawn="1"/>
        </p:nvSpPr>
        <p:spPr>
          <a:xfrm>
            <a:off x="340220" y="32502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1960 h 4392000"/>
              <a:gd name="connsiteX5" fmla="*/ 8844375 w 8892000"/>
              <a:gd name="connsiteY5" fmla="*/ 21960 h 4392000"/>
              <a:gd name="connsiteX6" fmla="*/ 8600970 w 8892000"/>
              <a:gd name="connsiteY6" fmla="*/ 21960 h 4392000"/>
              <a:gd name="connsiteX7" fmla="*/ 5824949 w 8892000"/>
              <a:gd name="connsiteY7" fmla="*/ 21960 h 4392000"/>
              <a:gd name="connsiteX8" fmla="*/ 5280375 w 8892000"/>
              <a:gd name="connsiteY8" fmla="*/ 21960 h 4392000"/>
              <a:gd name="connsiteX9" fmla="*/ 284701 w 8892000"/>
              <a:gd name="connsiteY9" fmla="*/ 21960 h 4392000"/>
              <a:gd name="connsiteX10" fmla="*/ 41295 w 8892000"/>
              <a:gd name="connsiteY10" fmla="*/ 265365 h 4392000"/>
              <a:gd name="connsiteX11" fmla="*/ 41295 w 8892000"/>
              <a:gd name="connsiteY11" fmla="*/ 4126635 h 4392000"/>
              <a:gd name="connsiteX12" fmla="*/ 284701 w 8892000"/>
              <a:gd name="connsiteY12" fmla="*/ 4370040 h 4392000"/>
              <a:gd name="connsiteX13" fmla="*/ 5280375 w 8892000"/>
              <a:gd name="connsiteY13" fmla="*/ 4370040 h 4392000"/>
              <a:gd name="connsiteX14" fmla="*/ 5824949 w 8892000"/>
              <a:gd name="connsiteY14" fmla="*/ 4370040 h 4392000"/>
              <a:gd name="connsiteX15" fmla="*/ 5824949 w 8892000"/>
              <a:gd name="connsiteY15" fmla="*/ 4370760 h 4392000"/>
              <a:gd name="connsiteX16" fmla="*/ 8892000 w 8892000"/>
              <a:gd name="connsiteY16" fmla="*/ 4370760 h 4392000"/>
              <a:gd name="connsiteX17" fmla="*/ 8892000 w 8892000"/>
              <a:gd name="connsiteY17" fmla="*/ 4392000 h 4392000"/>
              <a:gd name="connsiteX18" fmla="*/ 8646136 w 8892000"/>
              <a:gd name="connsiteY18" fmla="*/ 4392000 h 4392000"/>
              <a:gd name="connsiteX19" fmla="*/ 5292000 w 8892000"/>
              <a:gd name="connsiteY19" fmla="*/ 4392000 h 4392000"/>
              <a:gd name="connsiteX20" fmla="*/ 245864 w 8892000"/>
              <a:gd name="connsiteY20" fmla="*/ 4392000 h 4392000"/>
              <a:gd name="connsiteX21" fmla="*/ 0 w 8892000"/>
              <a:gd name="connsiteY21" fmla="*/ 4146136 h 4392000"/>
              <a:gd name="connsiteX22" fmla="*/ 0 w 8892000"/>
              <a:gd name="connsiteY22" fmla="*/ 245864 h 4392000"/>
              <a:gd name="connsiteX23" fmla="*/ 245864 w 8892000"/>
              <a:gd name="connsiteY23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1960"/>
                </a:lnTo>
                <a:lnTo>
                  <a:pt x="8844375" y="21960"/>
                </a:lnTo>
                <a:lnTo>
                  <a:pt x="8600970" y="21960"/>
                </a:lnTo>
                <a:lnTo>
                  <a:pt x="5824949" y="21960"/>
                </a:lnTo>
                <a:lnTo>
                  <a:pt x="5280375" y="21960"/>
                </a:lnTo>
                <a:lnTo>
                  <a:pt x="284701" y="21960"/>
                </a:lnTo>
                <a:cubicBezTo>
                  <a:pt x="150271" y="21960"/>
                  <a:pt x="41295" y="130936"/>
                  <a:pt x="41295" y="265365"/>
                </a:cubicBezTo>
                <a:lnTo>
                  <a:pt x="41295" y="4126635"/>
                </a:lnTo>
                <a:cubicBezTo>
                  <a:pt x="41295" y="4261064"/>
                  <a:pt x="150271" y="4370040"/>
                  <a:pt x="284701" y="4370040"/>
                </a:cubicBezTo>
                <a:lnTo>
                  <a:pt x="5280375" y="4370040"/>
                </a:lnTo>
                <a:lnTo>
                  <a:pt x="5824949" y="4370040"/>
                </a:lnTo>
                <a:lnTo>
                  <a:pt x="5824949" y="4370760"/>
                </a:lnTo>
                <a:lnTo>
                  <a:pt x="8892000" y="4370760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rgbClr val="7E93A5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675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3539738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tuł z treścią i obraz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1A8122D-78D9-485A-9AA3-C0900508A9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1A8122D-78D9-485A-9AA3-C0900508A9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Picture Placeholder 26"/>
          <p:cNvSpPr>
            <a:spLocks noGrp="1"/>
          </p:cNvSpPr>
          <p:nvPr>
            <p:ph type="pic" sz="quarter" idx="12" hasCustomPrompt="1"/>
          </p:nvPr>
        </p:nvSpPr>
        <p:spPr>
          <a:xfrm>
            <a:off x="6096000" y="347134"/>
            <a:ext cx="6096000" cy="5812367"/>
          </a:xfrm>
          <a:solidFill>
            <a:srgbClr val="FFFFFF">
              <a:lumMod val="85000"/>
            </a:srgbClr>
          </a:solidFill>
        </p:spPr>
        <p:txBody>
          <a:bodyPr vert="horz" wrap="square" lIns="0" tIns="0" rIns="0" bIns="1260000" rtlCol="0" anchor="ctr" anchorCtr="0">
            <a:noAutofit/>
          </a:bodyPr>
          <a:lstStyle>
            <a:lvl1pPr>
              <a:defRPr kumimoji="0" lang="pl-PL" sz="1200" i="0" u="none" strike="noStrik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algn="ctr" fontAlgn="auto">
              <a:lnSpc>
                <a:spcPct val="100000"/>
              </a:lnSpc>
              <a:spcAft>
                <a:spcPts val="0"/>
              </a:spcAft>
              <a:buClrTx/>
              <a:buSzTx/>
              <a:buFont typeface="Arial" pitchFamily="34" charset="0"/>
              <a:buNone/>
              <a:tabLst/>
            </a:pPr>
            <a:r>
              <a:rPr kumimoji="0" lang="pl-PL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braz</a:t>
            </a:r>
          </a:p>
        </p:txBody>
      </p:sp>
      <p:sp>
        <p:nvSpPr>
          <p:cNvPr id="25" name="Content Placeholder 24"/>
          <p:cNvSpPr>
            <a:spLocks noGrp="1"/>
          </p:cNvSpPr>
          <p:nvPr>
            <p:ph sz="quarter" idx="11" hasCustomPrompt="1"/>
          </p:nvPr>
        </p:nvSpPr>
        <p:spPr>
          <a:xfrm>
            <a:off x="660400" y="1518660"/>
            <a:ext cx="5283200" cy="4507493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kumimoji="0" lang="pl-PL" b="0" i="0" u="none" strike="noStrike" spc="0" normalizeH="0" noProof="0" dirty="0" smtClean="0">
                <a:ln>
                  <a:noFill/>
                </a:ln>
                <a:solidFill>
                  <a:srgbClr val="7E93A5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buClrTx/>
              <a:buFont typeface="Arial" pitchFamily="34" charset="0"/>
              <a:buNone/>
              <a:tabLst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srgbClr val="7E93A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odyfikuj style wzorca tekstu</a:t>
            </a:r>
          </a:p>
        </p:txBody>
      </p:sp>
      <p:sp>
        <p:nvSpPr>
          <p:cNvPr id="21" name="Espace réservé du pied de page 4"/>
          <p:cNvSpPr txBox="1">
            <a:spLocks/>
          </p:cNvSpPr>
          <p:nvPr userDrawn="1"/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800" kern="1200" cap="all" baseline="0">
                <a:solidFill>
                  <a:schemeClr val="tx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1200" cap="all" spc="0" normalizeH="0" baseline="0" noProof="0">
              <a:ln>
                <a:noFill/>
              </a:ln>
              <a:solidFill>
                <a:srgbClr val="000000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Espace réservé du numéro de diapositive 5"/>
          <p:cNvSpPr txBox="1">
            <a:spLocks/>
          </p:cNvSpPr>
          <p:nvPr userDrawn="1"/>
        </p:nvSpPr>
        <p:spPr bwMode="gray">
          <a:xfrm>
            <a:off x="2040940" y="6480335"/>
            <a:ext cx="391321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733" b="0" kern="1200" cap="none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571E2A-2AE4-4AE9-A5FF-468BE27EC277}" type="slidenum">
              <a:rPr kumimoji="0" lang="fr-FR" sz="733" b="0" i="0" u="none" strike="noStrike" kern="1200" cap="none" spc="0" normalizeH="0" baseline="0" noProof="0" smtClean="0">
                <a:ln>
                  <a:noFill/>
                </a:ln>
                <a:solidFill>
                  <a:srgbClr val="7E93A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4675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fr-FR" sz="733" b="0" i="0" u="none" strike="noStrike" kern="1200" cap="none" spc="0" normalizeH="0" baseline="0" noProof="0">
              <a:ln>
                <a:noFill/>
              </a:ln>
              <a:solidFill>
                <a:srgbClr val="7E93A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60400" y="457201"/>
            <a:ext cx="5283200" cy="956039"/>
          </a:xfrm>
        </p:spPr>
        <p:txBody>
          <a:bodyPr vert="horz" lIns="0" tIns="0" rIns="0" bIns="0" rtlCol="0" anchor="t" anchorCtr="0">
            <a:noAutofit/>
          </a:bodyPr>
          <a:lstStyle>
            <a:lvl1pPr marL="359982" indent="-359982">
              <a:buNone/>
              <a:defRPr kumimoji="0" lang="en-US" sz="2800" i="0" u="none" strike="noStrike" spc="0" normalizeH="0" dirty="0">
                <a:ln>
                  <a:noFill/>
                </a:ln>
                <a:solidFill>
                  <a:srgbClr val="008789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lnSpc>
                <a:spcPct val="90000"/>
              </a:lnSpc>
              <a:spcAft>
                <a:spcPts val="0"/>
              </a:spcAft>
              <a:buClrTx/>
              <a:buSzTx/>
              <a:tabLst/>
            </a:pPr>
            <a:r>
              <a:rPr lang="en-US" dirty="0"/>
              <a:t>Click to add title</a:t>
            </a:r>
          </a:p>
        </p:txBody>
      </p:sp>
      <p:sp>
        <p:nvSpPr>
          <p:cNvPr id="24" name="Forme libre 32"/>
          <p:cNvSpPr/>
          <p:nvPr userDrawn="1"/>
        </p:nvSpPr>
        <p:spPr>
          <a:xfrm>
            <a:off x="340220" y="32502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1960 h 4392000"/>
              <a:gd name="connsiteX5" fmla="*/ 8844375 w 8892000"/>
              <a:gd name="connsiteY5" fmla="*/ 21960 h 4392000"/>
              <a:gd name="connsiteX6" fmla="*/ 8600970 w 8892000"/>
              <a:gd name="connsiteY6" fmla="*/ 21960 h 4392000"/>
              <a:gd name="connsiteX7" fmla="*/ 5824949 w 8892000"/>
              <a:gd name="connsiteY7" fmla="*/ 21960 h 4392000"/>
              <a:gd name="connsiteX8" fmla="*/ 5280375 w 8892000"/>
              <a:gd name="connsiteY8" fmla="*/ 21960 h 4392000"/>
              <a:gd name="connsiteX9" fmla="*/ 284701 w 8892000"/>
              <a:gd name="connsiteY9" fmla="*/ 21960 h 4392000"/>
              <a:gd name="connsiteX10" fmla="*/ 41295 w 8892000"/>
              <a:gd name="connsiteY10" fmla="*/ 265365 h 4392000"/>
              <a:gd name="connsiteX11" fmla="*/ 41295 w 8892000"/>
              <a:gd name="connsiteY11" fmla="*/ 4126635 h 4392000"/>
              <a:gd name="connsiteX12" fmla="*/ 284701 w 8892000"/>
              <a:gd name="connsiteY12" fmla="*/ 4370040 h 4392000"/>
              <a:gd name="connsiteX13" fmla="*/ 5280375 w 8892000"/>
              <a:gd name="connsiteY13" fmla="*/ 4370040 h 4392000"/>
              <a:gd name="connsiteX14" fmla="*/ 5824949 w 8892000"/>
              <a:gd name="connsiteY14" fmla="*/ 4370040 h 4392000"/>
              <a:gd name="connsiteX15" fmla="*/ 5824949 w 8892000"/>
              <a:gd name="connsiteY15" fmla="*/ 4370760 h 4392000"/>
              <a:gd name="connsiteX16" fmla="*/ 8892000 w 8892000"/>
              <a:gd name="connsiteY16" fmla="*/ 4370760 h 4392000"/>
              <a:gd name="connsiteX17" fmla="*/ 8892000 w 8892000"/>
              <a:gd name="connsiteY17" fmla="*/ 4392000 h 4392000"/>
              <a:gd name="connsiteX18" fmla="*/ 8646136 w 8892000"/>
              <a:gd name="connsiteY18" fmla="*/ 4392000 h 4392000"/>
              <a:gd name="connsiteX19" fmla="*/ 5292000 w 8892000"/>
              <a:gd name="connsiteY19" fmla="*/ 4392000 h 4392000"/>
              <a:gd name="connsiteX20" fmla="*/ 245864 w 8892000"/>
              <a:gd name="connsiteY20" fmla="*/ 4392000 h 4392000"/>
              <a:gd name="connsiteX21" fmla="*/ 0 w 8892000"/>
              <a:gd name="connsiteY21" fmla="*/ 4146136 h 4392000"/>
              <a:gd name="connsiteX22" fmla="*/ 0 w 8892000"/>
              <a:gd name="connsiteY22" fmla="*/ 245864 h 4392000"/>
              <a:gd name="connsiteX23" fmla="*/ 245864 w 8892000"/>
              <a:gd name="connsiteY23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1960"/>
                </a:lnTo>
                <a:lnTo>
                  <a:pt x="8844375" y="21960"/>
                </a:lnTo>
                <a:lnTo>
                  <a:pt x="8600970" y="21960"/>
                </a:lnTo>
                <a:lnTo>
                  <a:pt x="5824949" y="21960"/>
                </a:lnTo>
                <a:lnTo>
                  <a:pt x="5280375" y="21960"/>
                </a:lnTo>
                <a:lnTo>
                  <a:pt x="284701" y="21960"/>
                </a:lnTo>
                <a:cubicBezTo>
                  <a:pt x="150271" y="21960"/>
                  <a:pt x="41295" y="130936"/>
                  <a:pt x="41295" y="265365"/>
                </a:cubicBezTo>
                <a:lnTo>
                  <a:pt x="41295" y="4126635"/>
                </a:lnTo>
                <a:cubicBezTo>
                  <a:pt x="41295" y="4261064"/>
                  <a:pt x="150271" y="4370040"/>
                  <a:pt x="284701" y="4370040"/>
                </a:cubicBezTo>
                <a:lnTo>
                  <a:pt x="5280375" y="4370040"/>
                </a:lnTo>
                <a:lnTo>
                  <a:pt x="5824949" y="4370040"/>
                </a:lnTo>
                <a:lnTo>
                  <a:pt x="5824949" y="4370760"/>
                </a:lnTo>
                <a:lnTo>
                  <a:pt x="8892000" y="4370760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rgbClr val="7E93A5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675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7568994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Strona zamykająca 2">
    <p:bg bwMode="gray">
      <p:bgPr>
        <a:solidFill>
          <a:srgbClr val="7E93A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Obraz 5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15128" y="5255492"/>
            <a:ext cx="7952509" cy="1089891"/>
          </a:xfrm>
          <a:prstGeom prst="rect">
            <a:avLst/>
          </a:prstGeom>
        </p:spPr>
      </p:pic>
      <p:sp>
        <p:nvSpPr>
          <p:cNvPr id="8" name="Espace réservé du pied de page 4"/>
          <p:cNvSpPr txBox="1">
            <a:spLocks/>
          </p:cNvSpPr>
          <p:nvPr userDrawn="1"/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800" kern="1200" cap="all" baseline="0">
                <a:solidFill>
                  <a:schemeClr val="tx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1200" cap="all" spc="0" normalizeH="0" baseline="0" noProof="0">
              <a:ln>
                <a:noFill/>
              </a:ln>
              <a:solidFill>
                <a:srgbClr val="000000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135531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960000" y="381001"/>
            <a:ext cx="10734585" cy="1062000"/>
          </a:xfrm>
        </p:spPr>
        <p:txBody>
          <a:bodyPr/>
          <a:lstStyle>
            <a:lvl1pPr>
              <a:defRPr sz="3600" b="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BPI - AAP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9" name="Espace réservé du graphique 8"/>
          <p:cNvSpPr>
            <a:spLocks noGrp="1"/>
          </p:cNvSpPr>
          <p:nvPr>
            <p:ph type="chart" sz="quarter" idx="13" hasCustomPrompt="1"/>
          </p:nvPr>
        </p:nvSpPr>
        <p:spPr bwMode="gray">
          <a:xfrm>
            <a:off x="1462618" y="2038350"/>
            <a:ext cx="5183716" cy="3780000"/>
          </a:xfrm>
          <a:solidFill>
            <a:schemeClr val="bg1">
              <a:lumMod val="85000"/>
            </a:schemeClr>
          </a:solidFill>
        </p:spPr>
        <p:txBody>
          <a:bodyPr tIns="1260000"/>
          <a:lstStyle>
            <a:lvl1pPr algn="ctr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Graphique</a:t>
            </a:r>
          </a:p>
        </p:txBody>
      </p:sp>
      <p:sp>
        <p:nvSpPr>
          <p:cNvPr id="13" name="Espace réservé du texte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959998" y="1500187"/>
            <a:ext cx="10734585" cy="540000"/>
          </a:xfrm>
        </p:spPr>
        <p:txBody>
          <a:bodyPr/>
          <a:lstStyle>
            <a:lvl1pPr marL="0" indent="0">
              <a:buNone/>
              <a:defRPr sz="1900" b="0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14" name="Espace réservé du contenu 2"/>
          <p:cNvSpPr>
            <a:spLocks noGrp="1"/>
          </p:cNvSpPr>
          <p:nvPr>
            <p:ph idx="16"/>
          </p:nvPr>
        </p:nvSpPr>
        <p:spPr bwMode="gray">
          <a:xfrm>
            <a:off x="7586960" y="2092345"/>
            <a:ext cx="4107624" cy="3933805"/>
          </a:xfrm>
        </p:spPr>
        <p:txBody>
          <a:bodyPr/>
          <a:lstStyle>
            <a:lvl1pPr marL="0" indent="182563">
              <a:lnSpc>
                <a:spcPct val="95000"/>
              </a:lnSpc>
              <a:buSzPct val="90000"/>
              <a:buFont typeface="Wingdings" pitchFamily="2" charset="2"/>
              <a:buChar char="§"/>
              <a:defRPr sz="1400" b="1"/>
            </a:lvl1pPr>
            <a:lvl2pPr marL="0" indent="182563">
              <a:lnSpc>
                <a:spcPct val="95000"/>
              </a:lnSpc>
              <a:buSzPct val="90000"/>
              <a:buFont typeface="Wingdings" pitchFamily="2" charset="2"/>
              <a:buChar char="§"/>
              <a:defRPr sz="1400">
                <a:solidFill>
                  <a:schemeClr val="accent3"/>
                </a:solidFill>
              </a:defRPr>
            </a:lvl2pPr>
            <a:lvl3pPr marL="0" indent="182563">
              <a:buSzPct val="90000"/>
              <a:buFont typeface="Wingdings" pitchFamily="2" charset="2"/>
              <a:buChar char="§"/>
              <a:defRPr sz="1400"/>
            </a:lvl3pPr>
            <a:lvl4pPr marL="0" indent="182563">
              <a:buSzPct val="90000"/>
              <a:buFont typeface="Wingdings" pitchFamily="2" charset="2"/>
              <a:buChar char="§"/>
              <a:defRPr sz="1400"/>
            </a:lvl4pPr>
            <a:lvl5pPr marL="0" indent="182563">
              <a:buSzPct val="90000"/>
              <a:buFont typeface="Wingdings" pitchFamily="2" charset="2"/>
              <a:buChar char="§"/>
              <a:defRPr sz="140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45723133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E469AE0-6A11-4B2F-B7B3-7AD9F72B3C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E469AE0-6A11-4B2F-B7B3-7AD9F72B3C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Espace réservé du pied de page 4"/>
          <p:cNvSpPr txBox="1">
            <a:spLocks/>
          </p:cNvSpPr>
          <p:nvPr userDrawn="1"/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800" kern="1200" cap="all" baseline="0">
                <a:solidFill>
                  <a:schemeClr val="tx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1200" cap="all" spc="0" normalizeH="0" baseline="0" noProof="0">
              <a:ln>
                <a:noFill/>
              </a:ln>
              <a:solidFill>
                <a:srgbClr val="000000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Espace réservé du numéro de diapositive 5"/>
          <p:cNvSpPr txBox="1">
            <a:spLocks/>
          </p:cNvSpPr>
          <p:nvPr userDrawn="1"/>
        </p:nvSpPr>
        <p:spPr bwMode="gray">
          <a:xfrm>
            <a:off x="2040940" y="6480335"/>
            <a:ext cx="391321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733" b="0" kern="1200" cap="none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571E2A-2AE4-4AE9-A5FF-468BE27EC277}" type="slidenum">
              <a:rPr kumimoji="0" lang="fr-FR" sz="733" b="0" i="0" u="none" strike="noStrike" kern="1200" cap="none" spc="0" normalizeH="0" baseline="0" noProof="0" smtClean="0">
                <a:ln>
                  <a:noFill/>
                </a:ln>
                <a:solidFill>
                  <a:srgbClr val="7E93A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4675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fr-FR" sz="733" b="0" i="0" u="none" strike="noStrike" kern="1200" cap="none" spc="0" normalizeH="0" baseline="0" noProof="0">
              <a:ln>
                <a:noFill/>
              </a:ln>
              <a:solidFill>
                <a:srgbClr val="7E93A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9854222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rona zamykając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Obraz 2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3" r="63"/>
          <a:stretch/>
        </p:blipFill>
        <p:spPr>
          <a:xfrm>
            <a:off x="2124365" y="5273965"/>
            <a:ext cx="7961745" cy="1071419"/>
          </a:xfrm>
          <a:prstGeom prst="rect">
            <a:avLst/>
          </a:prstGeom>
        </p:spPr>
      </p:pic>
      <p:sp>
        <p:nvSpPr>
          <p:cNvPr id="7" name="Espace réservé du pied de page 4"/>
          <p:cNvSpPr txBox="1">
            <a:spLocks/>
          </p:cNvSpPr>
          <p:nvPr userDrawn="1"/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800" kern="1200" cap="all" baseline="0">
                <a:solidFill>
                  <a:schemeClr val="tx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1200" cap="all" spc="0" normalizeH="0" baseline="0" noProof="0">
              <a:ln>
                <a:noFill/>
              </a:ln>
              <a:solidFill>
                <a:srgbClr val="000000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1796472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ona tytułowa z motyw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Espace réservé pour une image  15"/>
          <p:cNvSpPr>
            <a:spLocks noGrp="1"/>
          </p:cNvSpPr>
          <p:nvPr>
            <p:ph type="pic" sz="quarter" idx="19" hasCustomPrompt="1"/>
          </p:nvPr>
        </p:nvSpPr>
        <p:spPr>
          <a:xfrm>
            <a:off x="340800" y="326400"/>
            <a:ext cx="11856000" cy="5856000"/>
          </a:xfrm>
          <a:custGeom>
            <a:avLst/>
            <a:gdLst>
              <a:gd name="connsiteX0" fmla="*/ 244898 w 8892000"/>
              <a:gd name="connsiteY0" fmla="*/ 0 h 4392000"/>
              <a:gd name="connsiteX1" fmla="*/ 3420000 w 8892000"/>
              <a:gd name="connsiteY1" fmla="*/ 0 h 4392000"/>
              <a:gd name="connsiteX2" fmla="*/ 8647102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4898 h 4392000"/>
              <a:gd name="connsiteX5" fmla="*/ 8892000 w 8892000"/>
              <a:gd name="connsiteY5" fmla="*/ 4147102 h 4392000"/>
              <a:gd name="connsiteX6" fmla="*/ 8892000 w 8892000"/>
              <a:gd name="connsiteY6" fmla="*/ 4392000 h 4392000"/>
              <a:gd name="connsiteX7" fmla="*/ 8647102 w 8892000"/>
              <a:gd name="connsiteY7" fmla="*/ 4392000 h 4392000"/>
              <a:gd name="connsiteX8" fmla="*/ 3420000 w 8892000"/>
              <a:gd name="connsiteY8" fmla="*/ 4392000 h 4392000"/>
              <a:gd name="connsiteX9" fmla="*/ 244898 w 8892000"/>
              <a:gd name="connsiteY9" fmla="*/ 4392000 h 4392000"/>
              <a:gd name="connsiteX10" fmla="*/ 0 w 8892000"/>
              <a:gd name="connsiteY10" fmla="*/ 4147102 h 4392000"/>
              <a:gd name="connsiteX11" fmla="*/ 0 w 8892000"/>
              <a:gd name="connsiteY11" fmla="*/ 244898 h 4392000"/>
              <a:gd name="connsiteX12" fmla="*/ 244898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4898" y="0"/>
                </a:moveTo>
                <a:lnTo>
                  <a:pt x="3420000" y="0"/>
                </a:lnTo>
                <a:lnTo>
                  <a:pt x="8647102" y="0"/>
                </a:lnTo>
                <a:lnTo>
                  <a:pt x="8892000" y="0"/>
                </a:lnTo>
                <a:lnTo>
                  <a:pt x="8892000" y="244898"/>
                </a:lnTo>
                <a:lnTo>
                  <a:pt x="8892000" y="4147102"/>
                </a:lnTo>
                <a:lnTo>
                  <a:pt x="8892000" y="4392000"/>
                </a:lnTo>
                <a:lnTo>
                  <a:pt x="8647102" y="4392000"/>
                </a:lnTo>
                <a:lnTo>
                  <a:pt x="3420000" y="4392000"/>
                </a:lnTo>
                <a:lnTo>
                  <a:pt x="244898" y="4392000"/>
                </a:lnTo>
                <a:cubicBezTo>
                  <a:pt x="109645" y="4392000"/>
                  <a:pt x="0" y="4282355"/>
                  <a:pt x="0" y="4147102"/>
                </a:cubicBezTo>
                <a:lnTo>
                  <a:pt x="0" y="244898"/>
                </a:lnTo>
                <a:cubicBezTo>
                  <a:pt x="0" y="109645"/>
                  <a:pt x="109645" y="0"/>
                  <a:pt x="244898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tIns="1260000" anchor="t">
            <a:noAutofit/>
          </a:bodyPr>
          <a:lstStyle>
            <a:lvl1pPr marL="0" indent="0" algn="ctr">
              <a:buFontTx/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r>
              <a:rPr lang="pl-PL" noProof="0" dirty="0"/>
              <a:t>Kliknij ikonę, aby dodać zdjęcie tła</a:t>
            </a:r>
            <a:br>
              <a:rPr lang="pl-PL" noProof="0" dirty="0"/>
            </a:br>
            <a:r>
              <a:rPr lang="pl-PL" noProof="0" dirty="0"/>
              <a:t>(Wybierz obraz prawym przyciskiem myszy / Ustaw jako tło)</a:t>
            </a:r>
          </a:p>
        </p:txBody>
      </p:sp>
      <p:sp>
        <p:nvSpPr>
          <p:cNvPr id="19" name="Espace réservé du texte 13"/>
          <p:cNvSpPr>
            <a:spLocks noGrp="1" noChangeAspect="1"/>
          </p:cNvSpPr>
          <p:nvPr>
            <p:ph type="body" sz="quarter" idx="17" hasCustomPrompt="1"/>
          </p:nvPr>
        </p:nvSpPr>
        <p:spPr bwMode="gray">
          <a:xfrm>
            <a:off x="5616000" y="1"/>
            <a:ext cx="960000" cy="823385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33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pic>
        <p:nvPicPr>
          <p:cNvPr id="25" name="Obraz 24" descr="CA_logo symetryczne 1L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8234" y="6281744"/>
            <a:ext cx="1519221" cy="480053"/>
          </a:xfrm>
          <a:prstGeom prst="rect">
            <a:avLst/>
          </a:prstGeom>
        </p:spPr>
      </p:pic>
      <p:sp>
        <p:nvSpPr>
          <p:cNvPr id="37" name="Rectangle 9"/>
          <p:cNvSpPr/>
          <p:nvPr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38" name="Espace réservé de la date 5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5078F16F-E90E-4BB4-8353-C3787B569152}" type="datetime1">
              <a:rPr lang="pl-PL" smtClean="0"/>
              <a:t>09.03.2026</a:t>
            </a:fld>
            <a:endParaRPr lang="fr-FR"/>
          </a:p>
        </p:txBody>
      </p:sp>
      <p:sp>
        <p:nvSpPr>
          <p:cNvPr id="39" name="Espace réservé du numéro de diapositive 6"/>
          <p:cNvSpPr>
            <a:spLocks noGrp="1"/>
          </p:cNvSpPr>
          <p:nvPr>
            <p:ph type="sldNum" sz="quarter" idx="11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40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2241577" y="3979549"/>
            <a:ext cx="9755320" cy="1440000"/>
          </a:xfrm>
        </p:spPr>
        <p:txBody>
          <a:bodyPr tIns="180000" anchor="ctr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733" b="0" cap="all" baseline="0">
                <a:solidFill>
                  <a:schemeClr val="bg1"/>
                </a:solidFill>
              </a:defRPr>
            </a:lvl1pPr>
          </a:lstStyle>
          <a:p>
            <a:r>
              <a:rPr lang="pl-PL" noProof="0" dirty="0"/>
              <a:t>TYTUŁ PREZENTACJI </a:t>
            </a:r>
            <a:br>
              <a:rPr lang="pl-PL" noProof="0" dirty="0"/>
            </a:br>
            <a:r>
              <a:rPr lang="pl-PL" noProof="0" dirty="0"/>
              <a:t>– Slajd ze zdjęciem</a:t>
            </a:r>
          </a:p>
        </p:txBody>
      </p:sp>
      <p:sp>
        <p:nvSpPr>
          <p:cNvPr id="45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877091" y="4293096"/>
            <a:ext cx="192000" cy="912000"/>
          </a:xfrm>
          <a:prstGeom prst="roundRect">
            <a:avLst>
              <a:gd name="adj" fmla="val 13081"/>
            </a:avLst>
          </a:prstGeom>
          <a:solidFill>
            <a:schemeClr val="bg2"/>
          </a:solid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33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1" name="Symbol zastępczy tekstu 2"/>
          <p:cNvSpPr>
            <a:spLocks noGrp="1"/>
          </p:cNvSpPr>
          <p:nvPr>
            <p:ph type="body" sz="quarter" idx="20" hasCustomPrompt="1"/>
          </p:nvPr>
        </p:nvSpPr>
        <p:spPr>
          <a:xfrm>
            <a:off x="2241577" y="5421687"/>
            <a:ext cx="9755320" cy="168000"/>
          </a:xfrm>
          <a:noFill/>
          <a:ln>
            <a:noFill/>
          </a:ln>
          <a:effectLst/>
        </p:spPr>
        <p:txBody>
          <a:bodyPr anchor="t"/>
          <a:lstStyle>
            <a:lvl1pPr marL="0" indent="0">
              <a:lnSpc>
                <a:spcPct val="80000"/>
              </a:lnSpc>
              <a:buFontTx/>
              <a:buNone/>
              <a:defRPr sz="1200" b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 marL="575986" indent="0">
              <a:buFontTx/>
              <a:buNone/>
              <a:defRPr sz="1600"/>
            </a:lvl2pPr>
            <a:lvl3pPr marL="1151971" indent="0">
              <a:buFontTx/>
              <a:buNone/>
              <a:defRPr sz="1600"/>
            </a:lvl3pPr>
            <a:lvl4pPr marL="1727957" indent="0">
              <a:buFontTx/>
              <a:buNone/>
              <a:defRPr sz="1600"/>
            </a:lvl4pPr>
            <a:lvl5pPr marL="2303942" indent="0">
              <a:buFontTx/>
              <a:buNone/>
              <a:defRPr sz="1600"/>
            </a:lvl5pPr>
          </a:lstStyle>
          <a:p>
            <a:pPr lvl="0"/>
            <a:r>
              <a:rPr lang="pl-PL" dirty="0"/>
              <a:t>Nazwa posiedzenia</a:t>
            </a:r>
          </a:p>
        </p:txBody>
      </p:sp>
      <p:sp>
        <p:nvSpPr>
          <p:cNvPr id="13" name="Symbol zastępczy tekstu 4"/>
          <p:cNvSpPr>
            <a:spLocks noGrp="1"/>
          </p:cNvSpPr>
          <p:nvPr>
            <p:ph type="body" sz="quarter" idx="18" hasCustomPrompt="1"/>
          </p:nvPr>
        </p:nvSpPr>
        <p:spPr>
          <a:xfrm>
            <a:off x="2241577" y="5598384"/>
            <a:ext cx="9755320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80000"/>
              </a:lnSpc>
              <a:buFontTx/>
              <a:buNone/>
              <a:defRPr lang="pl-PL" sz="1200" b="0" dirty="0" smtClean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>
              <a:defRPr lang="pl-PL" sz="1600" dirty="0" smtClean="0"/>
            </a:lvl2pPr>
            <a:lvl3pPr>
              <a:defRPr lang="pl-PL" sz="1600" dirty="0" smtClean="0"/>
            </a:lvl3pPr>
            <a:lvl4pPr>
              <a:defRPr lang="pl-PL" sz="1600" dirty="0" smtClean="0"/>
            </a:lvl4pPr>
            <a:lvl5pPr>
              <a:defRPr lang="pl-PL" sz="1600" dirty="0"/>
            </a:lvl5pPr>
          </a:lstStyle>
          <a:p>
            <a:pPr marL="0" lvl="0" indent="0">
              <a:buFontTx/>
              <a:buNone/>
            </a:pPr>
            <a:r>
              <a:rPr lang="pl-PL" dirty="0"/>
              <a:t>Data posiedzenia</a:t>
            </a:r>
          </a:p>
        </p:txBody>
      </p:sp>
      <p:sp>
        <p:nvSpPr>
          <p:cNvPr id="14" name="Symbol zastępczy tekstu 19"/>
          <p:cNvSpPr>
            <a:spLocks noGrp="1"/>
          </p:cNvSpPr>
          <p:nvPr>
            <p:ph type="body" sz="quarter" idx="21" hasCustomPrompt="1"/>
          </p:nvPr>
        </p:nvSpPr>
        <p:spPr>
          <a:xfrm>
            <a:off x="2241578" y="5774945"/>
            <a:ext cx="9755319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80000"/>
              </a:lnSpc>
              <a:buFontTx/>
              <a:buNone/>
              <a:defRPr lang="pl-PL" sz="1200" b="0" smtClean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>
              <a:defRPr lang="pl-PL" sz="1600" smtClean="0"/>
            </a:lvl2pPr>
            <a:lvl3pPr>
              <a:defRPr lang="pl-PL" sz="1600" smtClean="0"/>
            </a:lvl3pPr>
            <a:lvl4pPr>
              <a:defRPr lang="pl-PL" sz="1600" smtClean="0"/>
            </a:lvl4pPr>
            <a:lvl5pPr>
              <a:defRPr lang="pl-PL" sz="1600"/>
            </a:lvl5pPr>
          </a:lstStyle>
          <a:p>
            <a:pPr marL="0" lvl="0" indent="0">
              <a:buFontTx/>
              <a:buNone/>
            </a:pPr>
            <a:r>
              <a:rPr lang="pl-PL" dirty="0"/>
              <a:t>Imię i nazwisko osoby prezentującej</a:t>
            </a:r>
          </a:p>
        </p:txBody>
      </p:sp>
      <p:sp>
        <p:nvSpPr>
          <p:cNvPr id="15" name="Symbol zastępczy tekstu 21"/>
          <p:cNvSpPr>
            <a:spLocks noGrp="1"/>
          </p:cNvSpPr>
          <p:nvPr>
            <p:ph type="body" sz="quarter" idx="22" hasCustomPrompt="1"/>
          </p:nvPr>
        </p:nvSpPr>
        <p:spPr>
          <a:xfrm>
            <a:off x="2241577" y="5949427"/>
            <a:ext cx="9755320" cy="168000"/>
          </a:xfr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lang="pl-PL" sz="1200" b="0" cap="none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80000"/>
              </a:lnSpc>
              <a:buNone/>
            </a:pPr>
            <a:r>
              <a:rPr lang="pl-PL" dirty="0"/>
              <a:t>Nazwa jednostki organizacyjnej</a:t>
            </a:r>
          </a:p>
        </p:txBody>
      </p:sp>
      <p:sp>
        <p:nvSpPr>
          <p:cNvPr id="17" name="Rectangle 9"/>
          <p:cNvSpPr/>
          <p:nvPr userDrawn="1"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517125373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ona tytułowa z tłe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orme libre 11"/>
          <p:cNvSpPr/>
          <p:nvPr/>
        </p:nvSpPr>
        <p:spPr>
          <a:xfrm>
            <a:off x="340800" y="32640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5864 h 4392000"/>
              <a:gd name="connsiteX5" fmla="*/ 8892000 w 8892000"/>
              <a:gd name="connsiteY5" fmla="*/ 4146136 h 4392000"/>
              <a:gd name="connsiteX6" fmla="*/ 8892000 w 8892000"/>
              <a:gd name="connsiteY6" fmla="*/ 4392000 h 4392000"/>
              <a:gd name="connsiteX7" fmla="*/ 8646136 w 8892000"/>
              <a:gd name="connsiteY7" fmla="*/ 4392000 h 4392000"/>
              <a:gd name="connsiteX8" fmla="*/ 5292000 w 8892000"/>
              <a:gd name="connsiteY8" fmla="*/ 4392000 h 4392000"/>
              <a:gd name="connsiteX9" fmla="*/ 245864 w 8892000"/>
              <a:gd name="connsiteY9" fmla="*/ 4392000 h 4392000"/>
              <a:gd name="connsiteX10" fmla="*/ 0 w 8892000"/>
              <a:gd name="connsiteY10" fmla="*/ 4146136 h 4392000"/>
              <a:gd name="connsiteX11" fmla="*/ 0 w 8892000"/>
              <a:gd name="connsiteY11" fmla="*/ 245864 h 4392000"/>
              <a:gd name="connsiteX12" fmla="*/ 245864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45864"/>
                </a:lnTo>
                <a:lnTo>
                  <a:pt x="8892000" y="4146136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 noProof="0" dirty="0"/>
          </a:p>
        </p:txBody>
      </p:sp>
      <p:sp>
        <p:nvSpPr>
          <p:cNvPr id="15" name="Forme libre 16"/>
          <p:cNvSpPr/>
          <p:nvPr/>
        </p:nvSpPr>
        <p:spPr bwMode="gray">
          <a:xfrm>
            <a:off x="431802" y="333378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</p:spPr>
        <p:txBody>
          <a:bodyPr vert="horz" lIns="0" tIns="0" rIns="0" bIns="0" rtlCol="0" anchor="t" anchorCtr="0">
            <a:noAutofit/>
          </a:bodyPr>
          <a:lstStyle/>
          <a:p>
            <a:pPr lvl="0" defTabSz="91434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sz="3751" b="0" cap="all" baseline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0" name="Forme libre 16"/>
          <p:cNvSpPr/>
          <p:nvPr/>
        </p:nvSpPr>
        <p:spPr bwMode="gray">
          <a:xfrm>
            <a:off x="431802" y="333378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</p:spPr>
        <p:txBody>
          <a:bodyPr vert="horz" lIns="0" tIns="0" rIns="0" bIns="0" rtlCol="0" anchor="t" anchorCtr="0">
            <a:noAutofit/>
          </a:bodyPr>
          <a:lstStyle/>
          <a:p>
            <a:pPr lvl="0" defTabSz="91434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sz="3751" b="0" cap="all" baseline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6" name="Espace réservé du texte 13"/>
          <p:cNvSpPr>
            <a:spLocks noGrp="1" noChangeAspect="1"/>
          </p:cNvSpPr>
          <p:nvPr>
            <p:ph type="body" sz="quarter" idx="17" hasCustomPrompt="1"/>
          </p:nvPr>
        </p:nvSpPr>
        <p:spPr bwMode="gray">
          <a:xfrm>
            <a:off x="5616000" y="1"/>
            <a:ext cx="960000" cy="823385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33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9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2241576" y="3979549"/>
            <a:ext cx="9755320" cy="1439999"/>
          </a:xfrm>
        </p:spPr>
        <p:txBody>
          <a:bodyPr tIns="180000" anchor="ctr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733" b="0" cap="all" baseline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TYTUŁ PREZENTACJI </a:t>
            </a:r>
            <a:br>
              <a:rPr lang="fr-FR" noProof="0" dirty="0"/>
            </a:br>
            <a:r>
              <a:rPr lang="fr-FR" noProof="0" dirty="0"/>
              <a:t>– SLAJD BEZ ZDJĘCIA 1</a:t>
            </a:r>
          </a:p>
        </p:txBody>
      </p:sp>
      <p:sp>
        <p:nvSpPr>
          <p:cNvPr id="30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877091" y="4293096"/>
            <a:ext cx="192000" cy="912000"/>
          </a:xfrm>
          <a:prstGeom prst="roundRect">
            <a:avLst>
              <a:gd name="adj" fmla="val 13081"/>
            </a:avLst>
          </a:prstGeom>
          <a:solidFill>
            <a:schemeClr val="bg2"/>
          </a:solid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33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pic>
        <p:nvPicPr>
          <p:cNvPr id="31" name="Obraz 30" descr="CA_logo symetryczne 1L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8234" y="6281744"/>
            <a:ext cx="1519221" cy="480053"/>
          </a:xfrm>
          <a:prstGeom prst="rect">
            <a:avLst/>
          </a:prstGeom>
        </p:spPr>
      </p:pic>
      <p:sp>
        <p:nvSpPr>
          <p:cNvPr id="36" name="Rectangle 9"/>
          <p:cNvSpPr/>
          <p:nvPr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37" name="Espace réservé de la date 5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D1B57CC0-872F-4797-AD7E-0DDD70613BCA}" type="datetime1">
              <a:rPr lang="pl-PL" smtClean="0"/>
              <a:t>09.03.2026</a:t>
            </a:fld>
            <a:endParaRPr lang="fr-FR"/>
          </a:p>
        </p:txBody>
      </p:sp>
      <p:sp>
        <p:nvSpPr>
          <p:cNvPr id="38" name="Espace réservé du numéro de diapositive 6"/>
          <p:cNvSpPr>
            <a:spLocks noGrp="1"/>
          </p:cNvSpPr>
          <p:nvPr>
            <p:ph type="sldNum" sz="quarter" idx="11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39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13" name="Symbol zastępczy tekstu 2"/>
          <p:cNvSpPr>
            <a:spLocks noGrp="1"/>
          </p:cNvSpPr>
          <p:nvPr>
            <p:ph type="body" sz="quarter" idx="20" hasCustomPrompt="1"/>
          </p:nvPr>
        </p:nvSpPr>
        <p:spPr>
          <a:xfrm>
            <a:off x="2241577" y="5421687"/>
            <a:ext cx="9755320" cy="168000"/>
          </a:xfrm>
          <a:noFill/>
          <a:ln>
            <a:noFill/>
          </a:ln>
          <a:effectLst/>
        </p:spPr>
        <p:txBody>
          <a:bodyPr anchor="t"/>
          <a:lstStyle>
            <a:lvl1pPr marL="0" indent="0">
              <a:lnSpc>
                <a:spcPct val="80000"/>
              </a:lnSpc>
              <a:buFontTx/>
              <a:buNone/>
              <a:defRPr sz="1200" b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 marL="575986" indent="0">
              <a:buFontTx/>
              <a:buNone/>
              <a:defRPr sz="1600"/>
            </a:lvl2pPr>
            <a:lvl3pPr marL="1151971" indent="0">
              <a:buFontTx/>
              <a:buNone/>
              <a:defRPr sz="1600"/>
            </a:lvl3pPr>
            <a:lvl4pPr marL="1727957" indent="0">
              <a:buFontTx/>
              <a:buNone/>
              <a:defRPr sz="1600"/>
            </a:lvl4pPr>
            <a:lvl5pPr marL="2303942" indent="0">
              <a:buFontTx/>
              <a:buNone/>
              <a:defRPr sz="1600"/>
            </a:lvl5pPr>
          </a:lstStyle>
          <a:p>
            <a:pPr lvl="0"/>
            <a:r>
              <a:rPr lang="pl-PL" dirty="0"/>
              <a:t>Nazwa posiedzenia</a:t>
            </a:r>
          </a:p>
        </p:txBody>
      </p:sp>
      <p:sp>
        <p:nvSpPr>
          <p:cNvPr id="14" name="Symbol zastępczy tekstu 4"/>
          <p:cNvSpPr>
            <a:spLocks noGrp="1"/>
          </p:cNvSpPr>
          <p:nvPr>
            <p:ph type="body" sz="quarter" idx="18" hasCustomPrompt="1"/>
          </p:nvPr>
        </p:nvSpPr>
        <p:spPr>
          <a:xfrm>
            <a:off x="2241577" y="5598384"/>
            <a:ext cx="9755320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80000"/>
              </a:lnSpc>
              <a:buFontTx/>
              <a:buNone/>
              <a:defRPr lang="pl-PL" sz="1200" b="0" dirty="0" smtClean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>
              <a:defRPr lang="pl-PL" sz="1600" dirty="0" smtClean="0"/>
            </a:lvl2pPr>
            <a:lvl3pPr>
              <a:defRPr lang="pl-PL" sz="1600" dirty="0" smtClean="0"/>
            </a:lvl3pPr>
            <a:lvl4pPr>
              <a:defRPr lang="pl-PL" sz="1600" dirty="0" smtClean="0"/>
            </a:lvl4pPr>
            <a:lvl5pPr>
              <a:defRPr lang="pl-PL" sz="1600" dirty="0"/>
            </a:lvl5pPr>
          </a:lstStyle>
          <a:p>
            <a:pPr marL="0" lvl="0" indent="0">
              <a:buFontTx/>
              <a:buNone/>
            </a:pPr>
            <a:r>
              <a:rPr lang="pl-PL" dirty="0"/>
              <a:t>Data posiedzenia</a:t>
            </a:r>
          </a:p>
        </p:txBody>
      </p:sp>
      <p:sp>
        <p:nvSpPr>
          <p:cNvPr id="16" name="Symbol zastępczy tekstu 19"/>
          <p:cNvSpPr>
            <a:spLocks noGrp="1"/>
          </p:cNvSpPr>
          <p:nvPr>
            <p:ph type="body" sz="quarter" idx="21" hasCustomPrompt="1"/>
          </p:nvPr>
        </p:nvSpPr>
        <p:spPr>
          <a:xfrm>
            <a:off x="2241578" y="5774945"/>
            <a:ext cx="9755319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80000"/>
              </a:lnSpc>
              <a:buFontTx/>
              <a:buNone/>
              <a:defRPr lang="pl-PL" sz="1200" b="0" smtClean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>
              <a:defRPr lang="pl-PL" sz="1600" smtClean="0"/>
            </a:lvl2pPr>
            <a:lvl3pPr>
              <a:defRPr lang="pl-PL" sz="1600" smtClean="0"/>
            </a:lvl3pPr>
            <a:lvl4pPr>
              <a:defRPr lang="pl-PL" sz="1600" smtClean="0"/>
            </a:lvl4pPr>
            <a:lvl5pPr>
              <a:defRPr lang="pl-PL" sz="1600"/>
            </a:lvl5pPr>
          </a:lstStyle>
          <a:p>
            <a:pPr marL="0" lvl="0" indent="0">
              <a:buFontTx/>
              <a:buNone/>
            </a:pPr>
            <a:r>
              <a:rPr lang="pl-PL" dirty="0"/>
              <a:t>Imię i nazwisko osoby prezentującej</a:t>
            </a:r>
          </a:p>
        </p:txBody>
      </p:sp>
      <p:sp>
        <p:nvSpPr>
          <p:cNvPr id="17" name="Symbol zastępczy tekstu 21"/>
          <p:cNvSpPr>
            <a:spLocks noGrp="1"/>
          </p:cNvSpPr>
          <p:nvPr>
            <p:ph type="body" sz="quarter" idx="22" hasCustomPrompt="1"/>
          </p:nvPr>
        </p:nvSpPr>
        <p:spPr>
          <a:xfrm>
            <a:off x="2241577" y="5949427"/>
            <a:ext cx="9755320" cy="168000"/>
          </a:xfr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lang="pl-PL" sz="1200" b="0" cap="none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80000"/>
              </a:lnSpc>
              <a:buNone/>
            </a:pPr>
            <a:r>
              <a:rPr lang="pl-PL" dirty="0"/>
              <a:t>Nazwa jednostki organizacyjnej</a:t>
            </a:r>
          </a:p>
        </p:txBody>
      </p:sp>
      <p:sp>
        <p:nvSpPr>
          <p:cNvPr id="19" name="Forme libre 16"/>
          <p:cNvSpPr/>
          <p:nvPr userDrawn="1"/>
        </p:nvSpPr>
        <p:spPr bwMode="gray">
          <a:xfrm>
            <a:off x="431802" y="333378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</p:spPr>
        <p:txBody>
          <a:bodyPr vert="horz" lIns="0" tIns="0" rIns="0" bIns="0" rtlCol="0" anchor="t" anchorCtr="0">
            <a:noAutofit/>
          </a:bodyPr>
          <a:lstStyle/>
          <a:p>
            <a:pPr lvl="0" defTabSz="91434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sz="3751" b="0" cap="all" baseline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2" name="Rectangle 9"/>
          <p:cNvSpPr/>
          <p:nvPr userDrawn="1"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45782100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ona tytułowa z tł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orme libre 11"/>
          <p:cNvSpPr/>
          <p:nvPr/>
        </p:nvSpPr>
        <p:spPr>
          <a:xfrm>
            <a:off x="340800" y="32640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5864 h 4392000"/>
              <a:gd name="connsiteX5" fmla="*/ 8892000 w 8892000"/>
              <a:gd name="connsiteY5" fmla="*/ 4146136 h 4392000"/>
              <a:gd name="connsiteX6" fmla="*/ 8892000 w 8892000"/>
              <a:gd name="connsiteY6" fmla="*/ 4392000 h 4392000"/>
              <a:gd name="connsiteX7" fmla="*/ 8646136 w 8892000"/>
              <a:gd name="connsiteY7" fmla="*/ 4392000 h 4392000"/>
              <a:gd name="connsiteX8" fmla="*/ 5292000 w 8892000"/>
              <a:gd name="connsiteY8" fmla="*/ 4392000 h 4392000"/>
              <a:gd name="connsiteX9" fmla="*/ 245864 w 8892000"/>
              <a:gd name="connsiteY9" fmla="*/ 4392000 h 4392000"/>
              <a:gd name="connsiteX10" fmla="*/ 0 w 8892000"/>
              <a:gd name="connsiteY10" fmla="*/ 4146136 h 4392000"/>
              <a:gd name="connsiteX11" fmla="*/ 0 w 8892000"/>
              <a:gd name="connsiteY11" fmla="*/ 245864 h 4392000"/>
              <a:gd name="connsiteX12" fmla="*/ 245864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45864"/>
                </a:lnTo>
                <a:lnTo>
                  <a:pt x="8892000" y="4146136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rgbClr val="0087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 noProof="0" dirty="0"/>
          </a:p>
        </p:txBody>
      </p:sp>
      <p:sp>
        <p:nvSpPr>
          <p:cNvPr id="15" name="Forme libre 16"/>
          <p:cNvSpPr/>
          <p:nvPr/>
        </p:nvSpPr>
        <p:spPr bwMode="gray">
          <a:xfrm>
            <a:off x="431802" y="333378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</p:spPr>
        <p:txBody>
          <a:bodyPr vert="horz" lIns="0" tIns="0" rIns="0" bIns="0" rtlCol="0" anchor="t" anchorCtr="0">
            <a:noAutofit/>
          </a:bodyPr>
          <a:lstStyle/>
          <a:p>
            <a:pPr lvl="0" defTabSz="91434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sz="3751" b="0" cap="all" baseline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0" name="Forme libre 16"/>
          <p:cNvSpPr/>
          <p:nvPr/>
        </p:nvSpPr>
        <p:spPr bwMode="gray">
          <a:xfrm>
            <a:off x="431802" y="333378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</p:spPr>
        <p:txBody>
          <a:bodyPr vert="horz" lIns="0" tIns="0" rIns="0" bIns="0" rtlCol="0" anchor="t" anchorCtr="0">
            <a:noAutofit/>
          </a:bodyPr>
          <a:lstStyle/>
          <a:p>
            <a:pPr lvl="0" defTabSz="91434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sz="3751" b="0" cap="all" baseline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6" name="Espace réservé du texte 13"/>
          <p:cNvSpPr>
            <a:spLocks noGrp="1" noChangeAspect="1"/>
          </p:cNvSpPr>
          <p:nvPr>
            <p:ph type="body" sz="quarter" idx="17" hasCustomPrompt="1"/>
          </p:nvPr>
        </p:nvSpPr>
        <p:spPr bwMode="gray">
          <a:xfrm>
            <a:off x="5616000" y="1"/>
            <a:ext cx="960000" cy="823385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33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9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2241576" y="3979549"/>
            <a:ext cx="9755320" cy="1439999"/>
          </a:xfrm>
        </p:spPr>
        <p:txBody>
          <a:bodyPr tIns="180000" anchor="ctr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733" b="0" cap="all" baseline="0">
                <a:solidFill>
                  <a:schemeClr val="bg1"/>
                </a:solidFill>
              </a:defRPr>
            </a:lvl1pPr>
          </a:lstStyle>
          <a:p>
            <a:r>
              <a:rPr lang="pl-PL" noProof="0" dirty="0"/>
              <a:t>TYTUŁ PREZENTACJI</a:t>
            </a:r>
            <a:br>
              <a:rPr lang="pl-PL" noProof="0" dirty="0"/>
            </a:br>
            <a:r>
              <a:rPr lang="pl-PL" noProof="0" dirty="0"/>
              <a:t>– Slajd bez zdjęcia 2</a:t>
            </a:r>
          </a:p>
        </p:txBody>
      </p:sp>
      <p:sp>
        <p:nvSpPr>
          <p:cNvPr id="30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877091" y="4293096"/>
            <a:ext cx="192000" cy="912000"/>
          </a:xfrm>
          <a:prstGeom prst="roundRect">
            <a:avLst>
              <a:gd name="adj" fmla="val 13081"/>
            </a:avLst>
          </a:prstGeom>
          <a:solidFill>
            <a:schemeClr val="bg2"/>
          </a:solid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33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pic>
        <p:nvPicPr>
          <p:cNvPr id="17" name="Obraz 16" descr="CA_logo symetryczne 1L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8234" y="6281744"/>
            <a:ext cx="1519221" cy="480053"/>
          </a:xfrm>
          <a:prstGeom prst="rect">
            <a:avLst/>
          </a:prstGeom>
        </p:spPr>
      </p:pic>
      <p:sp>
        <p:nvSpPr>
          <p:cNvPr id="28" name="Rectangle 9"/>
          <p:cNvSpPr/>
          <p:nvPr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31" name="Espace réservé de la date 5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869F508C-4708-4DD8-AB7F-BCE6C0A5CDF0}" type="datetime1">
              <a:rPr lang="pl-PL" smtClean="0"/>
              <a:t>09.03.2026</a:t>
            </a:fld>
            <a:endParaRPr lang="fr-FR"/>
          </a:p>
        </p:txBody>
      </p:sp>
      <p:sp>
        <p:nvSpPr>
          <p:cNvPr id="32" name="Espace réservé du numéro de diapositive 6"/>
          <p:cNvSpPr>
            <a:spLocks noGrp="1"/>
          </p:cNvSpPr>
          <p:nvPr>
            <p:ph type="sldNum" sz="quarter" idx="11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33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13" name="Symbol zastępczy tekstu 2"/>
          <p:cNvSpPr>
            <a:spLocks noGrp="1"/>
          </p:cNvSpPr>
          <p:nvPr>
            <p:ph type="body" sz="quarter" idx="20" hasCustomPrompt="1"/>
          </p:nvPr>
        </p:nvSpPr>
        <p:spPr>
          <a:xfrm>
            <a:off x="2241577" y="5421687"/>
            <a:ext cx="9755320" cy="168000"/>
          </a:xfrm>
          <a:noFill/>
          <a:ln>
            <a:noFill/>
          </a:ln>
          <a:effectLst/>
        </p:spPr>
        <p:txBody>
          <a:bodyPr anchor="t"/>
          <a:lstStyle>
            <a:lvl1pPr marL="0" indent="0">
              <a:lnSpc>
                <a:spcPct val="80000"/>
              </a:lnSpc>
              <a:buFontTx/>
              <a:buNone/>
              <a:defRPr sz="1200" b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 marL="575986" indent="0">
              <a:buFontTx/>
              <a:buNone/>
              <a:defRPr sz="1600"/>
            </a:lvl2pPr>
            <a:lvl3pPr marL="1151971" indent="0">
              <a:buFontTx/>
              <a:buNone/>
              <a:defRPr sz="1600"/>
            </a:lvl3pPr>
            <a:lvl4pPr marL="1727957" indent="0">
              <a:buFontTx/>
              <a:buNone/>
              <a:defRPr sz="1600"/>
            </a:lvl4pPr>
            <a:lvl5pPr marL="2303942" indent="0">
              <a:buFontTx/>
              <a:buNone/>
              <a:defRPr sz="1600"/>
            </a:lvl5pPr>
          </a:lstStyle>
          <a:p>
            <a:pPr lvl="0"/>
            <a:r>
              <a:rPr lang="pl-PL" dirty="0"/>
              <a:t>Nazwa posiedzenia</a:t>
            </a:r>
          </a:p>
        </p:txBody>
      </p:sp>
      <p:sp>
        <p:nvSpPr>
          <p:cNvPr id="14" name="Symbol zastępczy tekstu 4"/>
          <p:cNvSpPr>
            <a:spLocks noGrp="1"/>
          </p:cNvSpPr>
          <p:nvPr>
            <p:ph type="body" sz="quarter" idx="18" hasCustomPrompt="1"/>
          </p:nvPr>
        </p:nvSpPr>
        <p:spPr>
          <a:xfrm>
            <a:off x="2241577" y="5598384"/>
            <a:ext cx="9755320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80000"/>
              </a:lnSpc>
              <a:buFontTx/>
              <a:buNone/>
              <a:defRPr lang="pl-PL" sz="1200" b="0" dirty="0" smtClean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>
              <a:defRPr lang="pl-PL" sz="1600" dirty="0" smtClean="0"/>
            </a:lvl2pPr>
            <a:lvl3pPr>
              <a:defRPr lang="pl-PL" sz="1600" dirty="0" smtClean="0"/>
            </a:lvl3pPr>
            <a:lvl4pPr>
              <a:defRPr lang="pl-PL" sz="1600" dirty="0" smtClean="0"/>
            </a:lvl4pPr>
            <a:lvl5pPr>
              <a:defRPr lang="pl-PL" sz="1600" dirty="0"/>
            </a:lvl5pPr>
          </a:lstStyle>
          <a:p>
            <a:pPr marL="0" lvl="0" indent="0">
              <a:buFontTx/>
              <a:buNone/>
            </a:pPr>
            <a:r>
              <a:rPr lang="pl-PL" dirty="0"/>
              <a:t>Data posiedzenia</a:t>
            </a:r>
          </a:p>
        </p:txBody>
      </p:sp>
      <p:sp>
        <p:nvSpPr>
          <p:cNvPr id="16" name="Symbol zastępczy tekstu 19"/>
          <p:cNvSpPr>
            <a:spLocks noGrp="1"/>
          </p:cNvSpPr>
          <p:nvPr>
            <p:ph type="body" sz="quarter" idx="21" hasCustomPrompt="1"/>
          </p:nvPr>
        </p:nvSpPr>
        <p:spPr>
          <a:xfrm>
            <a:off x="2241578" y="5774945"/>
            <a:ext cx="9755319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80000"/>
              </a:lnSpc>
              <a:buFontTx/>
              <a:buNone/>
              <a:defRPr lang="pl-PL" sz="1200" b="0" smtClean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>
              <a:defRPr lang="pl-PL" sz="1600" smtClean="0"/>
            </a:lvl2pPr>
            <a:lvl3pPr>
              <a:defRPr lang="pl-PL" sz="1600" smtClean="0"/>
            </a:lvl3pPr>
            <a:lvl4pPr>
              <a:defRPr lang="pl-PL" sz="1600" smtClean="0"/>
            </a:lvl4pPr>
            <a:lvl5pPr>
              <a:defRPr lang="pl-PL" sz="1600"/>
            </a:lvl5pPr>
          </a:lstStyle>
          <a:p>
            <a:pPr marL="0" lvl="0" indent="0">
              <a:buFontTx/>
              <a:buNone/>
            </a:pPr>
            <a:r>
              <a:rPr lang="pl-PL" dirty="0"/>
              <a:t>Imię i nazwisko osoby prezentującej</a:t>
            </a:r>
          </a:p>
        </p:txBody>
      </p:sp>
      <p:sp>
        <p:nvSpPr>
          <p:cNvPr id="18" name="Symbol zastępczy tekstu 21"/>
          <p:cNvSpPr>
            <a:spLocks noGrp="1"/>
          </p:cNvSpPr>
          <p:nvPr>
            <p:ph type="body" sz="quarter" idx="22" hasCustomPrompt="1"/>
          </p:nvPr>
        </p:nvSpPr>
        <p:spPr>
          <a:xfrm>
            <a:off x="2241577" y="5949427"/>
            <a:ext cx="9755320" cy="168000"/>
          </a:xfr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lang="pl-PL" sz="1200" b="0" cap="none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80000"/>
              </a:lnSpc>
              <a:buNone/>
            </a:pPr>
            <a:r>
              <a:rPr lang="pl-PL" dirty="0"/>
              <a:t>Nazwa jednostki organizacyjnej</a:t>
            </a:r>
          </a:p>
        </p:txBody>
      </p:sp>
      <p:sp>
        <p:nvSpPr>
          <p:cNvPr id="21" name="Forme libre 16"/>
          <p:cNvSpPr/>
          <p:nvPr userDrawn="1"/>
        </p:nvSpPr>
        <p:spPr bwMode="gray">
          <a:xfrm>
            <a:off x="431802" y="333378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</p:spPr>
        <p:txBody>
          <a:bodyPr vert="horz" lIns="0" tIns="0" rIns="0" bIns="0" rtlCol="0" anchor="t" anchorCtr="0">
            <a:noAutofit/>
          </a:bodyPr>
          <a:lstStyle/>
          <a:p>
            <a:pPr lvl="0" defTabSz="91434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sz="3751" b="0" cap="all" baseline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4" name="Rectangle 9"/>
          <p:cNvSpPr/>
          <p:nvPr userDrawn="1"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50342905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ona przekładkow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rme libre 6"/>
          <p:cNvSpPr/>
          <p:nvPr/>
        </p:nvSpPr>
        <p:spPr>
          <a:xfrm>
            <a:off x="340800" y="32640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5864 h 4392000"/>
              <a:gd name="connsiteX5" fmla="*/ 8892000 w 8892000"/>
              <a:gd name="connsiteY5" fmla="*/ 4146136 h 4392000"/>
              <a:gd name="connsiteX6" fmla="*/ 8892000 w 8892000"/>
              <a:gd name="connsiteY6" fmla="*/ 4392000 h 4392000"/>
              <a:gd name="connsiteX7" fmla="*/ 8646136 w 8892000"/>
              <a:gd name="connsiteY7" fmla="*/ 4392000 h 4392000"/>
              <a:gd name="connsiteX8" fmla="*/ 5292000 w 8892000"/>
              <a:gd name="connsiteY8" fmla="*/ 4392000 h 4392000"/>
              <a:gd name="connsiteX9" fmla="*/ 245864 w 8892000"/>
              <a:gd name="connsiteY9" fmla="*/ 4392000 h 4392000"/>
              <a:gd name="connsiteX10" fmla="*/ 0 w 8892000"/>
              <a:gd name="connsiteY10" fmla="*/ 4146136 h 4392000"/>
              <a:gd name="connsiteX11" fmla="*/ 0 w 8892000"/>
              <a:gd name="connsiteY11" fmla="*/ 245864 h 4392000"/>
              <a:gd name="connsiteX12" fmla="*/ 245864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45864"/>
                </a:lnTo>
                <a:lnTo>
                  <a:pt x="8892000" y="4146136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rgbClr val="0087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786911" y="514352"/>
            <a:ext cx="7816499" cy="5511800"/>
          </a:xfrm>
        </p:spPr>
        <p:txBody>
          <a:bodyPr anchor="ctr" anchorCtr="0"/>
          <a:lstStyle>
            <a:lvl1pPr>
              <a:defRPr sz="3733" b="0" cap="all" baseline="0">
                <a:solidFill>
                  <a:schemeClr val="bg1"/>
                </a:solidFill>
              </a:defRPr>
            </a:lvl1pPr>
          </a:lstStyle>
          <a:p>
            <a:r>
              <a:rPr lang="pl-PL" noProof="0" dirty="0"/>
              <a:t>Slajd przekładkowy</a:t>
            </a:r>
          </a:p>
        </p:txBody>
      </p:sp>
      <p:sp>
        <p:nvSpPr>
          <p:cNvPr id="11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fld id="{CB5D7E10-05EB-4075-86EF-138F30E38EF7}" type="datetime1">
              <a:rPr lang="pl-PL" smtClean="0"/>
              <a:t>09.03.2026</a:t>
            </a:fld>
            <a:endParaRPr lang="fr-FR"/>
          </a:p>
        </p:txBody>
      </p:sp>
      <p:sp>
        <p:nvSpPr>
          <p:cNvPr id="12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65957048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fld id="{739BAE7B-0E6A-4821-98EA-C520DFD84733}" type="datetime1">
              <a:rPr lang="pl-PL" smtClean="0"/>
              <a:t>09.03.2026</a:t>
            </a:fld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7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3"/>
          </a:xfrm>
        </p:spPr>
        <p:txBody>
          <a:bodyPr/>
          <a:lstStyle>
            <a:lvl1pPr>
              <a:defRPr/>
            </a:lvl1pPr>
          </a:lstStyle>
          <a:p>
            <a:r>
              <a:rPr lang="pl-PL" dirty="0">
                <a:solidFill>
                  <a:srgbClr val="008789"/>
                </a:solidFill>
              </a:rPr>
              <a:t>Tytuł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629833"/>
            <a:ext cx="10835216" cy="4438651"/>
          </a:xfrm>
        </p:spPr>
        <p:txBody>
          <a:bodyPr/>
          <a:lstStyle>
            <a:lvl1pPr marL="359991" indent="-359991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</p:spTree>
    <p:extLst>
      <p:ext uri="{BB962C8B-B14F-4D97-AF65-F5344CB8AC3E}">
        <p14:creationId xmlns:p14="http://schemas.microsoft.com/office/powerpoint/2010/main" val="166770383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ajd z tekstem 2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fld id="{9D2512D5-4FD9-422B-9293-BA7B0289DBF8}" type="datetime1">
              <a:rPr lang="pl-PL" smtClean="0"/>
              <a:t>09.03.2026</a:t>
            </a:fld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7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3582"/>
            <a:ext cx="10824633" cy="1295399"/>
          </a:xfrm>
        </p:spPr>
        <p:txBody>
          <a:bodyPr/>
          <a:lstStyle>
            <a:lvl1pPr>
              <a:defRPr/>
            </a:lvl1pPr>
          </a:lstStyle>
          <a:p>
            <a:r>
              <a:rPr lang="pl-PL">
                <a:solidFill>
                  <a:srgbClr val="008789"/>
                </a:solidFill>
              </a:rPr>
              <a:t>Tytuł </a:t>
            </a:r>
            <a:br>
              <a:rPr lang="pl-PL">
                <a:solidFill>
                  <a:srgbClr val="008789"/>
                </a:solidFill>
              </a:rPr>
            </a:br>
            <a:r>
              <a:rPr lang="pl-PL">
                <a:solidFill>
                  <a:srgbClr val="008789"/>
                </a:solidFill>
              </a:rPr>
              <a:t>na dwie linie</a:t>
            </a:r>
            <a:endParaRPr lang="pl-PL" dirty="0">
              <a:solidFill>
                <a:srgbClr val="008789"/>
              </a:solidFill>
            </a:endParaRPr>
          </a:p>
        </p:txBody>
      </p:sp>
      <p:sp>
        <p:nvSpPr>
          <p:cNvPr id="3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2108985"/>
            <a:ext cx="10835216" cy="3959499"/>
          </a:xfrm>
        </p:spPr>
        <p:txBody>
          <a:bodyPr/>
          <a:lstStyle>
            <a:lvl1pPr marL="359991" indent="-359991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</p:spTree>
    <p:extLst>
      <p:ext uri="{BB962C8B-B14F-4D97-AF65-F5344CB8AC3E}">
        <p14:creationId xmlns:p14="http://schemas.microsoft.com/office/powerpoint/2010/main" val="1381784157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fld id="{554EB3D2-DFCB-4BBD-8F21-901B9C5CC0AB}" type="datetime1">
              <a:rPr lang="pl-PL" smtClean="0"/>
              <a:t>09.03.2026</a:t>
            </a:fld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/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962383"/>
            <a:ext cx="10835216" cy="4106100"/>
          </a:xfrm>
        </p:spPr>
        <p:txBody>
          <a:bodyPr/>
          <a:lstStyle>
            <a:lvl1pPr marL="359991" indent="-359991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924311" y="1457657"/>
            <a:ext cx="10801351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50491799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3 - dwie kolum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fld id="{57423D5C-CB25-4D4B-B0D7-B9E2F117D610}" type="datetime1">
              <a:rPr lang="pl-PL" smtClean="0"/>
              <a:t>09.03.2026</a:t>
            </a:fld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/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962383"/>
            <a:ext cx="10835216" cy="4106100"/>
          </a:xfrm>
        </p:spPr>
        <p:txBody>
          <a:bodyPr numCol="2" spcCol="180000"/>
          <a:lstStyle>
            <a:lvl1pPr marL="359991" indent="-359991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924311" y="1457657"/>
            <a:ext cx="10801351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55567169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1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5096934" y="354424"/>
            <a:ext cx="7095068" cy="58104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tIns="0" bIns="1260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aseline="0"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Visuel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>
          <a:xfrm>
            <a:off x="960000" y="1447800"/>
            <a:ext cx="3887861" cy="4578350"/>
          </a:xfrm>
        </p:spPr>
        <p:txBody>
          <a:bodyPr/>
          <a:lstStyle>
            <a:lvl1pPr marL="0" indent="0">
              <a:buFont typeface="Arial" pitchFamily="34" charset="0"/>
              <a:buNone/>
              <a:defRPr sz="2200" b="0">
                <a:solidFill>
                  <a:schemeClr val="accent3"/>
                </a:solidFill>
              </a:defRPr>
            </a:lvl1pPr>
            <a:lvl2pPr marL="0" indent="0">
              <a:buFont typeface="Arial" pitchFamily="34" charset="0"/>
              <a:buNone/>
              <a:defRPr sz="2200" b="0">
                <a:solidFill>
                  <a:schemeClr val="accent3"/>
                </a:solidFill>
              </a:defRPr>
            </a:lvl2pPr>
            <a:lvl3pPr marL="0" indent="0">
              <a:buFont typeface="Arial" pitchFamily="34" charset="0"/>
              <a:buNone/>
              <a:defRPr sz="2200"/>
            </a:lvl3pPr>
            <a:lvl4pPr marL="0" indent="0">
              <a:buSzPct val="90000"/>
              <a:buFont typeface="Arial" pitchFamily="34" charset="0"/>
              <a:buNone/>
              <a:defRPr sz="2200"/>
            </a:lvl4pPr>
            <a:lvl5pPr marL="0" indent="0">
              <a:buSzPct val="90000"/>
              <a:buFont typeface="Arial" pitchFamily="34" charset="0"/>
              <a:buNone/>
              <a:defRPr sz="2200"/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BPI - AAP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26901119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fld id="{C1D801D8-CF84-41A7-9952-8076E24467D1}" type="datetime1">
              <a:rPr lang="pl-PL" smtClean="0"/>
              <a:t>09.03.2026</a:t>
            </a:fld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/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962383"/>
            <a:ext cx="5291019" cy="4106100"/>
          </a:xfrm>
        </p:spPr>
        <p:txBody>
          <a:bodyPr/>
          <a:lstStyle>
            <a:lvl1pPr marL="359991" indent="-359991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924312" y="1457657"/>
            <a:ext cx="5291691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 1</a:t>
            </a:r>
            <a:endParaRPr lang="pl-PL" dirty="0"/>
          </a:p>
        </p:txBody>
      </p:sp>
      <p:sp>
        <p:nvSpPr>
          <p:cNvPr id="8" name="Symbol zastępczy zawartości 2"/>
          <p:cNvSpPr>
            <a:spLocks noGrp="1"/>
          </p:cNvSpPr>
          <p:nvPr>
            <p:ph sz="quarter" idx="15" hasCustomPrompt="1"/>
          </p:nvPr>
        </p:nvSpPr>
        <p:spPr>
          <a:xfrm>
            <a:off x="6464429" y="1962383"/>
            <a:ext cx="5291019" cy="4106100"/>
          </a:xfrm>
        </p:spPr>
        <p:txBody>
          <a:bodyPr/>
          <a:lstStyle>
            <a:lvl1pPr marL="359991" indent="-359991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13" name="Symbol zastępczy zawartości 4"/>
          <p:cNvSpPr>
            <a:spLocks noGrp="1"/>
          </p:cNvSpPr>
          <p:nvPr>
            <p:ph sz="quarter" idx="16" hasCustomPrompt="1"/>
          </p:nvPr>
        </p:nvSpPr>
        <p:spPr>
          <a:xfrm>
            <a:off x="6463757" y="1457657"/>
            <a:ext cx="5291691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 1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721404293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y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fld id="{1365F558-917B-4087-9672-E007477D6F92}" type="datetime1">
              <a:rPr lang="pl-PL" smtClean="0"/>
              <a:t>09.03.2026</a:t>
            </a:fld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18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3"/>
          </a:xfrm>
        </p:spPr>
        <p:txBody>
          <a:bodyPr/>
          <a:lstStyle/>
          <a:p>
            <a:r>
              <a:rPr lang="pl-PL" dirty="0">
                <a:solidFill>
                  <a:schemeClr val="accent1"/>
                </a:solidFill>
              </a:rPr>
              <a:t>Cytat</a:t>
            </a:r>
          </a:p>
        </p:txBody>
      </p:sp>
      <p:pic>
        <p:nvPicPr>
          <p:cNvPr id="21" name="Obraz 20">
            <a:extLst>
              <a:ext uri="{FF2B5EF4-FFF2-40B4-BE49-F238E27FC236}">
                <a16:creationId xmlns:a16="http://schemas.microsoft.com/office/drawing/2014/main" id="{51216647-0973-469E-890C-D049E1B0532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39343" y="2063798"/>
            <a:ext cx="390099" cy="1710429"/>
          </a:xfrm>
          <a:prstGeom prst="rect">
            <a:avLst/>
          </a:prstGeom>
        </p:spPr>
      </p:pic>
      <p:sp>
        <p:nvSpPr>
          <p:cNvPr id="3" name="Symbol zastępczy zawartości 2"/>
          <p:cNvSpPr>
            <a:spLocks noGrp="1"/>
          </p:cNvSpPr>
          <p:nvPr>
            <p:ph sz="quarter" idx="14" hasCustomPrompt="1"/>
          </p:nvPr>
        </p:nvSpPr>
        <p:spPr>
          <a:xfrm>
            <a:off x="2237317" y="2063751"/>
            <a:ext cx="9499600" cy="1710267"/>
          </a:xfrm>
        </p:spPr>
        <p:txBody>
          <a:bodyPr/>
          <a:lstStyle>
            <a:lvl1pPr marL="0" indent="0">
              <a:buNone/>
              <a:defRPr sz="3733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pl-PL" dirty="0" err="1"/>
              <a:t>Lorem</a:t>
            </a:r>
            <a:r>
              <a:rPr lang="pl-PL" dirty="0"/>
              <a:t> </a:t>
            </a:r>
            <a:r>
              <a:rPr lang="pl-PL" dirty="0" err="1"/>
              <a:t>ipsum</a:t>
            </a:r>
            <a:r>
              <a:rPr lang="pl-PL" dirty="0"/>
              <a:t> </a:t>
            </a:r>
            <a:r>
              <a:rPr lang="pl-PL" dirty="0" err="1"/>
              <a:t>dolor</a:t>
            </a:r>
            <a:r>
              <a:rPr lang="pl-PL" dirty="0"/>
              <a:t> sit </a:t>
            </a:r>
            <a:r>
              <a:rPr lang="pl-PL" dirty="0" err="1"/>
              <a:t>amet</a:t>
            </a:r>
            <a:r>
              <a:rPr lang="pl-PL" dirty="0"/>
              <a:t>, </a:t>
            </a:r>
            <a:r>
              <a:rPr lang="pl-PL" dirty="0" err="1"/>
              <a:t>consectetur</a:t>
            </a:r>
            <a:r>
              <a:rPr lang="pl-PL" dirty="0"/>
              <a:t> </a:t>
            </a:r>
            <a:r>
              <a:rPr lang="pl-PL" dirty="0" err="1"/>
              <a:t>adipiscing</a:t>
            </a:r>
            <a:r>
              <a:rPr lang="pl-PL" dirty="0"/>
              <a:t> elit, </a:t>
            </a:r>
            <a:r>
              <a:rPr lang="pl-PL" dirty="0" err="1"/>
              <a:t>sed</a:t>
            </a:r>
            <a:r>
              <a:rPr lang="pl-PL" dirty="0"/>
              <a:t> do </a:t>
            </a:r>
            <a:r>
              <a:rPr lang="pl-PL" dirty="0" err="1"/>
              <a:t>eiusmod</a:t>
            </a:r>
            <a:r>
              <a:rPr lang="pl-PL" dirty="0"/>
              <a:t> </a:t>
            </a:r>
            <a:r>
              <a:rPr lang="pl-PL" dirty="0" err="1"/>
              <a:t>tempor</a:t>
            </a:r>
            <a:r>
              <a:rPr lang="pl-PL" dirty="0"/>
              <a:t> </a:t>
            </a:r>
            <a:r>
              <a:rPr lang="pl-PL" dirty="0" err="1"/>
              <a:t>incididunt</a:t>
            </a:r>
            <a:r>
              <a:rPr lang="pl-PL" dirty="0"/>
              <a:t> </a:t>
            </a:r>
            <a:r>
              <a:rPr lang="pl-PL" dirty="0" err="1"/>
              <a:t>ut</a:t>
            </a:r>
            <a:r>
              <a:rPr lang="pl-PL" dirty="0"/>
              <a:t> </a:t>
            </a:r>
            <a:r>
              <a:rPr lang="pl-PL" dirty="0" err="1"/>
              <a:t>labore</a:t>
            </a:r>
            <a:r>
              <a:rPr lang="pl-PL" dirty="0"/>
              <a:t> et </a:t>
            </a:r>
            <a:r>
              <a:rPr lang="pl-PL" dirty="0" err="1"/>
              <a:t>dolore</a:t>
            </a:r>
            <a:r>
              <a:rPr lang="pl-PL" dirty="0"/>
              <a:t> </a:t>
            </a:r>
            <a:r>
              <a:rPr lang="pl-PL" dirty="0" err="1"/>
              <a:t>magna</a:t>
            </a:r>
            <a:r>
              <a:rPr lang="pl-PL" dirty="0"/>
              <a:t> </a:t>
            </a:r>
            <a:r>
              <a:rPr lang="pl-PL" dirty="0" err="1"/>
              <a:t>aliqua</a:t>
            </a:r>
            <a:endParaRPr lang="pl-PL" dirty="0"/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5" hasCustomPrompt="1"/>
          </p:nvPr>
        </p:nvSpPr>
        <p:spPr>
          <a:xfrm>
            <a:off x="2236597" y="4411361"/>
            <a:ext cx="9457267" cy="1176867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 err="1"/>
              <a:t>Lorem</a:t>
            </a:r>
            <a:r>
              <a:rPr lang="pl-PL" dirty="0"/>
              <a:t> </a:t>
            </a:r>
            <a:r>
              <a:rPr lang="pl-PL" dirty="0" err="1"/>
              <a:t>ipsum</a:t>
            </a:r>
            <a:endParaRPr lang="pl-PL" dirty="0"/>
          </a:p>
          <a:p>
            <a:pPr lvl="0"/>
            <a:r>
              <a:rPr lang="pl-PL" dirty="0" err="1"/>
              <a:t>Lorem</a:t>
            </a:r>
            <a:r>
              <a:rPr lang="pl-PL" dirty="0"/>
              <a:t> </a:t>
            </a:r>
            <a:r>
              <a:rPr lang="pl-PL" dirty="0" err="1"/>
              <a:t>ipsum</a:t>
            </a:r>
            <a:r>
              <a:rPr lang="pl-PL" dirty="0"/>
              <a:t> </a:t>
            </a:r>
            <a:r>
              <a:rPr lang="pl-PL" dirty="0" err="1"/>
              <a:t>dolor</a:t>
            </a:r>
            <a:r>
              <a:rPr lang="pl-PL" dirty="0"/>
              <a:t> sit </a:t>
            </a:r>
            <a:r>
              <a:rPr lang="pl-PL" dirty="0" err="1"/>
              <a:t>amet</a:t>
            </a:r>
            <a:r>
              <a:rPr lang="pl-PL" dirty="0"/>
              <a:t>, </a:t>
            </a:r>
            <a:r>
              <a:rPr lang="pl-PL" dirty="0" err="1"/>
              <a:t>consectetur</a:t>
            </a:r>
            <a:r>
              <a:rPr lang="pl-PL" dirty="0"/>
              <a:t> </a:t>
            </a:r>
            <a:r>
              <a:rPr lang="pl-PL" dirty="0" err="1"/>
              <a:t>adipiscing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055601931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e zdjęcie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fld id="{E538AED1-6AEC-4099-AC8B-7FBC7A314C61}" type="datetime1">
              <a:rPr lang="pl-PL" smtClean="0"/>
              <a:t>09.03.2026</a:t>
            </a:fld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/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962384"/>
            <a:ext cx="4931013" cy="3746643"/>
          </a:xfrm>
        </p:spPr>
        <p:txBody>
          <a:bodyPr/>
          <a:lstStyle>
            <a:lvl1pPr marL="359991" indent="-359991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924311" y="1457657"/>
            <a:ext cx="4931687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  <p:sp>
        <p:nvSpPr>
          <p:cNvPr id="8" name="Symbol zastępczy obrazu 4"/>
          <p:cNvSpPr>
            <a:spLocks noGrp="1"/>
          </p:cNvSpPr>
          <p:nvPr>
            <p:ph type="pic" sz="quarter" idx="15" hasCustomPrompt="1"/>
          </p:nvPr>
        </p:nvSpPr>
        <p:spPr>
          <a:xfrm>
            <a:off x="6032501" y="1454151"/>
            <a:ext cx="5727700" cy="4254875"/>
          </a:xfrm>
        </p:spPr>
        <p:txBody>
          <a:bodyPr/>
          <a:lstStyle>
            <a:lvl1pPr marL="0" indent="0" algn="ctr">
              <a:buFontTx/>
              <a:buNone/>
              <a:defRPr b="0">
                <a:solidFill>
                  <a:schemeClr val="accent3"/>
                </a:solidFill>
              </a:defRPr>
            </a:lvl1pPr>
          </a:lstStyle>
          <a:p>
            <a:r>
              <a:rPr lang="pl-PL" dirty="0"/>
              <a:t>Wstaw obraz</a:t>
            </a:r>
          </a:p>
        </p:txBody>
      </p:sp>
    </p:spTree>
    <p:extLst>
      <p:ext uri="{BB962C8B-B14F-4D97-AF65-F5344CB8AC3E}">
        <p14:creationId xmlns:p14="http://schemas.microsoft.com/office/powerpoint/2010/main" val="2361110026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e zdjęci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fld id="{BBAD11A9-AD1C-41D9-94B3-465367783CD6}" type="datetime1">
              <a:rPr lang="pl-PL" smtClean="0"/>
              <a:t>09.03.2026</a:t>
            </a:fld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/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6829187" y="1962384"/>
            <a:ext cx="4931013" cy="3866643"/>
          </a:xfrm>
        </p:spPr>
        <p:txBody>
          <a:bodyPr/>
          <a:lstStyle>
            <a:lvl1pPr marL="359991" indent="-359991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6828514" y="1457657"/>
            <a:ext cx="4931687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  <p:sp>
        <p:nvSpPr>
          <p:cNvPr id="8" name="Symbol zastępczy obrazu 4"/>
          <p:cNvSpPr>
            <a:spLocks noGrp="1"/>
          </p:cNvSpPr>
          <p:nvPr>
            <p:ph type="pic" sz="quarter" idx="15" hasCustomPrompt="1"/>
          </p:nvPr>
        </p:nvSpPr>
        <p:spPr>
          <a:xfrm>
            <a:off x="944105" y="1454150"/>
            <a:ext cx="5511900" cy="4374876"/>
          </a:xfrm>
        </p:spPr>
        <p:txBody>
          <a:bodyPr/>
          <a:lstStyle>
            <a:lvl1pPr marL="0" indent="0" algn="ctr">
              <a:buFontTx/>
              <a:buNone/>
              <a:defRPr b="0">
                <a:solidFill>
                  <a:schemeClr val="accent3"/>
                </a:solidFill>
              </a:defRPr>
            </a:lvl1pPr>
          </a:lstStyle>
          <a:p>
            <a:r>
              <a:rPr lang="pl-PL" dirty="0"/>
              <a:t>Wstaw obraz</a:t>
            </a:r>
          </a:p>
        </p:txBody>
      </p:sp>
    </p:spTree>
    <p:extLst>
      <p:ext uri="{BB962C8B-B14F-4D97-AF65-F5344CB8AC3E}">
        <p14:creationId xmlns:p14="http://schemas.microsoft.com/office/powerpoint/2010/main" val="1858769080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Strona zamykająca 2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15127" y="5255491"/>
            <a:ext cx="7952509" cy="1089891"/>
          </a:xfrm>
          <a:prstGeom prst="rect">
            <a:avLst/>
          </a:prstGeom>
        </p:spPr>
      </p:pic>
      <p:sp>
        <p:nvSpPr>
          <p:cNvPr id="12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00256725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rona zamykając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24364" y="5273964"/>
            <a:ext cx="7961745" cy="1071419"/>
          </a:xfrm>
          <a:prstGeom prst="rect">
            <a:avLst/>
          </a:prstGeom>
        </p:spPr>
      </p:pic>
      <p:sp>
        <p:nvSpPr>
          <p:cNvPr id="13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98425961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trona tytułow z tł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 bwMode="gray">
          <a:xfrm>
            <a:off x="0" y="6309321"/>
            <a:ext cx="3407701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 dirty="0"/>
          </a:p>
        </p:txBody>
      </p:sp>
      <p:sp>
        <p:nvSpPr>
          <p:cNvPr id="17" name="Forme libre 16"/>
          <p:cNvSpPr/>
          <p:nvPr/>
        </p:nvSpPr>
        <p:spPr bwMode="gray">
          <a:xfrm>
            <a:off x="431802" y="333377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 dirty="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1939265" y="3996976"/>
            <a:ext cx="9755320" cy="1440000"/>
          </a:xfrm>
        </p:spPr>
        <p:txBody>
          <a:bodyPr tIns="180000" anchor="ctr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5000" b="0" cap="all" baseline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TYTUŁ PREZENTACJI</a:t>
            </a:r>
            <a:br>
              <a:rPr lang="fr-FR" noProof="0" dirty="0"/>
            </a:br>
            <a:r>
              <a:rPr lang="fr-FR" noProof="0" dirty="0"/>
              <a:t>– SLAJD BEZ ZDJĘCIA 2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70CC6C04-95DC-466C-980F-A04AA376A88E}" type="datetime1">
              <a:rPr lang="pl-PL" smtClean="0"/>
              <a:t>09.03.2026</a:t>
            </a:fld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1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85371" y="4273551"/>
            <a:ext cx="264000" cy="914400"/>
          </a:xfrm>
          <a:prstGeom prst="roundRect">
            <a:avLst/>
          </a:prstGeom>
          <a:solidFill>
            <a:schemeClr val="bg2"/>
          </a:solid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60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pic>
        <p:nvPicPr>
          <p:cNvPr id="10" name="Image 9" descr="logo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 bwMode="gray">
          <a:xfrm>
            <a:off x="5472000" y="0"/>
            <a:ext cx="1248000" cy="803328"/>
          </a:xfrm>
          <a:prstGeom prst="rect">
            <a:avLst/>
          </a:prstGeom>
        </p:spPr>
      </p:pic>
      <p:pic>
        <p:nvPicPr>
          <p:cNvPr id="13" name="Obraz 12" descr="CA_logo symetryczne 1L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1908" y="6309322"/>
            <a:ext cx="1728193" cy="409564"/>
          </a:xfrm>
          <a:prstGeom prst="rect">
            <a:avLst/>
          </a:prstGeom>
        </p:spPr>
      </p:pic>
      <p:sp>
        <p:nvSpPr>
          <p:cNvPr id="12" name="Rectangle 10"/>
          <p:cNvSpPr/>
          <p:nvPr/>
        </p:nvSpPr>
        <p:spPr bwMode="gray">
          <a:xfrm>
            <a:off x="0" y="6309321"/>
            <a:ext cx="3407701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 dirty="0"/>
          </a:p>
        </p:txBody>
      </p:sp>
      <p:sp>
        <p:nvSpPr>
          <p:cNvPr id="15" name="Forme libre 16"/>
          <p:cNvSpPr/>
          <p:nvPr/>
        </p:nvSpPr>
        <p:spPr bwMode="gray">
          <a:xfrm>
            <a:off x="431802" y="333377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</p:spPr>
        <p:txBody>
          <a:bodyPr vert="horz" lIns="0" tIns="0" rIns="0" bIns="0" rtlCol="0" anchor="t" anchorCtr="0">
            <a:noAutofit/>
          </a:bodyPr>
          <a:lstStyle/>
          <a:p>
            <a:pPr lvl="0" defTabSz="1219122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sz="5000" b="0" cap="all" baseline="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9" name="Rectangle 10"/>
          <p:cNvSpPr/>
          <p:nvPr/>
        </p:nvSpPr>
        <p:spPr bwMode="gray">
          <a:xfrm>
            <a:off x="0" y="6309321"/>
            <a:ext cx="3407701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 dirty="0"/>
          </a:p>
        </p:txBody>
      </p:sp>
      <p:sp>
        <p:nvSpPr>
          <p:cNvPr id="20" name="Forme libre 16"/>
          <p:cNvSpPr/>
          <p:nvPr/>
        </p:nvSpPr>
        <p:spPr bwMode="gray">
          <a:xfrm>
            <a:off x="431802" y="333377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</p:spPr>
        <p:txBody>
          <a:bodyPr vert="horz" lIns="0" tIns="0" rIns="0" bIns="0" rtlCol="0" anchor="t" anchorCtr="0">
            <a:noAutofit/>
          </a:bodyPr>
          <a:lstStyle/>
          <a:p>
            <a:pPr lvl="0" defTabSz="1219122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sz="5000" b="0" cap="all" baseline="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2" name="Rectangle 10"/>
          <p:cNvSpPr/>
          <p:nvPr/>
        </p:nvSpPr>
        <p:spPr bwMode="gray">
          <a:xfrm>
            <a:off x="0" y="6309321"/>
            <a:ext cx="3407701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/>
          </a:p>
        </p:txBody>
      </p:sp>
      <p:sp>
        <p:nvSpPr>
          <p:cNvPr id="23" name="Forme libre 16"/>
          <p:cNvSpPr/>
          <p:nvPr/>
        </p:nvSpPr>
        <p:spPr bwMode="gray">
          <a:xfrm>
            <a:off x="431802" y="333377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</p:spPr>
        <p:txBody>
          <a:bodyPr vert="horz" lIns="0" tIns="0" rIns="0" bIns="0" rtlCol="0" anchor="t" anchorCtr="0">
            <a:noAutofit/>
          </a:bodyPr>
          <a:lstStyle/>
          <a:p>
            <a:pPr lvl="0" defTabSz="1219122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sz="5000" b="0" cap="all" baseline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9" name="Symbol zastępczy tekstu 2"/>
          <p:cNvSpPr>
            <a:spLocks noGrp="1"/>
          </p:cNvSpPr>
          <p:nvPr>
            <p:ph type="body" sz="quarter" idx="17" hasCustomPrompt="1"/>
          </p:nvPr>
        </p:nvSpPr>
        <p:spPr>
          <a:xfrm>
            <a:off x="1939265" y="5439844"/>
            <a:ext cx="9755320" cy="144000"/>
          </a:xfrm>
          <a:noFill/>
          <a:ln>
            <a:noFill/>
          </a:ln>
          <a:effectLst/>
        </p:spPr>
        <p:txBody>
          <a:bodyPr anchor="t"/>
          <a:lstStyle>
            <a:lvl1pPr marL="0" indent="0">
              <a:lnSpc>
                <a:spcPct val="80000"/>
              </a:lnSpc>
              <a:buFontTx/>
              <a:buNone/>
              <a:defRPr sz="1333" b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 marL="575986" indent="0">
              <a:buFontTx/>
              <a:buNone/>
              <a:defRPr sz="1600"/>
            </a:lvl2pPr>
            <a:lvl3pPr marL="1151971" indent="0">
              <a:buFontTx/>
              <a:buNone/>
              <a:defRPr sz="1600"/>
            </a:lvl3pPr>
            <a:lvl4pPr marL="1727957" indent="0">
              <a:buFontTx/>
              <a:buNone/>
              <a:defRPr sz="1600"/>
            </a:lvl4pPr>
            <a:lvl5pPr marL="2303942" indent="0">
              <a:buFontTx/>
              <a:buNone/>
              <a:defRPr sz="1600"/>
            </a:lvl5pPr>
          </a:lstStyle>
          <a:p>
            <a:pPr lvl="0"/>
            <a:r>
              <a:rPr lang="pl-PL" dirty="0"/>
              <a:t>Nazwa posiedzenia</a:t>
            </a:r>
          </a:p>
        </p:txBody>
      </p:sp>
      <p:sp>
        <p:nvSpPr>
          <p:cNvPr id="30" name="Symbol zastępczy tekstu 4"/>
          <p:cNvSpPr>
            <a:spLocks noGrp="1"/>
          </p:cNvSpPr>
          <p:nvPr>
            <p:ph type="body" sz="quarter" idx="18" hasCustomPrompt="1"/>
          </p:nvPr>
        </p:nvSpPr>
        <p:spPr>
          <a:xfrm>
            <a:off x="1939265" y="5585153"/>
            <a:ext cx="9755320" cy="144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80000"/>
              </a:lnSpc>
              <a:buFontTx/>
              <a:buNone/>
              <a:defRPr lang="pl-PL" sz="1333" b="0" dirty="0" smtClean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>
              <a:defRPr lang="pl-PL" sz="1600" dirty="0" smtClean="0"/>
            </a:lvl2pPr>
            <a:lvl3pPr>
              <a:defRPr lang="pl-PL" sz="1600" dirty="0" smtClean="0"/>
            </a:lvl3pPr>
            <a:lvl4pPr>
              <a:defRPr lang="pl-PL" sz="1600" dirty="0" smtClean="0"/>
            </a:lvl4pPr>
            <a:lvl5pPr>
              <a:defRPr lang="pl-PL" sz="1600" dirty="0"/>
            </a:lvl5pPr>
          </a:lstStyle>
          <a:p>
            <a:pPr marL="0" lvl="0" indent="0">
              <a:buFontTx/>
              <a:buNone/>
            </a:pPr>
            <a:r>
              <a:rPr lang="pl-PL" dirty="0"/>
              <a:t>Data posiedzenia</a:t>
            </a:r>
          </a:p>
        </p:txBody>
      </p:sp>
      <p:sp>
        <p:nvSpPr>
          <p:cNvPr id="31" name="Symbol zastępczy tekstu 19"/>
          <p:cNvSpPr>
            <a:spLocks noGrp="1"/>
          </p:cNvSpPr>
          <p:nvPr>
            <p:ph type="body" sz="quarter" idx="19" hasCustomPrompt="1"/>
          </p:nvPr>
        </p:nvSpPr>
        <p:spPr>
          <a:xfrm>
            <a:off x="1939267" y="5731447"/>
            <a:ext cx="9755319" cy="144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80000"/>
              </a:lnSpc>
              <a:buFontTx/>
              <a:buNone/>
              <a:defRPr lang="pl-PL" sz="1333" b="0" smtClean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>
              <a:defRPr lang="pl-PL" sz="1600" smtClean="0"/>
            </a:lvl2pPr>
            <a:lvl3pPr>
              <a:defRPr lang="pl-PL" sz="1600" smtClean="0"/>
            </a:lvl3pPr>
            <a:lvl4pPr>
              <a:defRPr lang="pl-PL" sz="1600" smtClean="0"/>
            </a:lvl4pPr>
            <a:lvl5pPr>
              <a:defRPr lang="pl-PL" sz="1600"/>
            </a:lvl5pPr>
          </a:lstStyle>
          <a:p>
            <a:pPr marL="0" lvl="0" indent="0">
              <a:buFontTx/>
              <a:buNone/>
            </a:pPr>
            <a:r>
              <a:rPr lang="pl-PL" dirty="0"/>
              <a:t>Imię i nazwisko osoby prezentującej</a:t>
            </a:r>
          </a:p>
        </p:txBody>
      </p:sp>
      <p:sp>
        <p:nvSpPr>
          <p:cNvPr id="32" name="Symbol zastępczy tekstu 21"/>
          <p:cNvSpPr>
            <a:spLocks noGrp="1"/>
          </p:cNvSpPr>
          <p:nvPr>
            <p:ph type="body" sz="quarter" idx="20" hasCustomPrompt="1"/>
          </p:nvPr>
        </p:nvSpPr>
        <p:spPr>
          <a:xfrm>
            <a:off x="1939265" y="5878623"/>
            <a:ext cx="9755320" cy="144000"/>
          </a:xfr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lang="pl-PL" sz="1333" b="0" cap="none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80000"/>
              </a:lnSpc>
              <a:buNone/>
            </a:pPr>
            <a:r>
              <a:rPr lang="pl-PL" dirty="0"/>
              <a:t>Nazwa jednostki organizacyjnej</a:t>
            </a:r>
          </a:p>
        </p:txBody>
      </p:sp>
      <p:sp>
        <p:nvSpPr>
          <p:cNvPr id="26" name="Rectangle 10"/>
          <p:cNvSpPr/>
          <p:nvPr userDrawn="1"/>
        </p:nvSpPr>
        <p:spPr bwMode="gray">
          <a:xfrm>
            <a:off x="0" y="6309321"/>
            <a:ext cx="3407701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/>
          </a:p>
        </p:txBody>
      </p:sp>
      <p:sp>
        <p:nvSpPr>
          <p:cNvPr id="27" name="Forme libre 16"/>
          <p:cNvSpPr/>
          <p:nvPr userDrawn="1"/>
        </p:nvSpPr>
        <p:spPr bwMode="gray">
          <a:xfrm>
            <a:off x="431802" y="333377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</p:spPr>
        <p:txBody>
          <a:bodyPr vert="horz" lIns="0" tIns="0" rIns="0" bIns="0" rtlCol="0" anchor="t" anchorCtr="0">
            <a:noAutofit/>
          </a:bodyPr>
          <a:lstStyle/>
          <a:p>
            <a:pPr lvl="0" defTabSz="1219122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sz="5000" b="0" cap="all" baseline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45126778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 visu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15"/>
          <p:cNvSpPr>
            <a:spLocks noGrp="1"/>
          </p:cNvSpPr>
          <p:nvPr>
            <p:ph type="pic" sz="quarter" idx="17" hasCustomPrompt="1"/>
          </p:nvPr>
        </p:nvSpPr>
        <p:spPr>
          <a:xfrm>
            <a:off x="340800" y="326400"/>
            <a:ext cx="11856000" cy="5856000"/>
          </a:xfrm>
          <a:custGeom>
            <a:avLst/>
            <a:gdLst>
              <a:gd name="connsiteX0" fmla="*/ 244898 w 8892000"/>
              <a:gd name="connsiteY0" fmla="*/ 0 h 4392000"/>
              <a:gd name="connsiteX1" fmla="*/ 3420000 w 8892000"/>
              <a:gd name="connsiteY1" fmla="*/ 0 h 4392000"/>
              <a:gd name="connsiteX2" fmla="*/ 8647102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4898 h 4392000"/>
              <a:gd name="connsiteX5" fmla="*/ 8892000 w 8892000"/>
              <a:gd name="connsiteY5" fmla="*/ 4147102 h 4392000"/>
              <a:gd name="connsiteX6" fmla="*/ 8892000 w 8892000"/>
              <a:gd name="connsiteY6" fmla="*/ 4392000 h 4392000"/>
              <a:gd name="connsiteX7" fmla="*/ 8647102 w 8892000"/>
              <a:gd name="connsiteY7" fmla="*/ 4392000 h 4392000"/>
              <a:gd name="connsiteX8" fmla="*/ 3420000 w 8892000"/>
              <a:gd name="connsiteY8" fmla="*/ 4392000 h 4392000"/>
              <a:gd name="connsiteX9" fmla="*/ 244898 w 8892000"/>
              <a:gd name="connsiteY9" fmla="*/ 4392000 h 4392000"/>
              <a:gd name="connsiteX10" fmla="*/ 0 w 8892000"/>
              <a:gd name="connsiteY10" fmla="*/ 4147102 h 4392000"/>
              <a:gd name="connsiteX11" fmla="*/ 0 w 8892000"/>
              <a:gd name="connsiteY11" fmla="*/ 244898 h 4392000"/>
              <a:gd name="connsiteX12" fmla="*/ 244898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4898" y="0"/>
                </a:moveTo>
                <a:lnTo>
                  <a:pt x="3420000" y="0"/>
                </a:lnTo>
                <a:lnTo>
                  <a:pt x="8647102" y="0"/>
                </a:lnTo>
                <a:lnTo>
                  <a:pt x="8892000" y="0"/>
                </a:lnTo>
                <a:lnTo>
                  <a:pt x="8892000" y="244898"/>
                </a:lnTo>
                <a:lnTo>
                  <a:pt x="8892000" y="4147102"/>
                </a:lnTo>
                <a:lnTo>
                  <a:pt x="8892000" y="4392000"/>
                </a:lnTo>
                <a:lnTo>
                  <a:pt x="8647102" y="4392000"/>
                </a:lnTo>
                <a:lnTo>
                  <a:pt x="3420000" y="4392000"/>
                </a:lnTo>
                <a:lnTo>
                  <a:pt x="244898" y="4392000"/>
                </a:lnTo>
                <a:cubicBezTo>
                  <a:pt x="109645" y="4392000"/>
                  <a:pt x="0" y="4282355"/>
                  <a:pt x="0" y="4147102"/>
                </a:cubicBezTo>
                <a:lnTo>
                  <a:pt x="0" y="244898"/>
                </a:lnTo>
                <a:cubicBezTo>
                  <a:pt x="0" y="109645"/>
                  <a:pt x="109645" y="0"/>
                  <a:pt x="244898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tIns="1260000">
            <a:no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Sélectionner l’icône pour insérer une image, 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Mettre à l’arrière plan)</a:t>
            </a:r>
          </a:p>
        </p:txBody>
      </p:sp>
      <p:sp>
        <p:nvSpPr>
          <p:cNvPr id="10" name="Rectangle 9"/>
          <p:cNvSpPr/>
          <p:nvPr userDrawn="1"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2241576" y="3979548"/>
            <a:ext cx="9755320" cy="1440000"/>
          </a:xfrm>
        </p:spPr>
        <p:txBody>
          <a:bodyPr anchor="t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733" b="0" cap="all" baseline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titre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fr-FR"/>
              <a:t>23.11.2016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1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›</a:t>
            </a:fld>
            <a:endParaRPr lang="fr-FR" dirty="0"/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11" name="Espace réservé du texte 13"/>
          <p:cNvSpPr>
            <a:spLocks noGrp="1" noChangeAspect="1"/>
          </p:cNvSpPr>
          <p:nvPr>
            <p:ph type="body" sz="quarter" idx="16" hasCustomPrompt="1"/>
          </p:nvPr>
        </p:nvSpPr>
        <p:spPr bwMode="gray">
          <a:xfrm>
            <a:off x="5616000" y="1"/>
            <a:ext cx="960000" cy="82338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33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3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877091" y="4293096"/>
            <a:ext cx="192000" cy="912000"/>
          </a:xfrm>
          <a:prstGeom prst="roundRect">
            <a:avLst>
              <a:gd name="adj" fmla="val 13081"/>
            </a:avLst>
          </a:prstGeom>
          <a:solidFill>
            <a:schemeClr val="bg2"/>
          </a:solid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33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4" name="Espace réservé de l'image de la bibliothèque 11"/>
          <p:cNvSpPr>
            <a:spLocks noGrp="1"/>
          </p:cNvSpPr>
          <p:nvPr>
            <p:ph type="clipArt" sz="quarter" idx="18" hasCustomPrompt="1"/>
          </p:nvPr>
        </p:nvSpPr>
        <p:spPr>
          <a:xfrm>
            <a:off x="5231904" y="6281744"/>
            <a:ext cx="1728192" cy="480053"/>
          </a:xfrm>
        </p:spPr>
        <p:txBody>
          <a:bodyPr anchor="ctr" anchorCtr="0"/>
          <a:lstStyle>
            <a:lvl1pPr marL="0" indent="0" algn="ctr">
              <a:buNone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fr-FR" dirty="0"/>
              <a:t> Placer ici le logo de votre pôle direction (optionnel)</a:t>
            </a:r>
          </a:p>
        </p:txBody>
      </p:sp>
    </p:spTree>
    <p:extLst>
      <p:ext uri="{BB962C8B-B14F-4D97-AF65-F5344CB8AC3E}">
        <p14:creationId xmlns:p14="http://schemas.microsoft.com/office/powerpoint/2010/main" val="2306830673"/>
      </p:ext>
    </p:extLst>
  </p:cSld>
  <p:clrMapOvr>
    <a:masterClrMapping/>
  </p:clrMapOvr>
  <p:transition spd="slow">
    <p:push dir="u"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 fond u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rme libre 11"/>
          <p:cNvSpPr/>
          <p:nvPr userDrawn="1"/>
        </p:nvSpPr>
        <p:spPr>
          <a:xfrm>
            <a:off x="340800" y="32640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5864 h 4392000"/>
              <a:gd name="connsiteX5" fmla="*/ 8892000 w 8892000"/>
              <a:gd name="connsiteY5" fmla="*/ 4146136 h 4392000"/>
              <a:gd name="connsiteX6" fmla="*/ 8892000 w 8892000"/>
              <a:gd name="connsiteY6" fmla="*/ 4392000 h 4392000"/>
              <a:gd name="connsiteX7" fmla="*/ 8646136 w 8892000"/>
              <a:gd name="connsiteY7" fmla="*/ 4392000 h 4392000"/>
              <a:gd name="connsiteX8" fmla="*/ 5292000 w 8892000"/>
              <a:gd name="connsiteY8" fmla="*/ 4392000 h 4392000"/>
              <a:gd name="connsiteX9" fmla="*/ 245864 w 8892000"/>
              <a:gd name="connsiteY9" fmla="*/ 4392000 h 4392000"/>
              <a:gd name="connsiteX10" fmla="*/ 0 w 8892000"/>
              <a:gd name="connsiteY10" fmla="*/ 4146136 h 4392000"/>
              <a:gd name="connsiteX11" fmla="*/ 0 w 8892000"/>
              <a:gd name="connsiteY11" fmla="*/ 245864 h 4392000"/>
              <a:gd name="connsiteX12" fmla="*/ 245864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45864"/>
                </a:lnTo>
                <a:lnTo>
                  <a:pt x="8892000" y="4146136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1" name="Rectangle 10"/>
          <p:cNvSpPr/>
          <p:nvPr userDrawn="1"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2241600" y="3979200"/>
            <a:ext cx="9755320" cy="1440000"/>
          </a:xfrm>
        </p:spPr>
        <p:txBody>
          <a:bodyPr anchor="t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733" b="0" cap="all" baseline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titre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fr-FR"/>
              <a:t>23.11.2016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1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›</a:t>
            </a:fld>
            <a:endParaRPr lang="fr-FR" dirty="0"/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8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877091" y="4293096"/>
            <a:ext cx="192000" cy="912000"/>
          </a:xfrm>
          <a:prstGeom prst="roundRect">
            <a:avLst>
              <a:gd name="adj" fmla="val 13081"/>
            </a:avLst>
          </a:prstGeom>
          <a:solidFill>
            <a:schemeClr val="bg2"/>
          </a:solid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33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pic>
        <p:nvPicPr>
          <p:cNvPr id="10" name="Image 9" descr="log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 bwMode="gray">
          <a:xfrm>
            <a:off x="5616000" y="2"/>
            <a:ext cx="960000" cy="823927"/>
          </a:xfrm>
          <a:prstGeom prst="rect">
            <a:avLst/>
          </a:prstGeom>
        </p:spPr>
      </p:pic>
      <p:sp>
        <p:nvSpPr>
          <p:cNvPr id="14" name="Espace réservé de l'image de la bibliothèque 11"/>
          <p:cNvSpPr>
            <a:spLocks noGrp="1"/>
          </p:cNvSpPr>
          <p:nvPr>
            <p:ph type="clipArt" sz="quarter" idx="18" hasCustomPrompt="1"/>
          </p:nvPr>
        </p:nvSpPr>
        <p:spPr>
          <a:xfrm>
            <a:off x="5231904" y="6281744"/>
            <a:ext cx="1728192" cy="480053"/>
          </a:xfrm>
        </p:spPr>
        <p:txBody>
          <a:bodyPr anchor="ctr" anchorCtr="0"/>
          <a:lstStyle>
            <a:lvl1pPr marL="0" indent="0" algn="ctr">
              <a:buNone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fr-FR" dirty="0"/>
              <a:t> Placer ici le logo de votre pôle direction (optionnel)</a:t>
            </a:r>
          </a:p>
        </p:txBody>
      </p:sp>
    </p:spTree>
    <p:extLst>
      <p:ext uri="{BB962C8B-B14F-4D97-AF65-F5344CB8AC3E}">
        <p14:creationId xmlns:p14="http://schemas.microsoft.com/office/powerpoint/2010/main" val="2589230951"/>
      </p:ext>
    </p:extLst>
  </p:cSld>
  <p:clrMapOvr>
    <a:masterClrMapping/>
  </p:clrMapOvr>
  <p:transition spd="slow">
    <p:push dir="u"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 fond ha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rme libre 11"/>
          <p:cNvSpPr/>
          <p:nvPr userDrawn="1"/>
        </p:nvSpPr>
        <p:spPr>
          <a:xfrm>
            <a:off x="340800" y="32640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5864 h 4392000"/>
              <a:gd name="connsiteX5" fmla="*/ 8892000 w 8892000"/>
              <a:gd name="connsiteY5" fmla="*/ 4146136 h 4392000"/>
              <a:gd name="connsiteX6" fmla="*/ 8892000 w 8892000"/>
              <a:gd name="connsiteY6" fmla="*/ 4392000 h 4392000"/>
              <a:gd name="connsiteX7" fmla="*/ 8646136 w 8892000"/>
              <a:gd name="connsiteY7" fmla="*/ 4392000 h 4392000"/>
              <a:gd name="connsiteX8" fmla="*/ 5292000 w 8892000"/>
              <a:gd name="connsiteY8" fmla="*/ 4392000 h 4392000"/>
              <a:gd name="connsiteX9" fmla="*/ 245864 w 8892000"/>
              <a:gd name="connsiteY9" fmla="*/ 4392000 h 4392000"/>
              <a:gd name="connsiteX10" fmla="*/ 0 w 8892000"/>
              <a:gd name="connsiteY10" fmla="*/ 4146136 h 4392000"/>
              <a:gd name="connsiteX11" fmla="*/ 0 w 8892000"/>
              <a:gd name="connsiteY11" fmla="*/ 245864 h 4392000"/>
              <a:gd name="connsiteX12" fmla="*/ 245864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45864"/>
                </a:lnTo>
                <a:lnTo>
                  <a:pt x="8892000" y="4146136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blipFill>
            <a:blip r:embed="rId2" cstate="print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1" name="Rectangle 10"/>
          <p:cNvSpPr/>
          <p:nvPr userDrawn="1"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2241600" y="3979200"/>
            <a:ext cx="9755320" cy="1440000"/>
          </a:xfrm>
        </p:spPr>
        <p:txBody>
          <a:bodyPr anchor="t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733" b="0" cap="all" baseline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titre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fr-FR"/>
              <a:t>23.11.2016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1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›</a:t>
            </a:fld>
            <a:endParaRPr lang="fr-FR" dirty="0"/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endParaRPr lang="fr-FR" dirty="0"/>
          </a:p>
        </p:txBody>
      </p:sp>
      <p:pic>
        <p:nvPicPr>
          <p:cNvPr id="10" name="Image 9" descr="logo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5616000" y="2"/>
            <a:ext cx="960000" cy="823927"/>
          </a:xfrm>
          <a:prstGeom prst="rect">
            <a:avLst/>
          </a:prstGeom>
        </p:spPr>
      </p:pic>
      <p:sp>
        <p:nvSpPr>
          <p:cNvPr id="13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877091" y="4293096"/>
            <a:ext cx="192000" cy="912000"/>
          </a:xfrm>
          <a:prstGeom prst="roundRect">
            <a:avLst>
              <a:gd name="adj" fmla="val 13081"/>
            </a:avLst>
          </a:prstGeom>
          <a:solidFill>
            <a:schemeClr val="bg2"/>
          </a:solid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33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5" name="Espace réservé de l'image de la bibliothèque 11"/>
          <p:cNvSpPr>
            <a:spLocks noGrp="1"/>
          </p:cNvSpPr>
          <p:nvPr>
            <p:ph type="clipArt" sz="quarter" idx="18" hasCustomPrompt="1"/>
          </p:nvPr>
        </p:nvSpPr>
        <p:spPr>
          <a:xfrm>
            <a:off x="5231904" y="6281744"/>
            <a:ext cx="1728192" cy="480053"/>
          </a:xfrm>
        </p:spPr>
        <p:txBody>
          <a:bodyPr anchor="ctr" anchorCtr="0"/>
          <a:lstStyle>
            <a:lvl1pPr marL="0" indent="0" algn="ctr">
              <a:buNone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fr-FR" dirty="0"/>
              <a:t> Placer ici le logo de votre pôle direction (optionnel)</a:t>
            </a:r>
          </a:p>
        </p:txBody>
      </p:sp>
    </p:spTree>
    <p:extLst>
      <p:ext uri="{BB962C8B-B14F-4D97-AF65-F5344CB8AC3E}">
        <p14:creationId xmlns:p14="http://schemas.microsoft.com/office/powerpoint/2010/main" val="1493076733"/>
      </p:ext>
    </p:extLst>
  </p:cSld>
  <p:clrMapOvr>
    <a:masterClrMapping/>
  </p:clrMapOvr>
  <p:transition spd="slow">
    <p:push dir="u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rnie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BPI - AAP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  <p:pic>
        <p:nvPicPr>
          <p:cNvPr id="7" name="Image 6" descr="pictos_derniere_couleur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 bwMode="gray">
          <a:xfrm>
            <a:off x="0" y="5239512"/>
            <a:ext cx="12192000" cy="1618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84931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ommai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791745" y="557021"/>
            <a:ext cx="7902841" cy="1463823"/>
          </a:xfrm>
        </p:spPr>
        <p:txBody>
          <a:bodyPr/>
          <a:lstStyle>
            <a:lvl1pPr>
              <a:defRPr sz="4733" b="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3791744" y="2545855"/>
            <a:ext cx="7902840" cy="3480296"/>
          </a:xfrm>
        </p:spPr>
        <p:txBody>
          <a:bodyPr/>
          <a:lstStyle>
            <a:lvl1pPr marL="482588" indent="-482588">
              <a:lnSpc>
                <a:spcPct val="125000"/>
              </a:lnSpc>
              <a:buSzPct val="100000"/>
              <a:defRPr sz="1800" b="0" cap="all" baseline="0">
                <a:solidFill>
                  <a:schemeClr val="accent3"/>
                </a:solidFill>
              </a:defRPr>
            </a:lvl1pPr>
            <a:lvl2pPr marL="833946" indent="-349242">
              <a:buSzPct val="80000"/>
              <a:buFont typeface="Wingdings" pitchFamily="2" charset="2"/>
              <a:buChar char=""/>
              <a:defRPr sz="1533">
                <a:solidFill>
                  <a:schemeClr val="accent3"/>
                </a:solidFill>
              </a:defRPr>
            </a:lvl2pPr>
            <a:lvl4pPr>
              <a:buSzPct val="90000"/>
              <a:defRPr/>
            </a:lvl4pPr>
            <a:lvl5pPr>
              <a:buSzPct val="90000"/>
              <a:defRPr/>
            </a:lvl5pPr>
          </a:lstStyle>
          <a:p>
            <a:pPr lvl="0"/>
            <a:r>
              <a:rPr lang="fr-FR" dirty="0"/>
              <a:t>Texte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fr-FR"/>
              <a:t>23.11.2016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77503996"/>
      </p:ext>
    </p:extLst>
  </p:cSld>
  <p:clrMapOvr>
    <a:masterClrMapping/>
  </p:clrMapOvr>
  <p:transition spd="slow">
    <p:push dir="u"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ommai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792000" y="557021"/>
            <a:ext cx="7900800" cy="1463823"/>
          </a:xfrm>
        </p:spPr>
        <p:txBody>
          <a:bodyPr/>
          <a:lstStyle>
            <a:lvl1pPr>
              <a:defRPr sz="4733" b="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3792000" y="2545855"/>
            <a:ext cx="7900800" cy="3480296"/>
          </a:xfrm>
        </p:spPr>
        <p:txBody>
          <a:bodyPr/>
          <a:lstStyle>
            <a:lvl1pPr marL="482588" indent="-482588">
              <a:lnSpc>
                <a:spcPct val="125000"/>
              </a:lnSpc>
              <a:buClr>
                <a:schemeClr val="bg2"/>
              </a:buClr>
              <a:buSzPct val="100000"/>
              <a:defRPr sz="1800" b="0" cap="all" baseline="0">
                <a:solidFill>
                  <a:schemeClr val="accent3"/>
                </a:solidFill>
              </a:defRPr>
            </a:lvl1pPr>
            <a:lvl2pPr marL="833946" indent="-349242">
              <a:buClr>
                <a:schemeClr val="bg2"/>
              </a:buClr>
              <a:buSzPct val="80000"/>
              <a:buFont typeface="Wingdings" pitchFamily="2" charset="2"/>
              <a:buChar char="n"/>
              <a:defRPr sz="1533">
                <a:solidFill>
                  <a:schemeClr val="accent3"/>
                </a:solidFill>
              </a:defRPr>
            </a:lvl2pPr>
            <a:lvl4pPr>
              <a:buSzPct val="90000"/>
              <a:defRPr/>
            </a:lvl4pPr>
            <a:lvl5pPr>
              <a:buSzPct val="90000"/>
              <a:defRPr/>
            </a:lvl5pPr>
          </a:lstStyle>
          <a:p>
            <a:pPr lvl="0"/>
            <a:r>
              <a:rPr lang="fr-FR" dirty="0"/>
              <a:t>Texte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fr-FR"/>
              <a:t>23.11.2016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89718426"/>
      </p:ext>
    </p:extLst>
  </p:cSld>
  <p:clrMapOvr>
    <a:masterClrMapping/>
  </p:clrMapOvr>
  <p:transition spd="slow">
    <p:push dir="u"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ommai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rme libre 7"/>
          <p:cNvSpPr/>
          <p:nvPr userDrawn="1"/>
        </p:nvSpPr>
        <p:spPr>
          <a:xfrm>
            <a:off x="340800" y="32640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5864 h 4392000"/>
              <a:gd name="connsiteX5" fmla="*/ 8892000 w 8892000"/>
              <a:gd name="connsiteY5" fmla="*/ 4146136 h 4392000"/>
              <a:gd name="connsiteX6" fmla="*/ 8892000 w 8892000"/>
              <a:gd name="connsiteY6" fmla="*/ 4392000 h 4392000"/>
              <a:gd name="connsiteX7" fmla="*/ 8646136 w 8892000"/>
              <a:gd name="connsiteY7" fmla="*/ 4392000 h 4392000"/>
              <a:gd name="connsiteX8" fmla="*/ 5292000 w 8892000"/>
              <a:gd name="connsiteY8" fmla="*/ 4392000 h 4392000"/>
              <a:gd name="connsiteX9" fmla="*/ 245864 w 8892000"/>
              <a:gd name="connsiteY9" fmla="*/ 4392000 h 4392000"/>
              <a:gd name="connsiteX10" fmla="*/ 0 w 8892000"/>
              <a:gd name="connsiteY10" fmla="*/ 4146136 h 4392000"/>
              <a:gd name="connsiteX11" fmla="*/ 0 w 8892000"/>
              <a:gd name="connsiteY11" fmla="*/ 245864 h 4392000"/>
              <a:gd name="connsiteX12" fmla="*/ 245864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45864"/>
                </a:lnTo>
                <a:lnTo>
                  <a:pt x="8892000" y="4146136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792000" y="557021"/>
            <a:ext cx="7900800" cy="1463823"/>
          </a:xfrm>
        </p:spPr>
        <p:txBody>
          <a:bodyPr/>
          <a:lstStyle>
            <a:lvl1pPr>
              <a:defRPr sz="4733" b="0" cap="all" baseline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3792000" y="2545855"/>
            <a:ext cx="7900800" cy="3480296"/>
          </a:xfrm>
        </p:spPr>
        <p:txBody>
          <a:bodyPr/>
          <a:lstStyle>
            <a:lvl1pPr marL="482588" indent="-482588">
              <a:lnSpc>
                <a:spcPct val="125000"/>
              </a:lnSpc>
              <a:buSzPct val="100000"/>
              <a:defRPr sz="1800" b="0" cap="all" baseline="0">
                <a:solidFill>
                  <a:schemeClr val="bg1"/>
                </a:solidFill>
              </a:defRPr>
            </a:lvl1pPr>
            <a:lvl2pPr marL="833946" indent="-349242">
              <a:buSzPct val="80000"/>
              <a:buFont typeface="Wingdings" pitchFamily="2" charset="2"/>
              <a:buChar char="n"/>
              <a:defRPr sz="1533">
                <a:solidFill>
                  <a:schemeClr val="bg1"/>
                </a:solidFill>
              </a:defRPr>
            </a:lvl2pPr>
            <a:lvl4pPr>
              <a:buSzPct val="90000"/>
              <a:defRPr/>
            </a:lvl4pPr>
            <a:lvl5pPr>
              <a:buSzPct val="90000"/>
              <a:defRPr/>
            </a:lvl5pPr>
          </a:lstStyle>
          <a:p>
            <a:pPr lvl="0"/>
            <a:r>
              <a:rPr lang="fr-FR" dirty="0"/>
              <a:t>Texte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fr-FR"/>
              <a:t>23.11.2016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25916113"/>
      </p:ext>
    </p:extLst>
  </p:cSld>
  <p:clrMapOvr>
    <a:masterClrMapping/>
  </p:clrMapOvr>
  <p:transition spd="slow">
    <p:push dir="u"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ommaire fond ha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rme libre 9"/>
          <p:cNvSpPr/>
          <p:nvPr userDrawn="1"/>
        </p:nvSpPr>
        <p:spPr>
          <a:xfrm>
            <a:off x="340800" y="32640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5864 h 4392000"/>
              <a:gd name="connsiteX5" fmla="*/ 8892000 w 8892000"/>
              <a:gd name="connsiteY5" fmla="*/ 4146136 h 4392000"/>
              <a:gd name="connsiteX6" fmla="*/ 8892000 w 8892000"/>
              <a:gd name="connsiteY6" fmla="*/ 4392000 h 4392000"/>
              <a:gd name="connsiteX7" fmla="*/ 8646136 w 8892000"/>
              <a:gd name="connsiteY7" fmla="*/ 4392000 h 4392000"/>
              <a:gd name="connsiteX8" fmla="*/ 5292000 w 8892000"/>
              <a:gd name="connsiteY8" fmla="*/ 4392000 h 4392000"/>
              <a:gd name="connsiteX9" fmla="*/ 245864 w 8892000"/>
              <a:gd name="connsiteY9" fmla="*/ 4392000 h 4392000"/>
              <a:gd name="connsiteX10" fmla="*/ 0 w 8892000"/>
              <a:gd name="connsiteY10" fmla="*/ 4146136 h 4392000"/>
              <a:gd name="connsiteX11" fmla="*/ 0 w 8892000"/>
              <a:gd name="connsiteY11" fmla="*/ 245864 h 4392000"/>
              <a:gd name="connsiteX12" fmla="*/ 245864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45864"/>
                </a:lnTo>
                <a:lnTo>
                  <a:pt x="8892000" y="4146136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blipFill>
            <a:blip r:embed="rId2" cstate="print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792000" y="557021"/>
            <a:ext cx="7900800" cy="1463823"/>
          </a:xfrm>
        </p:spPr>
        <p:txBody>
          <a:bodyPr/>
          <a:lstStyle>
            <a:lvl1pPr>
              <a:defRPr sz="4733" b="0" cap="all" baseline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3792000" y="2545855"/>
            <a:ext cx="7900800" cy="3480296"/>
          </a:xfrm>
        </p:spPr>
        <p:txBody>
          <a:bodyPr/>
          <a:lstStyle>
            <a:lvl1pPr marL="482588" indent="-482588">
              <a:lnSpc>
                <a:spcPct val="125000"/>
              </a:lnSpc>
              <a:buSzPct val="100000"/>
              <a:defRPr sz="1800" b="0" cap="all" baseline="0">
                <a:solidFill>
                  <a:schemeClr val="bg1"/>
                </a:solidFill>
              </a:defRPr>
            </a:lvl1pPr>
            <a:lvl2pPr marL="833946" indent="-349242">
              <a:buSzPct val="80000"/>
              <a:buFont typeface="Wingdings" pitchFamily="2" charset="2"/>
              <a:buChar char="n"/>
              <a:defRPr sz="1533">
                <a:solidFill>
                  <a:schemeClr val="bg1"/>
                </a:solidFill>
              </a:defRPr>
            </a:lvl2pPr>
            <a:lvl4pPr>
              <a:buSzPct val="90000"/>
              <a:defRPr/>
            </a:lvl4pPr>
            <a:lvl5pPr>
              <a:buSzPct val="90000"/>
              <a:defRPr/>
            </a:lvl5pPr>
          </a:lstStyle>
          <a:p>
            <a:pPr lvl="0"/>
            <a:r>
              <a:rPr lang="fr-FR" dirty="0"/>
              <a:t>Texte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fr-FR"/>
              <a:t>23.11.2016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61467990"/>
      </p:ext>
    </p:extLst>
  </p:cSld>
  <p:clrMapOvr>
    <a:masterClrMapping/>
  </p:clrMapOvr>
  <p:transition spd="slow">
    <p:push dir="u"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rme libre 6"/>
          <p:cNvSpPr/>
          <p:nvPr userDrawn="1"/>
        </p:nvSpPr>
        <p:spPr>
          <a:xfrm>
            <a:off x="340800" y="32640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5864 h 4392000"/>
              <a:gd name="connsiteX5" fmla="*/ 8892000 w 8892000"/>
              <a:gd name="connsiteY5" fmla="*/ 4146136 h 4392000"/>
              <a:gd name="connsiteX6" fmla="*/ 8892000 w 8892000"/>
              <a:gd name="connsiteY6" fmla="*/ 4392000 h 4392000"/>
              <a:gd name="connsiteX7" fmla="*/ 8646136 w 8892000"/>
              <a:gd name="connsiteY7" fmla="*/ 4392000 h 4392000"/>
              <a:gd name="connsiteX8" fmla="*/ 5292000 w 8892000"/>
              <a:gd name="connsiteY8" fmla="*/ 4392000 h 4392000"/>
              <a:gd name="connsiteX9" fmla="*/ 245864 w 8892000"/>
              <a:gd name="connsiteY9" fmla="*/ 4392000 h 4392000"/>
              <a:gd name="connsiteX10" fmla="*/ 0 w 8892000"/>
              <a:gd name="connsiteY10" fmla="*/ 4146136 h 4392000"/>
              <a:gd name="connsiteX11" fmla="*/ 0 w 8892000"/>
              <a:gd name="connsiteY11" fmla="*/ 245864 h 4392000"/>
              <a:gd name="connsiteX12" fmla="*/ 245864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45864"/>
                </a:lnTo>
                <a:lnTo>
                  <a:pt x="8892000" y="4146136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786911" y="514351"/>
            <a:ext cx="7816499" cy="5511800"/>
          </a:xfrm>
        </p:spPr>
        <p:txBody>
          <a:bodyPr anchor="ctr" anchorCtr="0"/>
          <a:lstStyle>
            <a:lvl1pPr>
              <a:defRPr sz="3733" b="0" cap="all" baseline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fr-FR"/>
              <a:t>23.11.2016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30864405"/>
      </p:ext>
    </p:extLst>
  </p:cSld>
  <p:clrMapOvr>
    <a:masterClrMapping/>
  </p:clrMapOvr>
  <p:transition spd="slow">
    <p:push dir="u"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rme libre 6"/>
          <p:cNvSpPr/>
          <p:nvPr userDrawn="1"/>
        </p:nvSpPr>
        <p:spPr>
          <a:xfrm>
            <a:off x="340800" y="32640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5864 h 4392000"/>
              <a:gd name="connsiteX5" fmla="*/ 8892000 w 8892000"/>
              <a:gd name="connsiteY5" fmla="*/ 4146136 h 4392000"/>
              <a:gd name="connsiteX6" fmla="*/ 8892000 w 8892000"/>
              <a:gd name="connsiteY6" fmla="*/ 4392000 h 4392000"/>
              <a:gd name="connsiteX7" fmla="*/ 8646136 w 8892000"/>
              <a:gd name="connsiteY7" fmla="*/ 4392000 h 4392000"/>
              <a:gd name="connsiteX8" fmla="*/ 5292000 w 8892000"/>
              <a:gd name="connsiteY8" fmla="*/ 4392000 h 4392000"/>
              <a:gd name="connsiteX9" fmla="*/ 245864 w 8892000"/>
              <a:gd name="connsiteY9" fmla="*/ 4392000 h 4392000"/>
              <a:gd name="connsiteX10" fmla="*/ 0 w 8892000"/>
              <a:gd name="connsiteY10" fmla="*/ 4146136 h 4392000"/>
              <a:gd name="connsiteX11" fmla="*/ 0 w 8892000"/>
              <a:gd name="connsiteY11" fmla="*/ 245864 h 4392000"/>
              <a:gd name="connsiteX12" fmla="*/ 245864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45864"/>
                </a:lnTo>
                <a:lnTo>
                  <a:pt x="8892000" y="4146136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787200" y="514351"/>
            <a:ext cx="7814400" cy="5511800"/>
          </a:xfrm>
        </p:spPr>
        <p:txBody>
          <a:bodyPr anchor="ctr" anchorCtr="0"/>
          <a:lstStyle>
            <a:lvl1pPr>
              <a:defRPr sz="3733" b="0" cap="all" baseline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fr-FR"/>
              <a:t>23.11.2016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08236"/>
      </p:ext>
    </p:extLst>
  </p:cSld>
  <p:clrMapOvr>
    <a:masterClrMapping/>
  </p:clrMapOvr>
  <p:transition spd="slow">
    <p:push dir="u"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rme libre 6"/>
          <p:cNvSpPr/>
          <p:nvPr userDrawn="1"/>
        </p:nvSpPr>
        <p:spPr>
          <a:xfrm>
            <a:off x="340800" y="32640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5864 h 4392000"/>
              <a:gd name="connsiteX5" fmla="*/ 8892000 w 8892000"/>
              <a:gd name="connsiteY5" fmla="*/ 4146136 h 4392000"/>
              <a:gd name="connsiteX6" fmla="*/ 8892000 w 8892000"/>
              <a:gd name="connsiteY6" fmla="*/ 4392000 h 4392000"/>
              <a:gd name="connsiteX7" fmla="*/ 8646136 w 8892000"/>
              <a:gd name="connsiteY7" fmla="*/ 4392000 h 4392000"/>
              <a:gd name="connsiteX8" fmla="*/ 5292000 w 8892000"/>
              <a:gd name="connsiteY8" fmla="*/ 4392000 h 4392000"/>
              <a:gd name="connsiteX9" fmla="*/ 245864 w 8892000"/>
              <a:gd name="connsiteY9" fmla="*/ 4392000 h 4392000"/>
              <a:gd name="connsiteX10" fmla="*/ 0 w 8892000"/>
              <a:gd name="connsiteY10" fmla="*/ 4146136 h 4392000"/>
              <a:gd name="connsiteX11" fmla="*/ 0 w 8892000"/>
              <a:gd name="connsiteY11" fmla="*/ 245864 h 4392000"/>
              <a:gd name="connsiteX12" fmla="*/ 245864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45864"/>
                </a:lnTo>
                <a:lnTo>
                  <a:pt x="8892000" y="4146136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787200" y="514351"/>
            <a:ext cx="7814400" cy="5511800"/>
          </a:xfrm>
        </p:spPr>
        <p:txBody>
          <a:bodyPr anchor="ctr" anchorCtr="0"/>
          <a:lstStyle>
            <a:lvl1pPr>
              <a:defRPr sz="3733" b="0" cap="all" baseline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fr-FR"/>
              <a:t>23.11.2016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43627750"/>
      </p:ext>
    </p:extLst>
  </p:cSld>
  <p:clrMapOvr>
    <a:masterClrMapping/>
  </p:clrMapOvr>
  <p:transition spd="slow">
    <p:push dir="u"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rme libre 6"/>
          <p:cNvSpPr/>
          <p:nvPr userDrawn="1"/>
        </p:nvSpPr>
        <p:spPr>
          <a:xfrm>
            <a:off x="340800" y="32640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5864 h 4392000"/>
              <a:gd name="connsiteX5" fmla="*/ 8892000 w 8892000"/>
              <a:gd name="connsiteY5" fmla="*/ 4146136 h 4392000"/>
              <a:gd name="connsiteX6" fmla="*/ 8892000 w 8892000"/>
              <a:gd name="connsiteY6" fmla="*/ 4392000 h 4392000"/>
              <a:gd name="connsiteX7" fmla="*/ 8646136 w 8892000"/>
              <a:gd name="connsiteY7" fmla="*/ 4392000 h 4392000"/>
              <a:gd name="connsiteX8" fmla="*/ 5292000 w 8892000"/>
              <a:gd name="connsiteY8" fmla="*/ 4392000 h 4392000"/>
              <a:gd name="connsiteX9" fmla="*/ 245864 w 8892000"/>
              <a:gd name="connsiteY9" fmla="*/ 4392000 h 4392000"/>
              <a:gd name="connsiteX10" fmla="*/ 0 w 8892000"/>
              <a:gd name="connsiteY10" fmla="*/ 4146136 h 4392000"/>
              <a:gd name="connsiteX11" fmla="*/ 0 w 8892000"/>
              <a:gd name="connsiteY11" fmla="*/ 245864 h 4392000"/>
              <a:gd name="connsiteX12" fmla="*/ 245864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45864"/>
                </a:lnTo>
                <a:lnTo>
                  <a:pt x="8892000" y="4146136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rgbClr val="A49C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787200" y="514351"/>
            <a:ext cx="7814400" cy="5511800"/>
          </a:xfrm>
        </p:spPr>
        <p:txBody>
          <a:bodyPr anchor="ctr" anchorCtr="0"/>
          <a:lstStyle>
            <a:lvl1pPr>
              <a:defRPr sz="3733" b="0" cap="all" baseline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fr-FR"/>
              <a:t>23.11.2016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0251148"/>
      </p:ext>
    </p:extLst>
  </p:cSld>
  <p:clrMapOvr>
    <a:masterClrMapping/>
  </p:clrMapOvr>
  <p:transition spd="slow">
    <p:push dir="u"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/>
        <p:txBody>
          <a:bodyPr/>
          <a:lstStyle>
            <a:lvl3pPr>
              <a:defRPr>
                <a:solidFill>
                  <a:schemeClr val="accent3"/>
                </a:solidFill>
              </a:defRPr>
            </a:lvl3pPr>
            <a:lvl4pPr marL="1727957" marR="0" indent="239994" algn="l" defTabSz="1219170" rtl="0" eaLnBrk="1" fontAlgn="auto" latinLnBrk="0" hangingPunct="1">
              <a:lnSpc>
                <a:spcPct val="82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Char char="§"/>
              <a:tabLst/>
              <a:defRPr>
                <a:solidFill>
                  <a:schemeClr val="tx1"/>
                </a:solidFill>
              </a:defRPr>
            </a:lvl4pPr>
            <a:lvl5pPr>
              <a:lnSpc>
                <a:spcPct val="82000"/>
              </a:lnSpc>
              <a:buSzPct val="90000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fr-FR"/>
              <a:t>23.11.2016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88343069"/>
      </p:ext>
    </p:extLst>
  </p:cSld>
  <p:clrMapOvr>
    <a:masterClrMapping/>
  </p:clrMapOvr>
  <p:transition spd="slow">
    <p:push dir="u"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 su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/>
        <p:txBody>
          <a:bodyPr/>
          <a:lstStyle>
            <a:lvl1pPr marL="0" indent="118530">
              <a:lnSpc>
                <a:spcPct val="95000"/>
              </a:lnSpc>
              <a:buClr>
                <a:schemeClr val="accent3"/>
              </a:buClr>
              <a:buFont typeface="Wingdings" pitchFamily="2" charset="2"/>
              <a:buChar char="§"/>
              <a:defRPr sz="1400" b="0">
                <a:solidFill>
                  <a:schemeClr val="accent3"/>
                </a:solidFill>
              </a:defRPr>
            </a:lvl1pPr>
            <a:lvl2pPr marL="118530" indent="118530">
              <a:lnSpc>
                <a:spcPct val="95000"/>
              </a:lnSpc>
              <a:buClr>
                <a:schemeClr val="accent3"/>
              </a:buClr>
              <a:buFont typeface="Wingdings" pitchFamily="2" charset="2"/>
              <a:buChar char="§"/>
              <a:defRPr sz="1400" b="0">
                <a:solidFill>
                  <a:schemeClr val="accent3"/>
                </a:solidFill>
              </a:defRPr>
            </a:lvl2pPr>
            <a:lvl3pPr marL="239994" indent="118530">
              <a:lnSpc>
                <a:spcPct val="95000"/>
              </a:lnSpc>
              <a:buClr>
                <a:schemeClr val="accent3"/>
              </a:buClr>
              <a:buFont typeface="Wingdings" pitchFamily="2" charset="2"/>
              <a:buChar char="§"/>
              <a:defRPr sz="1400" b="0">
                <a:solidFill>
                  <a:schemeClr val="accent3"/>
                </a:solidFill>
              </a:defRPr>
            </a:lvl3pPr>
            <a:lvl4pPr marL="359991" indent="119997">
              <a:lnSpc>
                <a:spcPct val="95000"/>
              </a:lnSpc>
              <a:buClr>
                <a:schemeClr val="accent3"/>
              </a:buClr>
              <a:buSzPct val="90000"/>
              <a:buFont typeface="Wingdings" pitchFamily="2" charset="2"/>
              <a:buChar char="§"/>
              <a:defRPr sz="1400" b="0">
                <a:solidFill>
                  <a:schemeClr val="accent3"/>
                </a:solidFill>
              </a:defRPr>
            </a:lvl4pPr>
            <a:lvl5pPr marL="479988" indent="118530">
              <a:lnSpc>
                <a:spcPct val="95000"/>
              </a:lnSpc>
              <a:buClr>
                <a:schemeClr val="accent3"/>
              </a:buClr>
              <a:buSzPct val="90000"/>
              <a:buFont typeface="Wingdings" pitchFamily="2" charset="2"/>
              <a:buChar char="§"/>
              <a:defRPr sz="1400" b="0">
                <a:solidFill>
                  <a:schemeClr val="accent3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fr-FR"/>
              <a:t>23.11.2016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21397891"/>
      </p:ext>
    </p:extLst>
  </p:cSld>
  <p:clrMapOvr>
    <a:masterClrMapping/>
  </p:clrMapOvr>
  <p:transition spd="slow">
    <p:push dir="u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erniere 1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BPI - AAP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15413" y="5367641"/>
            <a:ext cx="10800523" cy="981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9880019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2255574" y="381001"/>
            <a:ext cx="9439012" cy="1062000"/>
          </a:xfrm>
        </p:spPr>
        <p:txBody>
          <a:bodyPr/>
          <a:lstStyle>
            <a:lvl1pPr>
              <a:defRPr sz="3600" b="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fr-FR"/>
              <a:t>23.11.2016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9" name="Espace réservé du graphique 8"/>
          <p:cNvSpPr>
            <a:spLocks noGrp="1"/>
          </p:cNvSpPr>
          <p:nvPr>
            <p:ph type="chart" sz="quarter" idx="13" hasCustomPrompt="1"/>
          </p:nvPr>
        </p:nvSpPr>
        <p:spPr bwMode="gray">
          <a:xfrm>
            <a:off x="2521527" y="2038351"/>
            <a:ext cx="4124807" cy="3780000"/>
          </a:xfrm>
          <a:noFill/>
        </p:spPr>
        <p:txBody>
          <a:bodyPr tIns="1260000"/>
          <a:lstStyle>
            <a:lvl1pPr algn="ct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Graphique</a:t>
            </a:r>
          </a:p>
        </p:txBody>
      </p:sp>
      <p:sp>
        <p:nvSpPr>
          <p:cNvPr id="13" name="Espace réservé du texte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255571" y="1518659"/>
            <a:ext cx="9439012" cy="540000"/>
          </a:xfrm>
        </p:spPr>
        <p:txBody>
          <a:bodyPr/>
          <a:lstStyle>
            <a:lvl1pPr marL="0" indent="0">
              <a:buNone/>
              <a:defRPr sz="1867" b="0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14" name="Espace réservé du contenu 2"/>
          <p:cNvSpPr>
            <a:spLocks noGrp="1"/>
          </p:cNvSpPr>
          <p:nvPr>
            <p:ph idx="16"/>
          </p:nvPr>
        </p:nvSpPr>
        <p:spPr bwMode="gray">
          <a:xfrm>
            <a:off x="7195128" y="2092344"/>
            <a:ext cx="4499457" cy="3933805"/>
          </a:xfrm>
        </p:spPr>
        <p:txBody>
          <a:bodyPr/>
          <a:lstStyle>
            <a:lvl1pPr marL="0" indent="243411">
              <a:lnSpc>
                <a:spcPct val="95000"/>
              </a:lnSpc>
              <a:buSzPct val="90000"/>
              <a:buFont typeface="Wingdings" pitchFamily="2" charset="2"/>
              <a:buChar char="§"/>
              <a:defRPr sz="1400" b="1"/>
            </a:lvl1pPr>
            <a:lvl2pPr marL="0" indent="243411">
              <a:lnSpc>
                <a:spcPct val="95000"/>
              </a:lnSpc>
              <a:buSzPct val="90000"/>
              <a:buFont typeface="Wingdings" pitchFamily="2" charset="2"/>
              <a:buChar char="§"/>
              <a:defRPr sz="1400">
                <a:solidFill>
                  <a:schemeClr val="accent3"/>
                </a:solidFill>
              </a:defRPr>
            </a:lvl2pPr>
            <a:lvl3pPr marL="0" indent="243411">
              <a:buSzPct val="90000"/>
              <a:buFont typeface="Wingdings" pitchFamily="2" charset="2"/>
              <a:buChar char="§"/>
              <a:defRPr sz="1867"/>
            </a:lvl3pPr>
            <a:lvl4pPr marL="0" indent="243411">
              <a:buSzPct val="90000"/>
              <a:buFont typeface="Wingdings" pitchFamily="2" charset="2"/>
              <a:buChar char="§"/>
              <a:defRPr sz="1867"/>
            </a:lvl4pPr>
            <a:lvl5pPr marL="0" indent="243411">
              <a:buSzPct val="90000"/>
              <a:buFont typeface="Wingdings" pitchFamily="2" charset="2"/>
              <a:buChar char="§"/>
              <a:defRPr sz="1867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566269276"/>
      </p:ext>
    </p:extLst>
  </p:cSld>
  <p:clrMapOvr>
    <a:masterClrMapping/>
  </p:clrMapOvr>
  <p:transition spd="slow">
    <p:push dir="u"/>
  </p:transition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1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096001" y="354424"/>
            <a:ext cx="6096001" cy="58104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tIns="0" bIns="1260000" anchor="ctr" anchorCtr="0">
            <a:no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baseline="0"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Visuel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>
          <a:xfrm>
            <a:off x="1904971" y="1446934"/>
            <a:ext cx="3191963" cy="4579217"/>
          </a:xfrm>
        </p:spPr>
        <p:txBody>
          <a:bodyPr/>
          <a:lstStyle>
            <a:lvl1pPr marL="0" indent="0">
              <a:buFont typeface="Arial" pitchFamily="34" charset="0"/>
              <a:buNone/>
              <a:defRPr sz="2200" b="0">
                <a:solidFill>
                  <a:schemeClr val="accent3"/>
                </a:solidFill>
              </a:defRPr>
            </a:lvl1pPr>
            <a:lvl2pPr marL="0" indent="0">
              <a:buFont typeface="Arial" pitchFamily="34" charset="0"/>
              <a:buNone/>
              <a:defRPr sz="2933" b="0">
                <a:solidFill>
                  <a:schemeClr val="accent3"/>
                </a:solidFill>
              </a:defRPr>
            </a:lvl2pPr>
            <a:lvl3pPr marL="0" indent="0">
              <a:buFont typeface="Arial" pitchFamily="34" charset="0"/>
              <a:buNone/>
              <a:defRPr sz="2933"/>
            </a:lvl3pPr>
            <a:lvl4pPr marL="0" indent="0">
              <a:buSzPct val="90000"/>
              <a:buFont typeface="Arial" pitchFamily="34" charset="0"/>
              <a:buNone/>
              <a:defRPr sz="2933"/>
            </a:lvl4pPr>
            <a:lvl5pPr marL="0" indent="0">
              <a:buSzPct val="90000"/>
              <a:buFont typeface="Arial" pitchFamily="34" charset="0"/>
              <a:buNone/>
              <a:defRPr sz="2933"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fr-FR"/>
              <a:t>23.11.2016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25314629"/>
      </p:ext>
    </p:extLst>
  </p:cSld>
  <p:clrMapOvr>
    <a:masterClrMapping/>
  </p:clrMapOvr>
  <p:transition spd="slow">
    <p:push dir="u"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rnie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r>
              <a:rPr lang="fr-FR"/>
              <a:t>23.11.2016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  <p:pic>
        <p:nvPicPr>
          <p:cNvPr id="7" name="Image 6" descr="bandeau_logo_bleu_16-9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5179568"/>
            <a:ext cx="12192000" cy="1678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1898466"/>
      </p:ext>
    </p:extLst>
  </p:cSld>
  <p:clrMapOvr>
    <a:masterClrMapping/>
  </p:clrMapOvr>
  <p:transition spd="slow">
    <p:push dir="u"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erniere 1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r>
              <a:rPr lang="fr-FR"/>
              <a:t>23.11.2016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  <p:pic>
        <p:nvPicPr>
          <p:cNvPr id="7" name="Image 6" descr="bandeau_logo_bleu_16-9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5179569"/>
            <a:ext cx="12192000" cy="1678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2073815"/>
      </p:ext>
    </p:extLst>
  </p:cSld>
  <p:clrMapOvr>
    <a:masterClrMapping/>
  </p:clrMapOvr>
  <p:transition spd="slow">
    <p:push dir="u"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ona tytułowa z motyw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Espace réservé pour une image  15"/>
          <p:cNvSpPr>
            <a:spLocks noGrp="1"/>
          </p:cNvSpPr>
          <p:nvPr>
            <p:ph type="pic" sz="quarter" idx="19" hasCustomPrompt="1"/>
          </p:nvPr>
        </p:nvSpPr>
        <p:spPr>
          <a:xfrm>
            <a:off x="340800" y="326400"/>
            <a:ext cx="11856000" cy="5856000"/>
          </a:xfrm>
          <a:custGeom>
            <a:avLst/>
            <a:gdLst>
              <a:gd name="connsiteX0" fmla="*/ 244898 w 8892000"/>
              <a:gd name="connsiteY0" fmla="*/ 0 h 4392000"/>
              <a:gd name="connsiteX1" fmla="*/ 3420000 w 8892000"/>
              <a:gd name="connsiteY1" fmla="*/ 0 h 4392000"/>
              <a:gd name="connsiteX2" fmla="*/ 8647102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4898 h 4392000"/>
              <a:gd name="connsiteX5" fmla="*/ 8892000 w 8892000"/>
              <a:gd name="connsiteY5" fmla="*/ 4147102 h 4392000"/>
              <a:gd name="connsiteX6" fmla="*/ 8892000 w 8892000"/>
              <a:gd name="connsiteY6" fmla="*/ 4392000 h 4392000"/>
              <a:gd name="connsiteX7" fmla="*/ 8647102 w 8892000"/>
              <a:gd name="connsiteY7" fmla="*/ 4392000 h 4392000"/>
              <a:gd name="connsiteX8" fmla="*/ 3420000 w 8892000"/>
              <a:gd name="connsiteY8" fmla="*/ 4392000 h 4392000"/>
              <a:gd name="connsiteX9" fmla="*/ 244898 w 8892000"/>
              <a:gd name="connsiteY9" fmla="*/ 4392000 h 4392000"/>
              <a:gd name="connsiteX10" fmla="*/ 0 w 8892000"/>
              <a:gd name="connsiteY10" fmla="*/ 4147102 h 4392000"/>
              <a:gd name="connsiteX11" fmla="*/ 0 w 8892000"/>
              <a:gd name="connsiteY11" fmla="*/ 244898 h 4392000"/>
              <a:gd name="connsiteX12" fmla="*/ 244898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4898" y="0"/>
                </a:moveTo>
                <a:lnTo>
                  <a:pt x="3420000" y="0"/>
                </a:lnTo>
                <a:lnTo>
                  <a:pt x="8647102" y="0"/>
                </a:lnTo>
                <a:lnTo>
                  <a:pt x="8892000" y="0"/>
                </a:lnTo>
                <a:lnTo>
                  <a:pt x="8892000" y="244898"/>
                </a:lnTo>
                <a:lnTo>
                  <a:pt x="8892000" y="4147102"/>
                </a:lnTo>
                <a:lnTo>
                  <a:pt x="8892000" y="4392000"/>
                </a:lnTo>
                <a:lnTo>
                  <a:pt x="8647102" y="4392000"/>
                </a:lnTo>
                <a:lnTo>
                  <a:pt x="3420000" y="4392000"/>
                </a:lnTo>
                <a:lnTo>
                  <a:pt x="244898" y="4392000"/>
                </a:lnTo>
                <a:cubicBezTo>
                  <a:pt x="109645" y="4392000"/>
                  <a:pt x="0" y="4282355"/>
                  <a:pt x="0" y="4147102"/>
                </a:cubicBezTo>
                <a:lnTo>
                  <a:pt x="0" y="244898"/>
                </a:lnTo>
                <a:cubicBezTo>
                  <a:pt x="0" y="109645"/>
                  <a:pt x="109645" y="0"/>
                  <a:pt x="244898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tIns="1260000" anchor="t">
            <a:noAutofit/>
          </a:bodyPr>
          <a:lstStyle>
            <a:lvl1pPr marL="0" indent="0" algn="ctr">
              <a:buFontTx/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r>
              <a:rPr lang="pl-PL" noProof="0"/>
              <a:t>Kliknij ikonę, aby dodać zdjęcie tła</a:t>
            </a:r>
            <a:br>
              <a:rPr lang="pl-PL" noProof="0"/>
            </a:br>
            <a:r>
              <a:rPr lang="pl-PL" noProof="0"/>
              <a:t>(Wybierz obraz prawym przyciskiem myszy / Ustaw jako tło)</a:t>
            </a:r>
          </a:p>
        </p:txBody>
      </p:sp>
      <p:sp>
        <p:nvSpPr>
          <p:cNvPr id="19" name="Espace réservé du texte 13"/>
          <p:cNvSpPr>
            <a:spLocks noGrp="1" noChangeAspect="1"/>
          </p:cNvSpPr>
          <p:nvPr>
            <p:ph type="body" sz="quarter" idx="17" hasCustomPrompt="1"/>
          </p:nvPr>
        </p:nvSpPr>
        <p:spPr bwMode="gray">
          <a:xfrm>
            <a:off x="5616000" y="1"/>
            <a:ext cx="960000" cy="823385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33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pic>
        <p:nvPicPr>
          <p:cNvPr id="25" name="Obraz 24" descr="CA_logo symetryczne 1L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8234" y="6281744"/>
            <a:ext cx="1519221" cy="480053"/>
          </a:xfrm>
          <a:prstGeom prst="rect">
            <a:avLst/>
          </a:prstGeom>
        </p:spPr>
      </p:pic>
      <p:sp>
        <p:nvSpPr>
          <p:cNvPr id="37" name="Rectangle 9"/>
          <p:cNvSpPr/>
          <p:nvPr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38" name="Espace réservé de la date 5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  <p:sp>
        <p:nvSpPr>
          <p:cNvPr id="39" name="Espace réservé du numéro de diapositive 6"/>
          <p:cNvSpPr>
            <a:spLocks noGrp="1"/>
          </p:cNvSpPr>
          <p:nvPr>
            <p:ph type="sldNum" sz="quarter" idx="11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40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2241577" y="3979549"/>
            <a:ext cx="9755320" cy="1440000"/>
          </a:xfrm>
        </p:spPr>
        <p:txBody>
          <a:bodyPr tIns="180000" anchor="ctr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733" b="0" cap="all" baseline="0">
                <a:solidFill>
                  <a:schemeClr val="bg1"/>
                </a:solidFill>
              </a:defRPr>
            </a:lvl1pPr>
          </a:lstStyle>
          <a:p>
            <a:r>
              <a:rPr lang="pl-PL" noProof="0" dirty="0"/>
              <a:t>TYTUŁ PREZENTACJI </a:t>
            </a:r>
            <a:br>
              <a:rPr lang="pl-PL" noProof="0" dirty="0"/>
            </a:br>
            <a:r>
              <a:rPr lang="pl-PL" noProof="0" dirty="0"/>
              <a:t>– Slajd ze zdjęciem</a:t>
            </a:r>
          </a:p>
        </p:txBody>
      </p:sp>
      <p:sp>
        <p:nvSpPr>
          <p:cNvPr id="45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877091" y="4293096"/>
            <a:ext cx="192000" cy="912000"/>
          </a:xfrm>
          <a:prstGeom prst="roundRect">
            <a:avLst>
              <a:gd name="adj" fmla="val 13081"/>
            </a:avLst>
          </a:prstGeom>
          <a:solidFill>
            <a:schemeClr val="bg2"/>
          </a:solid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33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1" name="Symbol zastępczy tekstu 2"/>
          <p:cNvSpPr>
            <a:spLocks noGrp="1"/>
          </p:cNvSpPr>
          <p:nvPr>
            <p:ph type="body" sz="quarter" idx="20" hasCustomPrompt="1"/>
          </p:nvPr>
        </p:nvSpPr>
        <p:spPr>
          <a:xfrm>
            <a:off x="2241577" y="5421687"/>
            <a:ext cx="9755320" cy="168000"/>
          </a:xfrm>
          <a:noFill/>
          <a:ln>
            <a:noFill/>
          </a:ln>
          <a:effectLst/>
        </p:spPr>
        <p:txBody>
          <a:bodyPr anchor="t"/>
          <a:lstStyle>
            <a:lvl1pPr marL="0" indent="0">
              <a:lnSpc>
                <a:spcPct val="80000"/>
              </a:lnSpc>
              <a:buFontTx/>
              <a:buNone/>
              <a:defRPr sz="1200" b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 marL="575986" indent="0">
              <a:buFontTx/>
              <a:buNone/>
              <a:defRPr sz="1600"/>
            </a:lvl2pPr>
            <a:lvl3pPr marL="1151971" indent="0">
              <a:buFontTx/>
              <a:buNone/>
              <a:defRPr sz="1600"/>
            </a:lvl3pPr>
            <a:lvl4pPr marL="1727957" indent="0">
              <a:buFontTx/>
              <a:buNone/>
              <a:defRPr sz="1600"/>
            </a:lvl4pPr>
            <a:lvl5pPr marL="2303942" indent="0">
              <a:buFontTx/>
              <a:buNone/>
              <a:defRPr sz="1600"/>
            </a:lvl5pPr>
          </a:lstStyle>
          <a:p>
            <a:pPr lvl="0"/>
            <a:r>
              <a:rPr lang="pl-PL" dirty="0"/>
              <a:t>Nazwa posiedzenia</a:t>
            </a:r>
          </a:p>
        </p:txBody>
      </p:sp>
      <p:sp>
        <p:nvSpPr>
          <p:cNvPr id="13" name="Symbol zastępczy tekstu 4"/>
          <p:cNvSpPr>
            <a:spLocks noGrp="1"/>
          </p:cNvSpPr>
          <p:nvPr>
            <p:ph type="body" sz="quarter" idx="18" hasCustomPrompt="1"/>
          </p:nvPr>
        </p:nvSpPr>
        <p:spPr>
          <a:xfrm>
            <a:off x="2241577" y="5598384"/>
            <a:ext cx="9755320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80000"/>
              </a:lnSpc>
              <a:buFontTx/>
              <a:buNone/>
              <a:defRPr lang="pl-PL" sz="1200" b="0" dirty="0" smtClean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>
              <a:defRPr lang="pl-PL" sz="1600" dirty="0" smtClean="0"/>
            </a:lvl2pPr>
            <a:lvl3pPr>
              <a:defRPr lang="pl-PL" sz="1600" dirty="0" smtClean="0"/>
            </a:lvl3pPr>
            <a:lvl4pPr>
              <a:defRPr lang="pl-PL" sz="1600" dirty="0" smtClean="0"/>
            </a:lvl4pPr>
            <a:lvl5pPr>
              <a:defRPr lang="pl-PL" sz="1600" dirty="0"/>
            </a:lvl5pPr>
          </a:lstStyle>
          <a:p>
            <a:pPr marL="0" lvl="0" indent="0">
              <a:buFontTx/>
              <a:buNone/>
            </a:pPr>
            <a:r>
              <a:rPr lang="pl-PL" dirty="0"/>
              <a:t>Data posiedzenia</a:t>
            </a:r>
          </a:p>
        </p:txBody>
      </p:sp>
      <p:sp>
        <p:nvSpPr>
          <p:cNvPr id="14" name="Symbol zastępczy tekstu 19"/>
          <p:cNvSpPr>
            <a:spLocks noGrp="1"/>
          </p:cNvSpPr>
          <p:nvPr>
            <p:ph type="body" sz="quarter" idx="21" hasCustomPrompt="1"/>
          </p:nvPr>
        </p:nvSpPr>
        <p:spPr>
          <a:xfrm>
            <a:off x="2241578" y="5774945"/>
            <a:ext cx="9755319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80000"/>
              </a:lnSpc>
              <a:buFontTx/>
              <a:buNone/>
              <a:defRPr lang="pl-PL" sz="1200" b="0" smtClean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>
              <a:defRPr lang="pl-PL" sz="1600" smtClean="0"/>
            </a:lvl2pPr>
            <a:lvl3pPr>
              <a:defRPr lang="pl-PL" sz="1600" smtClean="0"/>
            </a:lvl3pPr>
            <a:lvl4pPr>
              <a:defRPr lang="pl-PL" sz="1600" smtClean="0"/>
            </a:lvl4pPr>
            <a:lvl5pPr>
              <a:defRPr lang="pl-PL" sz="1600"/>
            </a:lvl5pPr>
          </a:lstStyle>
          <a:p>
            <a:pPr marL="0" lvl="0" indent="0">
              <a:buFontTx/>
              <a:buNone/>
            </a:pPr>
            <a:r>
              <a:rPr lang="pl-PL" dirty="0"/>
              <a:t>Imię i nazwisko osoby prezentującej</a:t>
            </a:r>
          </a:p>
        </p:txBody>
      </p:sp>
      <p:sp>
        <p:nvSpPr>
          <p:cNvPr id="15" name="Symbol zastępczy tekstu 21"/>
          <p:cNvSpPr>
            <a:spLocks noGrp="1"/>
          </p:cNvSpPr>
          <p:nvPr>
            <p:ph type="body" sz="quarter" idx="22" hasCustomPrompt="1"/>
          </p:nvPr>
        </p:nvSpPr>
        <p:spPr>
          <a:xfrm>
            <a:off x="2241577" y="5949427"/>
            <a:ext cx="9755320" cy="168000"/>
          </a:xfr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lang="pl-PL" sz="1200" b="0" cap="none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80000"/>
              </a:lnSpc>
              <a:buNone/>
            </a:pPr>
            <a:r>
              <a:rPr lang="pl-PL" dirty="0"/>
              <a:t>Nazwa jednostki organizacyjnej</a:t>
            </a:r>
          </a:p>
        </p:txBody>
      </p:sp>
      <p:sp>
        <p:nvSpPr>
          <p:cNvPr id="17" name="Rectangle 9"/>
          <p:cNvSpPr/>
          <p:nvPr userDrawn="1"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3926007211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ona tytułowa z tłe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orme libre 11"/>
          <p:cNvSpPr/>
          <p:nvPr/>
        </p:nvSpPr>
        <p:spPr>
          <a:xfrm>
            <a:off x="340800" y="32640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5864 h 4392000"/>
              <a:gd name="connsiteX5" fmla="*/ 8892000 w 8892000"/>
              <a:gd name="connsiteY5" fmla="*/ 4146136 h 4392000"/>
              <a:gd name="connsiteX6" fmla="*/ 8892000 w 8892000"/>
              <a:gd name="connsiteY6" fmla="*/ 4392000 h 4392000"/>
              <a:gd name="connsiteX7" fmla="*/ 8646136 w 8892000"/>
              <a:gd name="connsiteY7" fmla="*/ 4392000 h 4392000"/>
              <a:gd name="connsiteX8" fmla="*/ 5292000 w 8892000"/>
              <a:gd name="connsiteY8" fmla="*/ 4392000 h 4392000"/>
              <a:gd name="connsiteX9" fmla="*/ 245864 w 8892000"/>
              <a:gd name="connsiteY9" fmla="*/ 4392000 h 4392000"/>
              <a:gd name="connsiteX10" fmla="*/ 0 w 8892000"/>
              <a:gd name="connsiteY10" fmla="*/ 4146136 h 4392000"/>
              <a:gd name="connsiteX11" fmla="*/ 0 w 8892000"/>
              <a:gd name="connsiteY11" fmla="*/ 245864 h 4392000"/>
              <a:gd name="connsiteX12" fmla="*/ 245864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45864"/>
                </a:lnTo>
                <a:lnTo>
                  <a:pt x="8892000" y="4146136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 noProof="0"/>
          </a:p>
        </p:txBody>
      </p:sp>
      <p:sp>
        <p:nvSpPr>
          <p:cNvPr id="15" name="Forme libre 16"/>
          <p:cNvSpPr/>
          <p:nvPr/>
        </p:nvSpPr>
        <p:spPr bwMode="gray">
          <a:xfrm>
            <a:off x="431802" y="333378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</p:spPr>
        <p:txBody>
          <a:bodyPr vert="horz" lIns="0" tIns="0" rIns="0" bIns="0" rtlCol="0" anchor="t" anchorCtr="0">
            <a:noAutofit/>
          </a:bodyPr>
          <a:lstStyle/>
          <a:p>
            <a:pPr lvl="0" defTabSz="91434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sz="3751" b="0" cap="all" baseline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0" name="Forme libre 16"/>
          <p:cNvSpPr/>
          <p:nvPr/>
        </p:nvSpPr>
        <p:spPr bwMode="gray">
          <a:xfrm>
            <a:off x="431802" y="333378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</p:spPr>
        <p:txBody>
          <a:bodyPr vert="horz" lIns="0" tIns="0" rIns="0" bIns="0" rtlCol="0" anchor="t" anchorCtr="0">
            <a:noAutofit/>
          </a:bodyPr>
          <a:lstStyle/>
          <a:p>
            <a:pPr lvl="0" defTabSz="91434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sz="3751" b="0" cap="all" baseline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6" name="Espace réservé du texte 13"/>
          <p:cNvSpPr>
            <a:spLocks noGrp="1" noChangeAspect="1"/>
          </p:cNvSpPr>
          <p:nvPr>
            <p:ph type="body" sz="quarter" idx="17" hasCustomPrompt="1"/>
          </p:nvPr>
        </p:nvSpPr>
        <p:spPr bwMode="gray">
          <a:xfrm>
            <a:off x="5616000" y="1"/>
            <a:ext cx="960000" cy="823385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33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9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2241576" y="3979549"/>
            <a:ext cx="9755320" cy="1439999"/>
          </a:xfrm>
        </p:spPr>
        <p:txBody>
          <a:bodyPr tIns="180000" anchor="ctr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733" b="0" cap="all" baseline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TYTUŁ PREZENTACJI </a:t>
            </a:r>
            <a:br>
              <a:rPr lang="fr-FR" noProof="0" dirty="0"/>
            </a:br>
            <a:r>
              <a:rPr lang="fr-FR" noProof="0" dirty="0"/>
              <a:t>– SLAJD BEZ ZDJĘCIA 1</a:t>
            </a:r>
          </a:p>
        </p:txBody>
      </p:sp>
      <p:sp>
        <p:nvSpPr>
          <p:cNvPr id="30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877091" y="4293096"/>
            <a:ext cx="192000" cy="912000"/>
          </a:xfrm>
          <a:prstGeom prst="roundRect">
            <a:avLst>
              <a:gd name="adj" fmla="val 13081"/>
            </a:avLst>
          </a:prstGeom>
          <a:solidFill>
            <a:schemeClr val="bg2"/>
          </a:solid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33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pic>
        <p:nvPicPr>
          <p:cNvPr id="31" name="Obraz 30" descr="CA_logo symetryczne 1L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8234" y="6281744"/>
            <a:ext cx="1519221" cy="480053"/>
          </a:xfrm>
          <a:prstGeom prst="rect">
            <a:avLst/>
          </a:prstGeom>
        </p:spPr>
      </p:pic>
      <p:sp>
        <p:nvSpPr>
          <p:cNvPr id="36" name="Rectangle 9"/>
          <p:cNvSpPr/>
          <p:nvPr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37" name="Espace réservé de la date 5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  <p:sp>
        <p:nvSpPr>
          <p:cNvPr id="38" name="Espace réservé du numéro de diapositive 6"/>
          <p:cNvSpPr>
            <a:spLocks noGrp="1"/>
          </p:cNvSpPr>
          <p:nvPr>
            <p:ph type="sldNum" sz="quarter" idx="11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39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13" name="Symbol zastępczy tekstu 2"/>
          <p:cNvSpPr>
            <a:spLocks noGrp="1"/>
          </p:cNvSpPr>
          <p:nvPr>
            <p:ph type="body" sz="quarter" idx="20" hasCustomPrompt="1"/>
          </p:nvPr>
        </p:nvSpPr>
        <p:spPr>
          <a:xfrm>
            <a:off x="2241577" y="5421687"/>
            <a:ext cx="9755320" cy="168000"/>
          </a:xfrm>
          <a:noFill/>
          <a:ln>
            <a:noFill/>
          </a:ln>
          <a:effectLst/>
        </p:spPr>
        <p:txBody>
          <a:bodyPr anchor="t"/>
          <a:lstStyle>
            <a:lvl1pPr marL="0" indent="0">
              <a:lnSpc>
                <a:spcPct val="80000"/>
              </a:lnSpc>
              <a:buFontTx/>
              <a:buNone/>
              <a:defRPr sz="1200" b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 marL="575986" indent="0">
              <a:buFontTx/>
              <a:buNone/>
              <a:defRPr sz="1600"/>
            </a:lvl2pPr>
            <a:lvl3pPr marL="1151971" indent="0">
              <a:buFontTx/>
              <a:buNone/>
              <a:defRPr sz="1600"/>
            </a:lvl3pPr>
            <a:lvl4pPr marL="1727957" indent="0">
              <a:buFontTx/>
              <a:buNone/>
              <a:defRPr sz="1600"/>
            </a:lvl4pPr>
            <a:lvl5pPr marL="2303942" indent="0">
              <a:buFontTx/>
              <a:buNone/>
              <a:defRPr sz="1600"/>
            </a:lvl5pPr>
          </a:lstStyle>
          <a:p>
            <a:pPr lvl="0"/>
            <a:r>
              <a:rPr lang="pl-PL" dirty="0"/>
              <a:t>Nazwa posiedzenia</a:t>
            </a:r>
          </a:p>
        </p:txBody>
      </p:sp>
      <p:sp>
        <p:nvSpPr>
          <p:cNvPr id="14" name="Symbol zastępczy tekstu 4"/>
          <p:cNvSpPr>
            <a:spLocks noGrp="1"/>
          </p:cNvSpPr>
          <p:nvPr>
            <p:ph type="body" sz="quarter" idx="18" hasCustomPrompt="1"/>
          </p:nvPr>
        </p:nvSpPr>
        <p:spPr>
          <a:xfrm>
            <a:off x="2241577" y="5598384"/>
            <a:ext cx="9755320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80000"/>
              </a:lnSpc>
              <a:buFontTx/>
              <a:buNone/>
              <a:defRPr lang="pl-PL" sz="1200" b="0" dirty="0" smtClean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>
              <a:defRPr lang="pl-PL" sz="1600" dirty="0" smtClean="0"/>
            </a:lvl2pPr>
            <a:lvl3pPr>
              <a:defRPr lang="pl-PL" sz="1600" dirty="0" smtClean="0"/>
            </a:lvl3pPr>
            <a:lvl4pPr>
              <a:defRPr lang="pl-PL" sz="1600" dirty="0" smtClean="0"/>
            </a:lvl4pPr>
            <a:lvl5pPr>
              <a:defRPr lang="pl-PL" sz="1600" dirty="0"/>
            </a:lvl5pPr>
          </a:lstStyle>
          <a:p>
            <a:pPr marL="0" lvl="0" indent="0">
              <a:buFontTx/>
              <a:buNone/>
            </a:pPr>
            <a:r>
              <a:rPr lang="pl-PL" dirty="0"/>
              <a:t>Data posiedzenia</a:t>
            </a:r>
          </a:p>
        </p:txBody>
      </p:sp>
      <p:sp>
        <p:nvSpPr>
          <p:cNvPr id="16" name="Symbol zastępczy tekstu 19"/>
          <p:cNvSpPr>
            <a:spLocks noGrp="1"/>
          </p:cNvSpPr>
          <p:nvPr>
            <p:ph type="body" sz="quarter" idx="21" hasCustomPrompt="1"/>
          </p:nvPr>
        </p:nvSpPr>
        <p:spPr>
          <a:xfrm>
            <a:off x="2241578" y="5774945"/>
            <a:ext cx="9755319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80000"/>
              </a:lnSpc>
              <a:buFontTx/>
              <a:buNone/>
              <a:defRPr lang="pl-PL" sz="1200" b="0" smtClean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>
              <a:defRPr lang="pl-PL" sz="1600" smtClean="0"/>
            </a:lvl2pPr>
            <a:lvl3pPr>
              <a:defRPr lang="pl-PL" sz="1600" smtClean="0"/>
            </a:lvl3pPr>
            <a:lvl4pPr>
              <a:defRPr lang="pl-PL" sz="1600" smtClean="0"/>
            </a:lvl4pPr>
            <a:lvl5pPr>
              <a:defRPr lang="pl-PL" sz="1600"/>
            </a:lvl5pPr>
          </a:lstStyle>
          <a:p>
            <a:pPr marL="0" lvl="0" indent="0">
              <a:buFontTx/>
              <a:buNone/>
            </a:pPr>
            <a:r>
              <a:rPr lang="pl-PL" dirty="0"/>
              <a:t>Imię i nazwisko osoby prezentującej</a:t>
            </a:r>
          </a:p>
        </p:txBody>
      </p:sp>
      <p:sp>
        <p:nvSpPr>
          <p:cNvPr id="17" name="Symbol zastępczy tekstu 21"/>
          <p:cNvSpPr>
            <a:spLocks noGrp="1"/>
          </p:cNvSpPr>
          <p:nvPr>
            <p:ph type="body" sz="quarter" idx="22" hasCustomPrompt="1"/>
          </p:nvPr>
        </p:nvSpPr>
        <p:spPr>
          <a:xfrm>
            <a:off x="2241577" y="5949427"/>
            <a:ext cx="9755320" cy="168000"/>
          </a:xfr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lang="pl-PL" sz="1200" b="0" cap="none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80000"/>
              </a:lnSpc>
              <a:buNone/>
            </a:pPr>
            <a:r>
              <a:rPr lang="pl-PL" dirty="0"/>
              <a:t>Nazwa jednostki organizacyjnej</a:t>
            </a:r>
          </a:p>
        </p:txBody>
      </p:sp>
      <p:sp>
        <p:nvSpPr>
          <p:cNvPr id="19" name="Forme libre 16"/>
          <p:cNvSpPr/>
          <p:nvPr userDrawn="1"/>
        </p:nvSpPr>
        <p:spPr bwMode="gray">
          <a:xfrm>
            <a:off x="431802" y="333378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</p:spPr>
        <p:txBody>
          <a:bodyPr vert="horz" lIns="0" tIns="0" rIns="0" bIns="0" rtlCol="0" anchor="t" anchorCtr="0">
            <a:noAutofit/>
          </a:bodyPr>
          <a:lstStyle/>
          <a:p>
            <a:pPr lvl="0" defTabSz="91434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sz="3751" b="0" cap="all" baseline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2" name="Rectangle 9"/>
          <p:cNvSpPr/>
          <p:nvPr userDrawn="1"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2107127444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ona tytułowa z tł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orme libre 11"/>
          <p:cNvSpPr/>
          <p:nvPr/>
        </p:nvSpPr>
        <p:spPr>
          <a:xfrm>
            <a:off x="340800" y="32640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5864 h 4392000"/>
              <a:gd name="connsiteX5" fmla="*/ 8892000 w 8892000"/>
              <a:gd name="connsiteY5" fmla="*/ 4146136 h 4392000"/>
              <a:gd name="connsiteX6" fmla="*/ 8892000 w 8892000"/>
              <a:gd name="connsiteY6" fmla="*/ 4392000 h 4392000"/>
              <a:gd name="connsiteX7" fmla="*/ 8646136 w 8892000"/>
              <a:gd name="connsiteY7" fmla="*/ 4392000 h 4392000"/>
              <a:gd name="connsiteX8" fmla="*/ 5292000 w 8892000"/>
              <a:gd name="connsiteY8" fmla="*/ 4392000 h 4392000"/>
              <a:gd name="connsiteX9" fmla="*/ 245864 w 8892000"/>
              <a:gd name="connsiteY9" fmla="*/ 4392000 h 4392000"/>
              <a:gd name="connsiteX10" fmla="*/ 0 w 8892000"/>
              <a:gd name="connsiteY10" fmla="*/ 4146136 h 4392000"/>
              <a:gd name="connsiteX11" fmla="*/ 0 w 8892000"/>
              <a:gd name="connsiteY11" fmla="*/ 245864 h 4392000"/>
              <a:gd name="connsiteX12" fmla="*/ 245864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45864"/>
                </a:lnTo>
                <a:lnTo>
                  <a:pt x="8892000" y="4146136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rgbClr val="0095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 noProof="0"/>
          </a:p>
        </p:txBody>
      </p:sp>
      <p:sp>
        <p:nvSpPr>
          <p:cNvPr id="15" name="Forme libre 16"/>
          <p:cNvSpPr/>
          <p:nvPr/>
        </p:nvSpPr>
        <p:spPr bwMode="gray">
          <a:xfrm>
            <a:off x="431802" y="333378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</p:spPr>
        <p:txBody>
          <a:bodyPr vert="horz" lIns="0" tIns="0" rIns="0" bIns="0" rtlCol="0" anchor="t" anchorCtr="0">
            <a:noAutofit/>
          </a:bodyPr>
          <a:lstStyle/>
          <a:p>
            <a:pPr lvl="0" defTabSz="91434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sz="3751" b="0" cap="all" baseline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0" name="Forme libre 16"/>
          <p:cNvSpPr/>
          <p:nvPr/>
        </p:nvSpPr>
        <p:spPr bwMode="gray">
          <a:xfrm>
            <a:off x="431802" y="333378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</p:spPr>
        <p:txBody>
          <a:bodyPr vert="horz" lIns="0" tIns="0" rIns="0" bIns="0" rtlCol="0" anchor="t" anchorCtr="0">
            <a:noAutofit/>
          </a:bodyPr>
          <a:lstStyle/>
          <a:p>
            <a:pPr lvl="0" defTabSz="91434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sz="3751" b="0" cap="all" baseline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6" name="Espace réservé du texte 13"/>
          <p:cNvSpPr>
            <a:spLocks noGrp="1" noChangeAspect="1"/>
          </p:cNvSpPr>
          <p:nvPr>
            <p:ph type="body" sz="quarter" idx="17" hasCustomPrompt="1"/>
          </p:nvPr>
        </p:nvSpPr>
        <p:spPr bwMode="gray">
          <a:xfrm>
            <a:off x="5616000" y="1"/>
            <a:ext cx="960000" cy="823385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33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9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2241576" y="3979549"/>
            <a:ext cx="9755320" cy="1439999"/>
          </a:xfrm>
        </p:spPr>
        <p:txBody>
          <a:bodyPr tIns="180000" anchor="ctr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733" b="0" cap="all" baseline="0">
                <a:solidFill>
                  <a:schemeClr val="bg1"/>
                </a:solidFill>
              </a:defRPr>
            </a:lvl1pPr>
          </a:lstStyle>
          <a:p>
            <a:r>
              <a:rPr lang="pl-PL" noProof="0" dirty="0"/>
              <a:t>TYTUŁ PREZENTACJI</a:t>
            </a:r>
            <a:br>
              <a:rPr lang="pl-PL" noProof="0" dirty="0"/>
            </a:br>
            <a:r>
              <a:rPr lang="pl-PL" noProof="0" dirty="0"/>
              <a:t>– Slajd bez zdjęcia 2</a:t>
            </a:r>
          </a:p>
        </p:txBody>
      </p:sp>
      <p:sp>
        <p:nvSpPr>
          <p:cNvPr id="30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877091" y="4293096"/>
            <a:ext cx="192000" cy="912000"/>
          </a:xfrm>
          <a:prstGeom prst="roundRect">
            <a:avLst>
              <a:gd name="adj" fmla="val 13081"/>
            </a:avLst>
          </a:prstGeom>
          <a:solidFill>
            <a:schemeClr val="bg2"/>
          </a:solid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33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pic>
        <p:nvPicPr>
          <p:cNvPr id="17" name="Obraz 16" descr="CA_logo symetryczne 1L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8234" y="6281744"/>
            <a:ext cx="1519221" cy="480053"/>
          </a:xfrm>
          <a:prstGeom prst="rect">
            <a:avLst/>
          </a:prstGeom>
        </p:spPr>
      </p:pic>
      <p:sp>
        <p:nvSpPr>
          <p:cNvPr id="28" name="Rectangle 9"/>
          <p:cNvSpPr/>
          <p:nvPr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31" name="Espace réservé de la date 5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  <p:sp>
        <p:nvSpPr>
          <p:cNvPr id="32" name="Espace réservé du numéro de diapositive 6"/>
          <p:cNvSpPr>
            <a:spLocks noGrp="1"/>
          </p:cNvSpPr>
          <p:nvPr>
            <p:ph type="sldNum" sz="quarter" idx="11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33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13" name="Symbol zastępczy tekstu 2"/>
          <p:cNvSpPr>
            <a:spLocks noGrp="1"/>
          </p:cNvSpPr>
          <p:nvPr>
            <p:ph type="body" sz="quarter" idx="20" hasCustomPrompt="1"/>
          </p:nvPr>
        </p:nvSpPr>
        <p:spPr>
          <a:xfrm>
            <a:off x="2241577" y="5421687"/>
            <a:ext cx="9755320" cy="168000"/>
          </a:xfrm>
          <a:noFill/>
          <a:ln>
            <a:noFill/>
          </a:ln>
          <a:effectLst/>
        </p:spPr>
        <p:txBody>
          <a:bodyPr anchor="t"/>
          <a:lstStyle>
            <a:lvl1pPr marL="0" indent="0">
              <a:lnSpc>
                <a:spcPct val="80000"/>
              </a:lnSpc>
              <a:buFontTx/>
              <a:buNone/>
              <a:defRPr sz="1200" b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 marL="575986" indent="0">
              <a:buFontTx/>
              <a:buNone/>
              <a:defRPr sz="1600"/>
            </a:lvl2pPr>
            <a:lvl3pPr marL="1151971" indent="0">
              <a:buFontTx/>
              <a:buNone/>
              <a:defRPr sz="1600"/>
            </a:lvl3pPr>
            <a:lvl4pPr marL="1727957" indent="0">
              <a:buFontTx/>
              <a:buNone/>
              <a:defRPr sz="1600"/>
            </a:lvl4pPr>
            <a:lvl5pPr marL="2303942" indent="0">
              <a:buFontTx/>
              <a:buNone/>
              <a:defRPr sz="1600"/>
            </a:lvl5pPr>
          </a:lstStyle>
          <a:p>
            <a:pPr lvl="0"/>
            <a:r>
              <a:rPr lang="pl-PL" dirty="0"/>
              <a:t>Nazwa posiedzenia</a:t>
            </a:r>
          </a:p>
        </p:txBody>
      </p:sp>
      <p:sp>
        <p:nvSpPr>
          <p:cNvPr id="14" name="Symbol zastępczy tekstu 4"/>
          <p:cNvSpPr>
            <a:spLocks noGrp="1"/>
          </p:cNvSpPr>
          <p:nvPr>
            <p:ph type="body" sz="quarter" idx="18" hasCustomPrompt="1"/>
          </p:nvPr>
        </p:nvSpPr>
        <p:spPr>
          <a:xfrm>
            <a:off x="2241577" y="5598384"/>
            <a:ext cx="9755320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80000"/>
              </a:lnSpc>
              <a:buFontTx/>
              <a:buNone/>
              <a:defRPr lang="pl-PL" sz="1200" b="0" dirty="0" smtClean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>
              <a:defRPr lang="pl-PL" sz="1600" dirty="0" smtClean="0"/>
            </a:lvl2pPr>
            <a:lvl3pPr>
              <a:defRPr lang="pl-PL" sz="1600" dirty="0" smtClean="0"/>
            </a:lvl3pPr>
            <a:lvl4pPr>
              <a:defRPr lang="pl-PL" sz="1600" dirty="0" smtClean="0"/>
            </a:lvl4pPr>
            <a:lvl5pPr>
              <a:defRPr lang="pl-PL" sz="1600" dirty="0"/>
            </a:lvl5pPr>
          </a:lstStyle>
          <a:p>
            <a:pPr marL="0" lvl="0" indent="0">
              <a:buFontTx/>
              <a:buNone/>
            </a:pPr>
            <a:r>
              <a:rPr lang="pl-PL" dirty="0"/>
              <a:t>Data posiedzenia</a:t>
            </a:r>
          </a:p>
        </p:txBody>
      </p:sp>
      <p:sp>
        <p:nvSpPr>
          <p:cNvPr id="16" name="Symbol zastępczy tekstu 19"/>
          <p:cNvSpPr>
            <a:spLocks noGrp="1"/>
          </p:cNvSpPr>
          <p:nvPr>
            <p:ph type="body" sz="quarter" idx="21" hasCustomPrompt="1"/>
          </p:nvPr>
        </p:nvSpPr>
        <p:spPr>
          <a:xfrm>
            <a:off x="2241578" y="5774945"/>
            <a:ext cx="9755319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80000"/>
              </a:lnSpc>
              <a:buFontTx/>
              <a:buNone/>
              <a:defRPr lang="pl-PL" sz="1200" b="0" smtClean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>
              <a:defRPr lang="pl-PL" sz="1600" smtClean="0"/>
            </a:lvl2pPr>
            <a:lvl3pPr>
              <a:defRPr lang="pl-PL" sz="1600" smtClean="0"/>
            </a:lvl3pPr>
            <a:lvl4pPr>
              <a:defRPr lang="pl-PL" sz="1600" smtClean="0"/>
            </a:lvl4pPr>
            <a:lvl5pPr>
              <a:defRPr lang="pl-PL" sz="1600"/>
            </a:lvl5pPr>
          </a:lstStyle>
          <a:p>
            <a:pPr marL="0" lvl="0" indent="0">
              <a:buFontTx/>
              <a:buNone/>
            </a:pPr>
            <a:r>
              <a:rPr lang="pl-PL" dirty="0"/>
              <a:t>Imię i nazwisko osoby prezentującej</a:t>
            </a:r>
          </a:p>
        </p:txBody>
      </p:sp>
      <p:sp>
        <p:nvSpPr>
          <p:cNvPr id="18" name="Symbol zastępczy tekstu 21"/>
          <p:cNvSpPr>
            <a:spLocks noGrp="1"/>
          </p:cNvSpPr>
          <p:nvPr>
            <p:ph type="body" sz="quarter" idx="22" hasCustomPrompt="1"/>
          </p:nvPr>
        </p:nvSpPr>
        <p:spPr>
          <a:xfrm>
            <a:off x="2241577" y="5949427"/>
            <a:ext cx="9755320" cy="168000"/>
          </a:xfr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lang="pl-PL" sz="1200" b="0" cap="none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80000"/>
              </a:lnSpc>
              <a:buNone/>
            </a:pPr>
            <a:r>
              <a:rPr lang="pl-PL" dirty="0"/>
              <a:t>Nazwa jednostki organizacyjnej</a:t>
            </a:r>
          </a:p>
        </p:txBody>
      </p:sp>
      <p:sp>
        <p:nvSpPr>
          <p:cNvPr id="21" name="Forme libre 16"/>
          <p:cNvSpPr/>
          <p:nvPr userDrawn="1"/>
        </p:nvSpPr>
        <p:spPr bwMode="gray">
          <a:xfrm>
            <a:off x="431802" y="333378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</p:spPr>
        <p:txBody>
          <a:bodyPr vert="horz" lIns="0" tIns="0" rIns="0" bIns="0" rtlCol="0" anchor="t" anchorCtr="0">
            <a:noAutofit/>
          </a:bodyPr>
          <a:lstStyle/>
          <a:p>
            <a:pPr lvl="0" defTabSz="91434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sz="3751" b="0" cap="all" baseline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4" name="Rectangle 9"/>
          <p:cNvSpPr/>
          <p:nvPr userDrawn="1"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2205518567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ona przekładkow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rme libre 6"/>
          <p:cNvSpPr/>
          <p:nvPr/>
        </p:nvSpPr>
        <p:spPr>
          <a:xfrm>
            <a:off x="340800" y="32640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5864 h 4392000"/>
              <a:gd name="connsiteX5" fmla="*/ 8892000 w 8892000"/>
              <a:gd name="connsiteY5" fmla="*/ 4146136 h 4392000"/>
              <a:gd name="connsiteX6" fmla="*/ 8892000 w 8892000"/>
              <a:gd name="connsiteY6" fmla="*/ 4392000 h 4392000"/>
              <a:gd name="connsiteX7" fmla="*/ 8646136 w 8892000"/>
              <a:gd name="connsiteY7" fmla="*/ 4392000 h 4392000"/>
              <a:gd name="connsiteX8" fmla="*/ 5292000 w 8892000"/>
              <a:gd name="connsiteY8" fmla="*/ 4392000 h 4392000"/>
              <a:gd name="connsiteX9" fmla="*/ 245864 w 8892000"/>
              <a:gd name="connsiteY9" fmla="*/ 4392000 h 4392000"/>
              <a:gd name="connsiteX10" fmla="*/ 0 w 8892000"/>
              <a:gd name="connsiteY10" fmla="*/ 4146136 h 4392000"/>
              <a:gd name="connsiteX11" fmla="*/ 0 w 8892000"/>
              <a:gd name="connsiteY11" fmla="*/ 245864 h 4392000"/>
              <a:gd name="connsiteX12" fmla="*/ 245864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45864"/>
                </a:lnTo>
                <a:lnTo>
                  <a:pt x="8892000" y="4146136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rgbClr val="0095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786911" y="514352"/>
            <a:ext cx="7816499" cy="5511800"/>
          </a:xfrm>
        </p:spPr>
        <p:txBody>
          <a:bodyPr anchor="ctr" anchorCtr="0"/>
          <a:lstStyle>
            <a:lvl1pPr>
              <a:defRPr sz="3733" b="0" cap="all" baseline="0">
                <a:solidFill>
                  <a:schemeClr val="bg1"/>
                </a:solidFill>
              </a:defRPr>
            </a:lvl1pPr>
          </a:lstStyle>
          <a:p>
            <a:r>
              <a:rPr lang="pl-PL" noProof="0" dirty="0"/>
              <a:t>Slajd przekładkowy</a:t>
            </a:r>
          </a:p>
        </p:txBody>
      </p:sp>
      <p:sp>
        <p:nvSpPr>
          <p:cNvPr id="11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r>
              <a:rPr lang="pl-PL"/>
              <a:t>29.09.2017</a:t>
            </a:r>
            <a:endParaRPr lang="fr-FR"/>
          </a:p>
        </p:txBody>
      </p:sp>
      <p:sp>
        <p:nvSpPr>
          <p:cNvPr id="12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18678977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i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i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r>
              <a:rPr lang="pl-PL"/>
              <a:t>29.09.2017</a:t>
            </a:r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7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3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rgbClr val="008789"/>
                </a:solidFill>
              </a:rPr>
              <a:t>Tytuł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629833"/>
            <a:ext cx="10835216" cy="4438651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</p:spTree>
    <p:extLst>
      <p:ext uri="{BB962C8B-B14F-4D97-AF65-F5344CB8AC3E}">
        <p14:creationId xmlns:p14="http://schemas.microsoft.com/office/powerpoint/2010/main" val="375633400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ajd z tekstem 2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r>
              <a:rPr lang="pl-PL"/>
              <a:t>29.09.2017</a:t>
            </a:r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7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3582"/>
            <a:ext cx="10824633" cy="1295399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rgbClr val="008789"/>
                </a:solidFill>
              </a:rPr>
              <a:t>Tytuł </a:t>
            </a:r>
            <a:br>
              <a:rPr lang="pl-PL" dirty="0">
                <a:solidFill>
                  <a:srgbClr val="008789"/>
                </a:solidFill>
              </a:rPr>
            </a:br>
            <a:r>
              <a:rPr lang="pl-PL" dirty="0">
                <a:solidFill>
                  <a:srgbClr val="008789"/>
                </a:solidFill>
              </a:rPr>
              <a:t>na dwie linie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2108985"/>
            <a:ext cx="10835216" cy="3959499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</p:spTree>
    <p:extLst>
      <p:ext uri="{BB962C8B-B14F-4D97-AF65-F5344CB8AC3E}">
        <p14:creationId xmlns:p14="http://schemas.microsoft.com/office/powerpoint/2010/main" val="14996738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Espace réservé du contenu 26"/>
          <p:cNvSpPr>
            <a:spLocks noGrp="1"/>
          </p:cNvSpPr>
          <p:nvPr>
            <p:ph sz="quarter" idx="10"/>
          </p:nvPr>
        </p:nvSpPr>
        <p:spPr>
          <a:xfrm>
            <a:off x="729843" y="1433519"/>
            <a:ext cx="10599773" cy="4467843"/>
          </a:xfrm>
          <a:prstGeom prst="rect">
            <a:avLst/>
          </a:prstGeom>
        </p:spPr>
        <p:txBody>
          <a:bodyPr vert="horz"/>
          <a:lstStyle>
            <a:lvl1pPr marL="198000" indent="-198000">
              <a:buClr>
                <a:srgbClr val="009B5E"/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525600" indent="-212400">
              <a:buClr>
                <a:srgbClr val="76B82A"/>
              </a:buClr>
              <a:buFont typeface="Arial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820800" indent="-194400">
              <a:buClr>
                <a:srgbClr val="00B6ED"/>
              </a:buClr>
              <a:buFont typeface="Arial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242000" indent="-194400">
              <a:buClr>
                <a:srgbClr val="9D90B2"/>
              </a:buClr>
              <a:buFont typeface="Arial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555200" indent="-194400">
              <a:buClr>
                <a:srgbClr val="D51C6A"/>
              </a:buClr>
              <a:buFont typeface="Arial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447779798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r>
              <a:rPr lang="pl-PL"/>
              <a:t>29.09.2017</a:t>
            </a:r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962383"/>
            <a:ext cx="10835216" cy="4106100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924311" y="1457657"/>
            <a:ext cx="10801351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063639465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3 - dwie kolum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r>
              <a:rPr lang="pl-PL"/>
              <a:t>29.09.2017</a:t>
            </a:r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962383"/>
            <a:ext cx="10835216" cy="4106100"/>
          </a:xfrm>
        </p:spPr>
        <p:txBody>
          <a:bodyPr numCol="2" spcCol="180000"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924311" y="1457657"/>
            <a:ext cx="10801351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696239777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r>
              <a:rPr lang="pl-PL"/>
              <a:t>29.09.2017</a:t>
            </a:r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962383"/>
            <a:ext cx="5291019" cy="4106100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924312" y="1457657"/>
            <a:ext cx="5291691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 1</a:t>
            </a:r>
            <a:endParaRPr lang="pl-PL" dirty="0"/>
          </a:p>
        </p:txBody>
      </p:sp>
      <p:sp>
        <p:nvSpPr>
          <p:cNvPr id="8" name="Symbol zastępczy zawartości 2"/>
          <p:cNvSpPr>
            <a:spLocks noGrp="1"/>
          </p:cNvSpPr>
          <p:nvPr>
            <p:ph sz="quarter" idx="15" hasCustomPrompt="1"/>
          </p:nvPr>
        </p:nvSpPr>
        <p:spPr>
          <a:xfrm>
            <a:off x="6464429" y="1962383"/>
            <a:ext cx="5291019" cy="4106100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13" name="Symbol zastępczy zawartości 4"/>
          <p:cNvSpPr>
            <a:spLocks noGrp="1"/>
          </p:cNvSpPr>
          <p:nvPr>
            <p:ph sz="quarter" idx="16" hasCustomPrompt="1"/>
          </p:nvPr>
        </p:nvSpPr>
        <p:spPr>
          <a:xfrm>
            <a:off x="6463757" y="1457657"/>
            <a:ext cx="5291691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 1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31754308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y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r>
              <a:rPr lang="pl-PL"/>
              <a:t>29.09.2017</a:t>
            </a:r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18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3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Cytat</a:t>
            </a:r>
          </a:p>
        </p:txBody>
      </p:sp>
      <p:pic>
        <p:nvPicPr>
          <p:cNvPr id="21" name="Obraz 20">
            <a:extLst>
              <a:ext uri="{FF2B5EF4-FFF2-40B4-BE49-F238E27FC236}">
                <a16:creationId xmlns:a16="http://schemas.microsoft.com/office/drawing/2014/main" id="{51216647-0973-469E-890C-D049E1B0532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39343" y="2063798"/>
            <a:ext cx="390099" cy="1710429"/>
          </a:xfrm>
          <a:prstGeom prst="rect">
            <a:avLst/>
          </a:prstGeom>
        </p:spPr>
      </p:pic>
      <p:sp>
        <p:nvSpPr>
          <p:cNvPr id="3" name="Symbol zastępczy zawartości 2"/>
          <p:cNvSpPr>
            <a:spLocks noGrp="1"/>
          </p:cNvSpPr>
          <p:nvPr>
            <p:ph sz="quarter" idx="14" hasCustomPrompt="1"/>
          </p:nvPr>
        </p:nvSpPr>
        <p:spPr>
          <a:xfrm>
            <a:off x="2237317" y="2063751"/>
            <a:ext cx="9499600" cy="1710267"/>
          </a:xfrm>
        </p:spPr>
        <p:txBody>
          <a:bodyPr/>
          <a:lstStyle>
            <a:lvl1pPr marL="0" indent="0">
              <a:buNone/>
              <a:defRPr sz="3733" b="0" i="1">
                <a:solidFill>
                  <a:srgbClr val="009597"/>
                </a:solidFill>
              </a:defRPr>
            </a:lvl1pPr>
          </a:lstStyle>
          <a:p>
            <a:pPr lvl="0"/>
            <a:r>
              <a:rPr lang="pl-PL" dirty="0" err="1"/>
              <a:t>Lorem</a:t>
            </a:r>
            <a:r>
              <a:rPr lang="pl-PL" dirty="0"/>
              <a:t> </a:t>
            </a:r>
            <a:r>
              <a:rPr lang="pl-PL" dirty="0" err="1"/>
              <a:t>ipsum</a:t>
            </a:r>
            <a:r>
              <a:rPr lang="pl-PL" dirty="0"/>
              <a:t> </a:t>
            </a:r>
            <a:r>
              <a:rPr lang="pl-PL" dirty="0" err="1"/>
              <a:t>dolor</a:t>
            </a:r>
            <a:r>
              <a:rPr lang="pl-PL" dirty="0"/>
              <a:t> sit </a:t>
            </a:r>
            <a:r>
              <a:rPr lang="pl-PL" dirty="0" err="1"/>
              <a:t>amet</a:t>
            </a:r>
            <a:r>
              <a:rPr lang="pl-PL" dirty="0"/>
              <a:t>, </a:t>
            </a:r>
            <a:r>
              <a:rPr lang="pl-PL" dirty="0" err="1"/>
              <a:t>consectetur</a:t>
            </a:r>
            <a:r>
              <a:rPr lang="pl-PL" dirty="0"/>
              <a:t> </a:t>
            </a:r>
            <a:r>
              <a:rPr lang="pl-PL" dirty="0" err="1"/>
              <a:t>adipiscing</a:t>
            </a:r>
            <a:r>
              <a:rPr lang="pl-PL" dirty="0"/>
              <a:t> elit, </a:t>
            </a:r>
            <a:r>
              <a:rPr lang="pl-PL" dirty="0" err="1"/>
              <a:t>sed</a:t>
            </a:r>
            <a:r>
              <a:rPr lang="pl-PL" dirty="0"/>
              <a:t> do </a:t>
            </a:r>
            <a:r>
              <a:rPr lang="pl-PL" dirty="0" err="1"/>
              <a:t>eiusmod</a:t>
            </a:r>
            <a:r>
              <a:rPr lang="pl-PL" dirty="0"/>
              <a:t> </a:t>
            </a:r>
            <a:r>
              <a:rPr lang="pl-PL" dirty="0" err="1"/>
              <a:t>tempor</a:t>
            </a:r>
            <a:r>
              <a:rPr lang="pl-PL" dirty="0"/>
              <a:t> </a:t>
            </a:r>
            <a:r>
              <a:rPr lang="pl-PL" dirty="0" err="1"/>
              <a:t>incididunt</a:t>
            </a:r>
            <a:r>
              <a:rPr lang="pl-PL" dirty="0"/>
              <a:t> </a:t>
            </a:r>
            <a:r>
              <a:rPr lang="pl-PL" dirty="0" err="1"/>
              <a:t>ut</a:t>
            </a:r>
            <a:r>
              <a:rPr lang="pl-PL" dirty="0"/>
              <a:t> </a:t>
            </a:r>
            <a:r>
              <a:rPr lang="pl-PL" dirty="0" err="1"/>
              <a:t>labore</a:t>
            </a:r>
            <a:r>
              <a:rPr lang="pl-PL" dirty="0"/>
              <a:t> et </a:t>
            </a:r>
            <a:r>
              <a:rPr lang="pl-PL" dirty="0" err="1"/>
              <a:t>dolore</a:t>
            </a:r>
            <a:r>
              <a:rPr lang="pl-PL" dirty="0"/>
              <a:t> </a:t>
            </a:r>
            <a:r>
              <a:rPr lang="pl-PL" dirty="0" err="1"/>
              <a:t>magna</a:t>
            </a:r>
            <a:r>
              <a:rPr lang="pl-PL" dirty="0"/>
              <a:t> </a:t>
            </a:r>
            <a:r>
              <a:rPr lang="pl-PL" dirty="0" err="1"/>
              <a:t>aliqua</a:t>
            </a:r>
            <a:endParaRPr lang="pl-PL" dirty="0"/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5" hasCustomPrompt="1"/>
          </p:nvPr>
        </p:nvSpPr>
        <p:spPr>
          <a:xfrm>
            <a:off x="2236597" y="4411361"/>
            <a:ext cx="9457267" cy="1176867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 err="1"/>
              <a:t>Lorem</a:t>
            </a:r>
            <a:r>
              <a:rPr lang="pl-PL" dirty="0"/>
              <a:t> </a:t>
            </a:r>
            <a:r>
              <a:rPr lang="pl-PL" dirty="0" err="1"/>
              <a:t>ipsum</a:t>
            </a:r>
            <a:endParaRPr lang="pl-PL" dirty="0"/>
          </a:p>
          <a:p>
            <a:pPr lvl="0"/>
            <a:r>
              <a:rPr lang="pl-PL" dirty="0" err="1"/>
              <a:t>Lorem</a:t>
            </a:r>
            <a:r>
              <a:rPr lang="pl-PL" dirty="0"/>
              <a:t> </a:t>
            </a:r>
            <a:r>
              <a:rPr lang="pl-PL" dirty="0" err="1"/>
              <a:t>ipsum</a:t>
            </a:r>
            <a:r>
              <a:rPr lang="pl-PL" dirty="0"/>
              <a:t> </a:t>
            </a:r>
            <a:r>
              <a:rPr lang="pl-PL" dirty="0" err="1"/>
              <a:t>dolor</a:t>
            </a:r>
            <a:r>
              <a:rPr lang="pl-PL" dirty="0"/>
              <a:t> sit </a:t>
            </a:r>
            <a:r>
              <a:rPr lang="pl-PL" dirty="0" err="1"/>
              <a:t>amet</a:t>
            </a:r>
            <a:r>
              <a:rPr lang="pl-PL" dirty="0"/>
              <a:t>, </a:t>
            </a:r>
            <a:r>
              <a:rPr lang="pl-PL" dirty="0" err="1"/>
              <a:t>consectetur</a:t>
            </a:r>
            <a:r>
              <a:rPr lang="pl-PL" dirty="0"/>
              <a:t> </a:t>
            </a:r>
            <a:r>
              <a:rPr lang="pl-PL" dirty="0" err="1"/>
              <a:t>adipiscing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539698824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e zdjęcie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r>
              <a:rPr lang="pl-PL"/>
              <a:t>29.09.2017</a:t>
            </a:r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962384"/>
            <a:ext cx="4931013" cy="3746643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924311" y="1457657"/>
            <a:ext cx="4931687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  <p:sp>
        <p:nvSpPr>
          <p:cNvPr id="8" name="Symbol zastępczy obrazu 4"/>
          <p:cNvSpPr>
            <a:spLocks noGrp="1"/>
          </p:cNvSpPr>
          <p:nvPr>
            <p:ph type="pic" sz="quarter" idx="15" hasCustomPrompt="1"/>
          </p:nvPr>
        </p:nvSpPr>
        <p:spPr>
          <a:xfrm>
            <a:off x="6032501" y="1454151"/>
            <a:ext cx="5727700" cy="4254875"/>
          </a:xfrm>
        </p:spPr>
        <p:txBody>
          <a:bodyPr/>
          <a:lstStyle>
            <a:lvl1pPr marL="0" indent="0" algn="ctr">
              <a:buFontTx/>
              <a:buNone/>
              <a:defRPr b="0">
                <a:solidFill>
                  <a:schemeClr val="accent3"/>
                </a:solidFill>
              </a:defRPr>
            </a:lvl1pPr>
          </a:lstStyle>
          <a:p>
            <a:r>
              <a:rPr lang="pl-PL" dirty="0"/>
              <a:t>Wstaw obraz</a:t>
            </a:r>
          </a:p>
        </p:txBody>
      </p:sp>
    </p:spTree>
    <p:extLst>
      <p:ext uri="{BB962C8B-B14F-4D97-AF65-F5344CB8AC3E}">
        <p14:creationId xmlns:p14="http://schemas.microsoft.com/office/powerpoint/2010/main" val="2541230947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e zdjęci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r>
              <a:rPr lang="pl-PL"/>
              <a:t>29.09.2017</a:t>
            </a:r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6829187" y="1962384"/>
            <a:ext cx="4931013" cy="3866643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6828514" y="1457657"/>
            <a:ext cx="4931687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  <p:sp>
        <p:nvSpPr>
          <p:cNvPr id="8" name="Symbol zastępczy obrazu 4"/>
          <p:cNvSpPr>
            <a:spLocks noGrp="1"/>
          </p:cNvSpPr>
          <p:nvPr>
            <p:ph type="pic" sz="quarter" idx="15" hasCustomPrompt="1"/>
          </p:nvPr>
        </p:nvSpPr>
        <p:spPr>
          <a:xfrm>
            <a:off x="944105" y="1454150"/>
            <a:ext cx="5511900" cy="4374876"/>
          </a:xfrm>
        </p:spPr>
        <p:txBody>
          <a:bodyPr/>
          <a:lstStyle>
            <a:lvl1pPr marL="0" indent="0" algn="ctr">
              <a:buFontTx/>
              <a:buNone/>
              <a:defRPr b="0">
                <a:solidFill>
                  <a:schemeClr val="accent3"/>
                </a:solidFill>
              </a:defRPr>
            </a:lvl1pPr>
          </a:lstStyle>
          <a:p>
            <a:r>
              <a:rPr lang="pl-PL" dirty="0"/>
              <a:t>Wstaw obraz</a:t>
            </a:r>
          </a:p>
        </p:txBody>
      </p:sp>
    </p:spTree>
    <p:extLst>
      <p:ext uri="{BB962C8B-B14F-4D97-AF65-F5344CB8AC3E}">
        <p14:creationId xmlns:p14="http://schemas.microsoft.com/office/powerpoint/2010/main" val="2082077149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Strona zamykająca 2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15127" y="5255491"/>
            <a:ext cx="7952509" cy="1089891"/>
          </a:xfrm>
          <a:prstGeom prst="rect">
            <a:avLst/>
          </a:prstGeom>
        </p:spPr>
      </p:pic>
      <p:sp>
        <p:nvSpPr>
          <p:cNvPr id="12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40338461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rona zamykając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24364" y="5273964"/>
            <a:ext cx="7961745" cy="1071419"/>
          </a:xfrm>
          <a:prstGeom prst="rect">
            <a:avLst/>
          </a:prstGeom>
        </p:spPr>
      </p:pic>
      <p:sp>
        <p:nvSpPr>
          <p:cNvPr id="13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86665429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pis treści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D263993-096B-4674-8A57-D5914F71D4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D263993-096B-4674-8A57-D5914F71D4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orme libre 9"/>
          <p:cNvSpPr/>
          <p:nvPr userDrawn="1"/>
        </p:nvSpPr>
        <p:spPr>
          <a:xfrm>
            <a:off x="340800" y="32640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5864 h 4392000"/>
              <a:gd name="connsiteX5" fmla="*/ 8892000 w 8892000"/>
              <a:gd name="connsiteY5" fmla="*/ 4146136 h 4392000"/>
              <a:gd name="connsiteX6" fmla="*/ 8892000 w 8892000"/>
              <a:gd name="connsiteY6" fmla="*/ 4392000 h 4392000"/>
              <a:gd name="connsiteX7" fmla="*/ 8646136 w 8892000"/>
              <a:gd name="connsiteY7" fmla="*/ 4392000 h 4392000"/>
              <a:gd name="connsiteX8" fmla="*/ 5292000 w 8892000"/>
              <a:gd name="connsiteY8" fmla="*/ 4392000 h 4392000"/>
              <a:gd name="connsiteX9" fmla="*/ 245864 w 8892000"/>
              <a:gd name="connsiteY9" fmla="*/ 4392000 h 4392000"/>
              <a:gd name="connsiteX10" fmla="*/ 0 w 8892000"/>
              <a:gd name="connsiteY10" fmla="*/ 4146136 h 4392000"/>
              <a:gd name="connsiteX11" fmla="*/ 0 w 8892000"/>
              <a:gd name="connsiteY11" fmla="*/ 245864 h 4392000"/>
              <a:gd name="connsiteX12" fmla="*/ 245864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45864"/>
                </a:lnTo>
                <a:lnTo>
                  <a:pt x="8892000" y="4146136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rgbClr val="00878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675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Espace réservé du pied de page 4"/>
          <p:cNvSpPr txBox="1">
            <a:spLocks/>
          </p:cNvSpPr>
          <p:nvPr userDrawn="1"/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800" kern="1200" cap="all" baseline="0">
                <a:solidFill>
                  <a:schemeClr val="tx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1200" cap="all" spc="0" normalizeH="0" baseline="0" noProof="0">
              <a:ln>
                <a:noFill/>
              </a:ln>
              <a:solidFill>
                <a:srgbClr val="000000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Espace réservé du numéro de diapositive 5"/>
          <p:cNvSpPr txBox="1">
            <a:spLocks/>
          </p:cNvSpPr>
          <p:nvPr userDrawn="1"/>
        </p:nvSpPr>
        <p:spPr bwMode="gray">
          <a:xfrm>
            <a:off x="2040940" y="6480335"/>
            <a:ext cx="391321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733" b="0" kern="1200" cap="none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571E2A-2AE4-4AE9-A5FF-468BE27EC277}" type="slidenum">
              <a:rPr kumimoji="0" lang="fr-FR" sz="733" b="0" i="0" u="none" strike="noStrike" kern="1200" cap="none" spc="0" normalizeH="0" baseline="0" noProof="0" smtClean="0">
                <a:ln>
                  <a:noFill/>
                </a:ln>
                <a:solidFill>
                  <a:srgbClr val="7E93A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4675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fr-FR" sz="733" b="0" i="0" u="none" strike="noStrike" kern="1200" cap="none" spc="0" normalizeH="0" baseline="0" noProof="0">
              <a:ln>
                <a:noFill/>
              </a:ln>
              <a:solidFill>
                <a:srgbClr val="7E93A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786912" y="514352"/>
            <a:ext cx="7816499" cy="5511800"/>
          </a:xfrm>
        </p:spPr>
        <p:txBody>
          <a:bodyPr anchor="ctr" anchorCtr="0"/>
          <a:lstStyle>
            <a:lvl1pPr>
              <a:defRPr sz="4000" b="0" cap="all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pl-PL" noProof="0" dirty="0"/>
              <a:t>Slajd przekładkowy WARIANT 1</a:t>
            </a:r>
          </a:p>
        </p:txBody>
      </p:sp>
    </p:spTree>
    <p:extLst>
      <p:ext uri="{BB962C8B-B14F-4D97-AF65-F5344CB8AC3E}">
        <p14:creationId xmlns:p14="http://schemas.microsoft.com/office/powerpoint/2010/main" val="3072871962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E469AE0-6A11-4B2F-B7B3-7AD9F72B3C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E469AE0-6A11-4B2F-B7B3-7AD9F72B3C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Espace réservé du pied de page 4"/>
          <p:cNvSpPr txBox="1">
            <a:spLocks/>
          </p:cNvSpPr>
          <p:nvPr userDrawn="1"/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800" kern="1200" cap="all" baseline="0">
                <a:solidFill>
                  <a:schemeClr val="tx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rgbClr val="000000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Espace réservé du numéro de diapositive 5"/>
          <p:cNvSpPr txBox="1">
            <a:spLocks/>
          </p:cNvSpPr>
          <p:nvPr userDrawn="1"/>
        </p:nvSpPr>
        <p:spPr bwMode="gray">
          <a:xfrm>
            <a:off x="2040940" y="6480335"/>
            <a:ext cx="391321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733" b="0" kern="1200" cap="none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571E2A-2AE4-4AE9-A5FF-468BE27EC277}" type="slidenum">
              <a:rPr kumimoji="0" lang="en-GB" sz="733" b="0" i="0" u="none" strike="noStrike" kern="1200" cap="none" spc="0" normalizeH="0" baseline="0" noProof="0" smtClean="0">
                <a:ln>
                  <a:noFill/>
                </a:ln>
                <a:solidFill>
                  <a:srgbClr val="7E93A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4675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en-GB" sz="733" b="0" i="0" u="none" strike="noStrike" kern="1200" cap="none" spc="0" normalizeH="0" baseline="0" noProof="0" dirty="0">
              <a:ln>
                <a:noFill/>
              </a:ln>
              <a:solidFill>
                <a:srgbClr val="7E93A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Forme libre 32"/>
          <p:cNvSpPr/>
          <p:nvPr userDrawn="1"/>
        </p:nvSpPr>
        <p:spPr>
          <a:xfrm>
            <a:off x="340220" y="32502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1960 h 4392000"/>
              <a:gd name="connsiteX5" fmla="*/ 8844375 w 8892000"/>
              <a:gd name="connsiteY5" fmla="*/ 21960 h 4392000"/>
              <a:gd name="connsiteX6" fmla="*/ 8600970 w 8892000"/>
              <a:gd name="connsiteY6" fmla="*/ 21960 h 4392000"/>
              <a:gd name="connsiteX7" fmla="*/ 5824949 w 8892000"/>
              <a:gd name="connsiteY7" fmla="*/ 21960 h 4392000"/>
              <a:gd name="connsiteX8" fmla="*/ 5280375 w 8892000"/>
              <a:gd name="connsiteY8" fmla="*/ 21960 h 4392000"/>
              <a:gd name="connsiteX9" fmla="*/ 284701 w 8892000"/>
              <a:gd name="connsiteY9" fmla="*/ 21960 h 4392000"/>
              <a:gd name="connsiteX10" fmla="*/ 41295 w 8892000"/>
              <a:gd name="connsiteY10" fmla="*/ 265365 h 4392000"/>
              <a:gd name="connsiteX11" fmla="*/ 41295 w 8892000"/>
              <a:gd name="connsiteY11" fmla="*/ 4126635 h 4392000"/>
              <a:gd name="connsiteX12" fmla="*/ 284701 w 8892000"/>
              <a:gd name="connsiteY12" fmla="*/ 4370040 h 4392000"/>
              <a:gd name="connsiteX13" fmla="*/ 5280375 w 8892000"/>
              <a:gd name="connsiteY13" fmla="*/ 4370040 h 4392000"/>
              <a:gd name="connsiteX14" fmla="*/ 5824949 w 8892000"/>
              <a:gd name="connsiteY14" fmla="*/ 4370040 h 4392000"/>
              <a:gd name="connsiteX15" fmla="*/ 5824949 w 8892000"/>
              <a:gd name="connsiteY15" fmla="*/ 4370760 h 4392000"/>
              <a:gd name="connsiteX16" fmla="*/ 8892000 w 8892000"/>
              <a:gd name="connsiteY16" fmla="*/ 4370760 h 4392000"/>
              <a:gd name="connsiteX17" fmla="*/ 8892000 w 8892000"/>
              <a:gd name="connsiteY17" fmla="*/ 4392000 h 4392000"/>
              <a:gd name="connsiteX18" fmla="*/ 8646136 w 8892000"/>
              <a:gd name="connsiteY18" fmla="*/ 4392000 h 4392000"/>
              <a:gd name="connsiteX19" fmla="*/ 5292000 w 8892000"/>
              <a:gd name="connsiteY19" fmla="*/ 4392000 h 4392000"/>
              <a:gd name="connsiteX20" fmla="*/ 245864 w 8892000"/>
              <a:gd name="connsiteY20" fmla="*/ 4392000 h 4392000"/>
              <a:gd name="connsiteX21" fmla="*/ 0 w 8892000"/>
              <a:gd name="connsiteY21" fmla="*/ 4146136 h 4392000"/>
              <a:gd name="connsiteX22" fmla="*/ 0 w 8892000"/>
              <a:gd name="connsiteY22" fmla="*/ 245864 h 4392000"/>
              <a:gd name="connsiteX23" fmla="*/ 245864 w 8892000"/>
              <a:gd name="connsiteY23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1960"/>
                </a:lnTo>
                <a:lnTo>
                  <a:pt x="8844375" y="21960"/>
                </a:lnTo>
                <a:lnTo>
                  <a:pt x="8600970" y="21960"/>
                </a:lnTo>
                <a:lnTo>
                  <a:pt x="5824949" y="21960"/>
                </a:lnTo>
                <a:lnTo>
                  <a:pt x="5280375" y="21960"/>
                </a:lnTo>
                <a:lnTo>
                  <a:pt x="284701" y="21960"/>
                </a:lnTo>
                <a:cubicBezTo>
                  <a:pt x="150271" y="21960"/>
                  <a:pt x="41295" y="130936"/>
                  <a:pt x="41295" y="265365"/>
                </a:cubicBezTo>
                <a:lnTo>
                  <a:pt x="41295" y="4126635"/>
                </a:lnTo>
                <a:cubicBezTo>
                  <a:pt x="41295" y="4261064"/>
                  <a:pt x="150271" y="4370040"/>
                  <a:pt x="284701" y="4370040"/>
                </a:cubicBezTo>
                <a:lnTo>
                  <a:pt x="5280375" y="4370040"/>
                </a:lnTo>
                <a:lnTo>
                  <a:pt x="5824949" y="4370040"/>
                </a:lnTo>
                <a:lnTo>
                  <a:pt x="5824949" y="4370760"/>
                </a:lnTo>
                <a:lnTo>
                  <a:pt x="8892000" y="4370760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rgbClr val="7E93A5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675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60401" y="457201"/>
            <a:ext cx="11034187" cy="919537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3200">
                <a:solidFill>
                  <a:schemeClr val="tx2"/>
                </a:solidFill>
              </a:defRPr>
            </a:lvl1pPr>
          </a:lstStyle>
          <a:p>
            <a:pPr indent="0">
              <a:lnSpc>
                <a:spcPct val="100000"/>
              </a:lnSpc>
              <a:spcAft>
                <a:spcPts val="0"/>
              </a:spcAft>
            </a:pPr>
            <a:r>
              <a:rPr lang="en-GB" dirty="0"/>
              <a:t>Click to add title</a:t>
            </a:r>
          </a:p>
          <a:p>
            <a:pPr indent="0">
              <a:lnSpc>
                <a:spcPct val="100000"/>
              </a:lnSpc>
              <a:spcAft>
                <a:spcPts val="0"/>
              </a:spcAft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976540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uverture fond u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rme libre 11"/>
          <p:cNvSpPr/>
          <p:nvPr/>
        </p:nvSpPr>
        <p:spPr>
          <a:xfrm>
            <a:off x="340800" y="32640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5864 h 4392000"/>
              <a:gd name="connsiteX5" fmla="*/ 8892000 w 8892000"/>
              <a:gd name="connsiteY5" fmla="*/ 4146136 h 4392000"/>
              <a:gd name="connsiteX6" fmla="*/ 8892000 w 8892000"/>
              <a:gd name="connsiteY6" fmla="*/ 4392000 h 4392000"/>
              <a:gd name="connsiteX7" fmla="*/ 8646136 w 8892000"/>
              <a:gd name="connsiteY7" fmla="*/ 4392000 h 4392000"/>
              <a:gd name="connsiteX8" fmla="*/ 5292000 w 8892000"/>
              <a:gd name="connsiteY8" fmla="*/ 4392000 h 4392000"/>
              <a:gd name="connsiteX9" fmla="*/ 245864 w 8892000"/>
              <a:gd name="connsiteY9" fmla="*/ 4392000 h 4392000"/>
              <a:gd name="connsiteX10" fmla="*/ 0 w 8892000"/>
              <a:gd name="connsiteY10" fmla="*/ 4146136 h 4392000"/>
              <a:gd name="connsiteX11" fmla="*/ 0 w 8892000"/>
              <a:gd name="connsiteY11" fmla="*/ 245864 h 4392000"/>
              <a:gd name="connsiteX12" fmla="*/ 245864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45864"/>
                </a:lnTo>
                <a:lnTo>
                  <a:pt x="8892000" y="4146136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dirty="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2241600" y="3979200"/>
            <a:ext cx="9755320" cy="1440000"/>
          </a:xfrm>
        </p:spPr>
        <p:txBody>
          <a:bodyPr anchor="t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2800" b="0" cap="all" baseline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titre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1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›</a:t>
            </a:fld>
            <a:endParaRPr lang="fr-FR" dirty="0"/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fr-FR"/>
              <a:t>BPI - AAP</a:t>
            </a:r>
            <a:endParaRPr lang="fr-FR" dirty="0"/>
          </a:p>
        </p:txBody>
      </p:sp>
      <p:sp>
        <p:nvSpPr>
          <p:cNvPr id="8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877091" y="4293096"/>
            <a:ext cx="192000" cy="912000"/>
          </a:xfrm>
          <a:prstGeom prst="roundRect">
            <a:avLst>
              <a:gd name="adj" fmla="val 13081"/>
            </a:avLst>
          </a:prstGeom>
          <a:solidFill>
            <a:schemeClr val="bg2"/>
          </a:solid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00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pic>
        <p:nvPicPr>
          <p:cNvPr id="10" name="Image 9" descr="logo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 bwMode="gray">
          <a:xfrm>
            <a:off x="5616000" y="3"/>
            <a:ext cx="960000" cy="823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2503557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ona tytułowa z motyw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5AAC722-2C2A-42A4-9AF1-74B0E37078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5AAC722-2C2A-42A4-9AF1-74B0E37078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9" name="Espace réservé pour une image  9" descr="visuel_couv_16-9.jpg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326"/>
          <a:stretch/>
        </p:blipFill>
        <p:spPr bwMode="gray">
          <a:xfrm>
            <a:off x="493200" y="478800"/>
            <a:ext cx="11698800" cy="5856000"/>
          </a:xfrm>
          <a:custGeom>
            <a:avLst/>
            <a:gdLst>
              <a:gd name="connsiteX0" fmla="*/ 244898 w 8892000"/>
              <a:gd name="connsiteY0" fmla="*/ 0 h 4392000"/>
              <a:gd name="connsiteX1" fmla="*/ 3420000 w 8892000"/>
              <a:gd name="connsiteY1" fmla="*/ 0 h 4392000"/>
              <a:gd name="connsiteX2" fmla="*/ 8647102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4898 h 4392000"/>
              <a:gd name="connsiteX5" fmla="*/ 8892000 w 8892000"/>
              <a:gd name="connsiteY5" fmla="*/ 4147102 h 4392000"/>
              <a:gd name="connsiteX6" fmla="*/ 8892000 w 8892000"/>
              <a:gd name="connsiteY6" fmla="*/ 4392000 h 4392000"/>
              <a:gd name="connsiteX7" fmla="*/ 8647102 w 8892000"/>
              <a:gd name="connsiteY7" fmla="*/ 4392000 h 4392000"/>
              <a:gd name="connsiteX8" fmla="*/ 3420000 w 8892000"/>
              <a:gd name="connsiteY8" fmla="*/ 4392000 h 4392000"/>
              <a:gd name="connsiteX9" fmla="*/ 244898 w 8892000"/>
              <a:gd name="connsiteY9" fmla="*/ 4392000 h 4392000"/>
              <a:gd name="connsiteX10" fmla="*/ 0 w 8892000"/>
              <a:gd name="connsiteY10" fmla="*/ 4147102 h 4392000"/>
              <a:gd name="connsiteX11" fmla="*/ 0 w 8892000"/>
              <a:gd name="connsiteY11" fmla="*/ 244898 h 4392000"/>
              <a:gd name="connsiteX12" fmla="*/ 244898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4898" y="0"/>
                </a:moveTo>
                <a:lnTo>
                  <a:pt x="3420000" y="0"/>
                </a:lnTo>
                <a:lnTo>
                  <a:pt x="8647102" y="0"/>
                </a:lnTo>
                <a:lnTo>
                  <a:pt x="8892000" y="0"/>
                </a:lnTo>
                <a:lnTo>
                  <a:pt x="8892000" y="244898"/>
                </a:lnTo>
                <a:lnTo>
                  <a:pt x="8892000" y="4147102"/>
                </a:lnTo>
                <a:lnTo>
                  <a:pt x="8892000" y="4392000"/>
                </a:lnTo>
                <a:lnTo>
                  <a:pt x="8647102" y="4392000"/>
                </a:lnTo>
                <a:lnTo>
                  <a:pt x="3420000" y="4392000"/>
                </a:lnTo>
                <a:lnTo>
                  <a:pt x="244898" y="4392000"/>
                </a:lnTo>
                <a:cubicBezTo>
                  <a:pt x="109645" y="4392000"/>
                  <a:pt x="0" y="4282355"/>
                  <a:pt x="0" y="4147102"/>
                </a:cubicBezTo>
                <a:lnTo>
                  <a:pt x="0" y="244898"/>
                </a:lnTo>
                <a:cubicBezTo>
                  <a:pt x="0" y="109645"/>
                  <a:pt x="109645" y="0"/>
                  <a:pt x="244898" y="0"/>
                </a:cubicBezTo>
                <a:close/>
              </a:path>
            </a:pathLst>
          </a:custGeom>
          <a:solidFill>
            <a:srgbClr val="FFFFFF">
              <a:lumMod val="85000"/>
            </a:srgbClr>
          </a:solidFill>
          <a:ln>
            <a:noFill/>
          </a:ln>
        </p:spPr>
      </p:pic>
      <p:sp>
        <p:nvSpPr>
          <p:cNvPr id="64" name="Espace réservé du texte 13"/>
          <p:cNvSpPr txBox="1">
            <a:spLocks noChangeAspect="1"/>
          </p:cNvSpPr>
          <p:nvPr userDrawn="1"/>
        </p:nvSpPr>
        <p:spPr bwMode="gray">
          <a:xfrm>
            <a:off x="5616000" y="2"/>
            <a:ext cx="960000" cy="823385"/>
          </a:xfrm>
          <a:prstGeom prst="rect">
            <a:avLst/>
          </a:prstGeom>
          <a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marL="359991" indent="-359991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SzPct val="80000"/>
              <a:buFont typeface="Wingdings" pitchFamily="2" charset="2"/>
              <a:buNone/>
              <a:defRPr sz="133" b="0" kern="1200" cap="none" baseline="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815980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SzPct val="100000"/>
              <a:buFont typeface="Wingdings" pitchFamily="2" charset="2"/>
              <a:buChar char="§"/>
              <a:defRPr sz="1800" kern="120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91965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Pct val="100000"/>
              <a:buFont typeface="Wingdings" pitchFamily="2" charset="2"/>
              <a:buChar char="§"/>
              <a:defRPr sz="1800" kern="1200" cap="none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967951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43936" indent="-239994" algn="l" defTabSz="914341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36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7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4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9982" marR="0" lvl="0" indent="-359982" algn="l" defTabSz="914318" rtl="0" eaLnBrk="1" fontAlgn="auto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Tx/>
              <a:buSzPct val="80000"/>
              <a:buFont typeface="Wingdings" pitchFamily="2" charset="2"/>
              <a:buNone/>
              <a:tabLst/>
              <a:defRPr/>
            </a:pPr>
            <a:r>
              <a:rPr kumimoji="0" lang="fr-FR" sz="133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endParaRPr kumimoji="0" lang="fr-FR" sz="133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5" name="Obraz 24" descr="CA_logo symetryczne 1L.png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41" b="241"/>
          <a:stretch/>
        </p:blipFill>
        <p:spPr>
          <a:xfrm>
            <a:off x="5338235" y="6281744"/>
            <a:ext cx="1519221" cy="480053"/>
          </a:xfrm>
          <a:prstGeom prst="rect">
            <a:avLst/>
          </a:prstGeom>
        </p:spPr>
      </p:pic>
      <p:sp>
        <p:nvSpPr>
          <p:cNvPr id="66" name="Rectangle 9"/>
          <p:cNvSpPr/>
          <p:nvPr userDrawn="1"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675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Espace réservé de la date 5"/>
          <p:cNvSpPr txBox="1">
            <a:spLocks/>
          </p:cNvSpPr>
          <p:nvPr userDrawn="1"/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733" kern="1200" baseline="0">
                <a:solidFill>
                  <a:schemeClr val="accent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33" b="0" i="0" u="none" strike="noStrike" kern="1200" cap="none" spc="0" normalizeH="0" baseline="0" noProof="0">
                <a:ln>
                  <a:noFill/>
                </a:ln>
                <a:solidFill>
                  <a:srgbClr val="008789">
                    <a:alpha val="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22.05.2017</a:t>
            </a:r>
            <a:endParaRPr kumimoji="0" lang="fr-FR" sz="733" b="0" i="0" u="none" strike="noStrike" kern="1200" cap="none" spc="0" normalizeH="0" baseline="0" noProof="0" dirty="0">
              <a:ln>
                <a:noFill/>
              </a:ln>
              <a:solidFill>
                <a:srgbClr val="008789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Espace réservé du numéro de diapositive 6"/>
          <p:cNvSpPr txBox="1">
            <a:spLocks/>
          </p:cNvSpPr>
          <p:nvPr userDrawn="1"/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733" b="0" kern="1200" cap="none" baseline="0">
                <a:solidFill>
                  <a:schemeClr val="accent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C140CD-8AED-46FF-A9A2-77308F3F39AE}" type="slidenum">
              <a:rPr kumimoji="0" lang="fr-FR" sz="733" b="0" i="0" u="none" strike="noStrike" kern="1200" cap="none" spc="0" normalizeH="0" baseline="0" noProof="0" smtClean="0">
                <a:ln>
                  <a:noFill/>
                </a:ln>
                <a:solidFill>
                  <a:srgbClr val="008789">
                    <a:alpha val="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4675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fr-FR" sz="733" b="0" i="0" u="none" strike="noStrike" kern="1200" cap="none" spc="0" normalizeH="0" baseline="0" noProof="0" dirty="0">
              <a:ln>
                <a:noFill/>
              </a:ln>
              <a:solidFill>
                <a:srgbClr val="008789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Espace réservé du pied de page 8"/>
          <p:cNvSpPr txBox="1">
            <a:spLocks/>
          </p:cNvSpPr>
          <p:nvPr userDrawn="1"/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800" kern="1200" cap="all" baseline="0">
                <a:solidFill>
                  <a:schemeClr val="accent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1200" cap="all" spc="0" normalizeH="0" baseline="0" noProof="0" dirty="0">
              <a:ln>
                <a:noFill/>
              </a:ln>
              <a:solidFill>
                <a:srgbClr val="008789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241577" y="3979549"/>
            <a:ext cx="9755320" cy="1440000"/>
          </a:xfrm>
        </p:spPr>
        <p:txBody>
          <a:bodyPr vert="horz" lIns="0" tIns="180000" rIns="0" bIns="0" rtlCol="0" anchor="ctr" anchorCtr="0">
            <a:noAutofit/>
          </a:bodyPr>
          <a:lstStyle>
            <a:lvl1pPr marL="359982" indent="-359982">
              <a:buNone/>
              <a:defRPr kumimoji="0" lang="en-US" sz="3600" b="0" i="0" u="none" strike="noStrike" cap="all" spc="0" normalizeH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lnSpc>
                <a:spcPct val="80000"/>
              </a:lnSpc>
              <a:spcAft>
                <a:spcPts val="0"/>
              </a:spcAft>
              <a:buClrTx/>
              <a:buSzTx/>
              <a:tabLst/>
            </a:pPr>
            <a:r>
              <a:rPr lang="en-US" dirty="0"/>
              <a:t>Click to add title</a:t>
            </a:r>
          </a:p>
        </p:txBody>
      </p:sp>
      <p:sp>
        <p:nvSpPr>
          <p:cNvPr id="71" name="Espace réservé du texte 13"/>
          <p:cNvSpPr txBox="1">
            <a:spLocks/>
          </p:cNvSpPr>
          <p:nvPr userDrawn="1"/>
        </p:nvSpPr>
        <p:spPr bwMode="gray">
          <a:xfrm>
            <a:off x="1877091" y="4293096"/>
            <a:ext cx="192000" cy="912000"/>
          </a:xfrm>
          <a:prstGeom prst="roundRect">
            <a:avLst>
              <a:gd name="adj" fmla="val 13081"/>
            </a:avLst>
          </a:prstGeom>
          <a:solidFill>
            <a:srgbClr val="96CA12"/>
          </a:solidFill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marL="359991" indent="-359991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SzPct val="80000"/>
              <a:buFont typeface="Wingdings" pitchFamily="2" charset="2"/>
              <a:buNone/>
              <a:defRPr sz="133" b="0" kern="1200" cap="none" baseline="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815980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SzPct val="100000"/>
              <a:buFont typeface="Wingdings" pitchFamily="2" charset="2"/>
              <a:buChar char="§"/>
              <a:defRPr sz="1800" kern="120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91965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Pct val="100000"/>
              <a:buFont typeface="Wingdings" pitchFamily="2" charset="2"/>
              <a:buChar char="§"/>
              <a:defRPr sz="1800" kern="1200" cap="none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967951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43936" indent="-239994" algn="l" defTabSz="914341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36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7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4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9982" marR="0" lvl="0" indent="-359982" algn="l" defTabSz="914318" rtl="0" eaLnBrk="1" fontAlgn="auto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Tx/>
              <a:buSzPct val="80000"/>
              <a:buFont typeface="Wingdings" pitchFamily="2" charset="2"/>
              <a:buNone/>
              <a:tabLst/>
              <a:defRPr/>
            </a:pPr>
            <a:r>
              <a:rPr kumimoji="0" lang="fr-FR" sz="133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endParaRPr kumimoji="0" lang="fr-FR" sz="133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241577" y="5421687"/>
            <a:ext cx="9755320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 marL="359982" indent="-359982">
              <a:buNone/>
              <a:defRPr kumimoji="0" lang="en-US" sz="1200" b="0" i="0" u="none" strike="noStrike" spc="0" normalizeH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lnSpc>
                <a:spcPct val="80000"/>
              </a:lnSpc>
              <a:buClrTx/>
              <a:tabLst/>
            </a:pPr>
            <a:r>
              <a:rPr lang="en-US" dirty="0"/>
              <a:t>Click to sub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241577" y="5598384"/>
            <a:ext cx="9755320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 marL="359982" indent="-359982">
              <a:buNone/>
              <a:defRPr kumimoji="0" lang="en-US" sz="1200" b="0" i="0" u="none" strike="noStrike" spc="0" normalizeH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lnSpc>
                <a:spcPct val="80000"/>
              </a:lnSpc>
              <a:buClrTx/>
              <a:tabLst/>
            </a:pPr>
            <a:r>
              <a:rPr lang="en-US" dirty="0"/>
              <a:t>Click to add dat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2241579" y="5774945"/>
            <a:ext cx="9755319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 marL="359982" indent="-359982">
              <a:buNone/>
              <a:defRPr kumimoji="0" lang="en-US" sz="1200" b="0" i="0" u="none" strike="noStrike" spc="0" normalizeH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lnSpc>
                <a:spcPct val="80000"/>
              </a:lnSpc>
              <a:buClrTx/>
              <a:tabLst/>
            </a:pPr>
            <a:r>
              <a:rPr lang="en-US" dirty="0"/>
              <a:t>Click to add text</a:t>
            </a:r>
          </a:p>
        </p:txBody>
      </p:sp>
      <p:sp>
        <p:nvSpPr>
          <p:cNvPr id="77" name="Text Placeholder 76"/>
          <p:cNvSpPr>
            <a:spLocks noGrp="1"/>
          </p:cNvSpPr>
          <p:nvPr>
            <p:ph type="body" sz="quarter" idx="14" hasCustomPrompt="1"/>
          </p:nvPr>
        </p:nvSpPr>
        <p:spPr>
          <a:xfrm>
            <a:off x="2241577" y="5949427"/>
            <a:ext cx="9755320" cy="168000"/>
          </a:xfr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359982" indent="-359982">
              <a:buNone/>
              <a:defRPr kumimoji="0" lang="en-US" sz="1200" b="0" i="0" u="none" strike="noStrike" spc="0" normalizeH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lnSpc>
                <a:spcPct val="80000"/>
              </a:lnSpc>
              <a:buClrTx/>
              <a:tabLst/>
            </a:pPr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711261188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rona tytułowa z motyw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5AAC722-2C2A-42A4-9AF1-74B0E37078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5AAC722-2C2A-42A4-9AF1-74B0E37078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Espace réservé pour une image  15"/>
          <p:cNvSpPr txBox="1">
            <a:spLocks/>
          </p:cNvSpPr>
          <p:nvPr userDrawn="1"/>
        </p:nvSpPr>
        <p:spPr bwMode="gray">
          <a:xfrm>
            <a:off x="340800" y="326400"/>
            <a:ext cx="11856000" cy="5856000"/>
          </a:xfrm>
          <a:custGeom>
            <a:avLst/>
            <a:gdLst>
              <a:gd name="connsiteX0" fmla="*/ 244898 w 8892000"/>
              <a:gd name="connsiteY0" fmla="*/ 0 h 4392000"/>
              <a:gd name="connsiteX1" fmla="*/ 3420000 w 8892000"/>
              <a:gd name="connsiteY1" fmla="*/ 0 h 4392000"/>
              <a:gd name="connsiteX2" fmla="*/ 8647102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4898 h 4392000"/>
              <a:gd name="connsiteX5" fmla="*/ 8892000 w 8892000"/>
              <a:gd name="connsiteY5" fmla="*/ 4147102 h 4392000"/>
              <a:gd name="connsiteX6" fmla="*/ 8892000 w 8892000"/>
              <a:gd name="connsiteY6" fmla="*/ 4392000 h 4392000"/>
              <a:gd name="connsiteX7" fmla="*/ 8647102 w 8892000"/>
              <a:gd name="connsiteY7" fmla="*/ 4392000 h 4392000"/>
              <a:gd name="connsiteX8" fmla="*/ 3420000 w 8892000"/>
              <a:gd name="connsiteY8" fmla="*/ 4392000 h 4392000"/>
              <a:gd name="connsiteX9" fmla="*/ 244898 w 8892000"/>
              <a:gd name="connsiteY9" fmla="*/ 4392000 h 4392000"/>
              <a:gd name="connsiteX10" fmla="*/ 0 w 8892000"/>
              <a:gd name="connsiteY10" fmla="*/ 4147102 h 4392000"/>
              <a:gd name="connsiteX11" fmla="*/ 0 w 8892000"/>
              <a:gd name="connsiteY11" fmla="*/ 244898 h 4392000"/>
              <a:gd name="connsiteX12" fmla="*/ 244898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4898" y="0"/>
                </a:moveTo>
                <a:lnTo>
                  <a:pt x="3420000" y="0"/>
                </a:lnTo>
                <a:lnTo>
                  <a:pt x="8647102" y="0"/>
                </a:lnTo>
                <a:lnTo>
                  <a:pt x="8892000" y="0"/>
                </a:lnTo>
                <a:lnTo>
                  <a:pt x="8892000" y="244898"/>
                </a:lnTo>
                <a:lnTo>
                  <a:pt x="8892000" y="4147102"/>
                </a:lnTo>
                <a:lnTo>
                  <a:pt x="8892000" y="4392000"/>
                </a:lnTo>
                <a:lnTo>
                  <a:pt x="8647102" y="4392000"/>
                </a:lnTo>
                <a:lnTo>
                  <a:pt x="3420000" y="4392000"/>
                </a:lnTo>
                <a:lnTo>
                  <a:pt x="244898" y="4392000"/>
                </a:lnTo>
                <a:cubicBezTo>
                  <a:pt x="109645" y="4392000"/>
                  <a:pt x="0" y="4282355"/>
                  <a:pt x="0" y="4147102"/>
                </a:cubicBezTo>
                <a:lnTo>
                  <a:pt x="0" y="244898"/>
                </a:lnTo>
                <a:cubicBezTo>
                  <a:pt x="0" y="109645"/>
                  <a:pt x="109645" y="0"/>
                  <a:pt x="244898" y="0"/>
                </a:cubicBezTo>
                <a:close/>
              </a:path>
            </a:pathLst>
          </a:custGeom>
          <a:solidFill>
            <a:srgbClr val="FFFFFF">
              <a:lumMod val="85000"/>
            </a:srgbClr>
          </a:solidFill>
          <a:ln>
            <a:noFill/>
          </a:ln>
        </p:spPr>
        <p:txBody>
          <a:bodyPr vert="horz" wrap="square" lIns="0" tIns="1260000" rIns="0" bIns="0" rtlCol="0" anchor="t" anchorCtr="0">
            <a:noAutofit/>
          </a:bodyPr>
          <a:lstStyle>
            <a:lvl1pPr marL="0" indent="0" algn="ctr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SzPct val="80000"/>
              <a:buFontTx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980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SzPct val="100000"/>
              <a:buFont typeface="Wingdings" pitchFamily="2" charset="2"/>
              <a:buChar char="§"/>
              <a:defRPr sz="1800" kern="120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91965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Pct val="100000"/>
              <a:buFont typeface="Wingdings" pitchFamily="2" charset="2"/>
              <a:buChar char="§"/>
              <a:defRPr sz="1800" kern="1200" cap="none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967951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43936" indent="-239994" algn="l" defTabSz="914341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36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7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4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18" rtl="0" eaLnBrk="1" fontAlgn="auto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Tx/>
              <a:buSzPct val="80000"/>
              <a:buFontTx/>
              <a:buNone/>
              <a:tabLst/>
              <a:defRPr/>
            </a:pPr>
            <a:r>
              <a:rPr kumimoji="0" lang="pl-PL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Kliknij ikonę, aby dodać zdjęcie tła</a:t>
            </a:r>
            <a:br>
              <a:rPr kumimoji="0" lang="pl-PL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kumimoji="0" lang="pl-PL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(Wybierz obraz prawym przyciskiem myszy / Ustaw jako tło)</a:t>
            </a:r>
          </a:p>
        </p:txBody>
      </p:sp>
      <p:sp>
        <p:nvSpPr>
          <p:cNvPr id="64" name="Espace réservé du texte 13"/>
          <p:cNvSpPr txBox="1">
            <a:spLocks noChangeAspect="1"/>
          </p:cNvSpPr>
          <p:nvPr userDrawn="1"/>
        </p:nvSpPr>
        <p:spPr bwMode="gray">
          <a:xfrm>
            <a:off x="5616000" y="2"/>
            <a:ext cx="960000" cy="823385"/>
          </a:xfrm>
          <a:prstGeom prst="rect">
            <a:avLst/>
          </a:prstGeo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marL="359991" indent="-359991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SzPct val="80000"/>
              <a:buFont typeface="Wingdings" pitchFamily="2" charset="2"/>
              <a:buNone/>
              <a:defRPr sz="133" b="0" kern="1200" cap="none" baseline="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815980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SzPct val="100000"/>
              <a:buFont typeface="Wingdings" pitchFamily="2" charset="2"/>
              <a:buChar char="§"/>
              <a:defRPr sz="1800" kern="120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91965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Pct val="100000"/>
              <a:buFont typeface="Wingdings" pitchFamily="2" charset="2"/>
              <a:buChar char="§"/>
              <a:defRPr sz="1800" kern="1200" cap="none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967951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43936" indent="-239994" algn="l" defTabSz="914341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36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7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4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9982" marR="0" lvl="0" indent="-359982" algn="l" defTabSz="914318" rtl="0" eaLnBrk="1" fontAlgn="auto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Tx/>
              <a:buSzPct val="80000"/>
              <a:buFont typeface="Wingdings" pitchFamily="2" charset="2"/>
              <a:buNone/>
              <a:tabLst/>
              <a:defRPr/>
            </a:pPr>
            <a:r>
              <a:rPr kumimoji="0" lang="fr-FR" sz="133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endParaRPr kumimoji="0" lang="fr-FR" sz="133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5" name="Obraz 24" descr="CA_logo symetryczne 1L.png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41" b="241"/>
          <a:stretch/>
        </p:blipFill>
        <p:spPr>
          <a:xfrm>
            <a:off x="5338235" y="6281744"/>
            <a:ext cx="1519221" cy="480053"/>
          </a:xfrm>
          <a:prstGeom prst="rect">
            <a:avLst/>
          </a:prstGeom>
        </p:spPr>
      </p:pic>
      <p:sp>
        <p:nvSpPr>
          <p:cNvPr id="66" name="Rectangle 9"/>
          <p:cNvSpPr/>
          <p:nvPr userDrawn="1"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675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Espace réservé de la date 5"/>
          <p:cNvSpPr txBox="1">
            <a:spLocks/>
          </p:cNvSpPr>
          <p:nvPr userDrawn="1"/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733" kern="1200" baseline="0">
                <a:solidFill>
                  <a:schemeClr val="accent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33" b="0" i="0" u="none" strike="noStrike" kern="1200" cap="none" spc="0" normalizeH="0" baseline="0" noProof="0">
                <a:ln>
                  <a:noFill/>
                </a:ln>
                <a:solidFill>
                  <a:srgbClr val="008789">
                    <a:alpha val="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22.05.2017</a:t>
            </a:r>
            <a:endParaRPr kumimoji="0" lang="fr-FR" sz="733" b="0" i="0" u="none" strike="noStrike" kern="1200" cap="none" spc="0" normalizeH="0" baseline="0" noProof="0" dirty="0">
              <a:ln>
                <a:noFill/>
              </a:ln>
              <a:solidFill>
                <a:srgbClr val="008789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Espace réservé du numéro de diapositive 6"/>
          <p:cNvSpPr txBox="1">
            <a:spLocks/>
          </p:cNvSpPr>
          <p:nvPr userDrawn="1"/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733" b="0" kern="1200" cap="none" baseline="0">
                <a:solidFill>
                  <a:schemeClr val="accent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C140CD-8AED-46FF-A9A2-77308F3F39AE}" type="slidenum">
              <a:rPr kumimoji="0" lang="fr-FR" sz="733" b="0" i="0" u="none" strike="noStrike" kern="1200" cap="none" spc="0" normalizeH="0" baseline="0" noProof="0" smtClean="0">
                <a:ln>
                  <a:noFill/>
                </a:ln>
                <a:solidFill>
                  <a:srgbClr val="008789">
                    <a:alpha val="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4675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fr-FR" sz="733" b="0" i="0" u="none" strike="noStrike" kern="1200" cap="none" spc="0" normalizeH="0" baseline="0" noProof="0" dirty="0">
              <a:ln>
                <a:noFill/>
              </a:ln>
              <a:solidFill>
                <a:srgbClr val="008789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Espace réservé du pied de page 8"/>
          <p:cNvSpPr txBox="1">
            <a:spLocks/>
          </p:cNvSpPr>
          <p:nvPr userDrawn="1"/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800" kern="1200" cap="all" baseline="0">
                <a:solidFill>
                  <a:schemeClr val="accent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1200" cap="all" spc="0" normalizeH="0" baseline="0" noProof="0" dirty="0">
              <a:ln>
                <a:noFill/>
              </a:ln>
              <a:solidFill>
                <a:srgbClr val="008789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241577" y="3979549"/>
            <a:ext cx="9755320" cy="1440000"/>
          </a:xfrm>
        </p:spPr>
        <p:txBody>
          <a:bodyPr vert="horz" lIns="0" tIns="180000" rIns="0" bIns="0" rtlCol="0" anchor="ctr" anchorCtr="0">
            <a:noAutofit/>
          </a:bodyPr>
          <a:lstStyle>
            <a:lvl1pPr marL="359982" indent="-359982">
              <a:buNone/>
              <a:defRPr kumimoji="0" lang="en-US" sz="3600" b="0" i="0" u="none" strike="noStrike" cap="all" spc="0" normalizeH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lnSpc>
                <a:spcPct val="80000"/>
              </a:lnSpc>
              <a:spcAft>
                <a:spcPts val="0"/>
              </a:spcAft>
              <a:buClrTx/>
              <a:buSzTx/>
              <a:tabLst/>
            </a:pPr>
            <a:r>
              <a:rPr lang="en-US" dirty="0"/>
              <a:t>Click to add title</a:t>
            </a:r>
          </a:p>
        </p:txBody>
      </p:sp>
      <p:sp>
        <p:nvSpPr>
          <p:cNvPr id="71" name="Espace réservé du texte 13"/>
          <p:cNvSpPr txBox="1">
            <a:spLocks/>
          </p:cNvSpPr>
          <p:nvPr userDrawn="1"/>
        </p:nvSpPr>
        <p:spPr bwMode="gray">
          <a:xfrm>
            <a:off x="1877091" y="4293096"/>
            <a:ext cx="192000" cy="912000"/>
          </a:xfrm>
          <a:prstGeom prst="roundRect">
            <a:avLst>
              <a:gd name="adj" fmla="val 13081"/>
            </a:avLst>
          </a:prstGeom>
          <a:solidFill>
            <a:srgbClr val="96CA12"/>
          </a:solidFill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marL="359991" indent="-359991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SzPct val="80000"/>
              <a:buFont typeface="Wingdings" pitchFamily="2" charset="2"/>
              <a:buNone/>
              <a:defRPr sz="133" b="0" kern="1200" cap="none" baseline="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815980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SzPct val="100000"/>
              <a:buFont typeface="Wingdings" pitchFamily="2" charset="2"/>
              <a:buChar char="§"/>
              <a:defRPr sz="1800" kern="120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91965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Pct val="100000"/>
              <a:buFont typeface="Wingdings" pitchFamily="2" charset="2"/>
              <a:buChar char="§"/>
              <a:defRPr sz="1800" kern="1200" cap="none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967951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43936" indent="-239994" algn="l" defTabSz="914341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36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7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4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9982" marR="0" lvl="0" indent="-359982" algn="l" defTabSz="914318" rtl="0" eaLnBrk="1" fontAlgn="auto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Tx/>
              <a:buSzPct val="80000"/>
              <a:buFont typeface="Wingdings" pitchFamily="2" charset="2"/>
              <a:buNone/>
              <a:tabLst/>
              <a:defRPr/>
            </a:pPr>
            <a:r>
              <a:rPr kumimoji="0" lang="fr-FR" sz="133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endParaRPr kumimoji="0" lang="fr-FR" sz="133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241577" y="5421687"/>
            <a:ext cx="9755320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 marL="359982" indent="-359982">
              <a:buNone/>
              <a:defRPr kumimoji="0" lang="en-US" sz="1200" b="0" i="0" u="none" strike="noStrike" spc="0" normalizeH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lnSpc>
                <a:spcPct val="80000"/>
              </a:lnSpc>
              <a:buClrTx/>
              <a:tabLst/>
            </a:pPr>
            <a:r>
              <a:rPr lang="en-US" dirty="0"/>
              <a:t>Click to sub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241577" y="5598384"/>
            <a:ext cx="9755320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 marL="359982" indent="-359982">
              <a:buNone/>
              <a:defRPr kumimoji="0" lang="en-US" sz="1200" b="0" i="0" u="none" strike="noStrike" spc="0" normalizeH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lnSpc>
                <a:spcPct val="80000"/>
              </a:lnSpc>
              <a:buClrTx/>
              <a:tabLst/>
            </a:pPr>
            <a:r>
              <a:rPr lang="en-US" dirty="0"/>
              <a:t>Click to add dat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2241579" y="5774945"/>
            <a:ext cx="9755319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 marL="359982" indent="-359982">
              <a:buNone/>
              <a:defRPr kumimoji="0" lang="en-US" sz="1200" b="0" i="0" u="none" strike="noStrike" spc="0" normalizeH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lnSpc>
                <a:spcPct val="80000"/>
              </a:lnSpc>
              <a:buClrTx/>
              <a:tabLst/>
            </a:pPr>
            <a:r>
              <a:rPr lang="en-US" dirty="0"/>
              <a:t>Click to add text</a:t>
            </a:r>
          </a:p>
        </p:txBody>
      </p:sp>
      <p:sp>
        <p:nvSpPr>
          <p:cNvPr id="77" name="Text Placeholder 76"/>
          <p:cNvSpPr>
            <a:spLocks noGrp="1"/>
          </p:cNvSpPr>
          <p:nvPr>
            <p:ph type="body" sz="quarter" idx="14" hasCustomPrompt="1"/>
          </p:nvPr>
        </p:nvSpPr>
        <p:spPr>
          <a:xfrm>
            <a:off x="2241577" y="5949427"/>
            <a:ext cx="9755320" cy="168000"/>
          </a:xfr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359982" indent="-359982">
              <a:buNone/>
              <a:defRPr kumimoji="0" lang="en-US" sz="1200" b="0" i="0" u="none" strike="noStrike" spc="0" normalizeH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lnSpc>
                <a:spcPct val="80000"/>
              </a:lnSpc>
              <a:buClrTx/>
              <a:tabLst/>
            </a:pPr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947194220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rona tytułowa z motyw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5AAC722-2C2A-42A4-9AF1-74B0E37078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5AAC722-2C2A-42A4-9AF1-74B0E37078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Forme libre 11"/>
          <p:cNvSpPr/>
          <p:nvPr userDrawn="1"/>
        </p:nvSpPr>
        <p:spPr>
          <a:xfrm>
            <a:off x="340800" y="32640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5864 h 4392000"/>
              <a:gd name="connsiteX5" fmla="*/ 8892000 w 8892000"/>
              <a:gd name="connsiteY5" fmla="*/ 4146136 h 4392000"/>
              <a:gd name="connsiteX6" fmla="*/ 8892000 w 8892000"/>
              <a:gd name="connsiteY6" fmla="*/ 4392000 h 4392000"/>
              <a:gd name="connsiteX7" fmla="*/ 8646136 w 8892000"/>
              <a:gd name="connsiteY7" fmla="*/ 4392000 h 4392000"/>
              <a:gd name="connsiteX8" fmla="*/ 5292000 w 8892000"/>
              <a:gd name="connsiteY8" fmla="*/ 4392000 h 4392000"/>
              <a:gd name="connsiteX9" fmla="*/ 245864 w 8892000"/>
              <a:gd name="connsiteY9" fmla="*/ 4392000 h 4392000"/>
              <a:gd name="connsiteX10" fmla="*/ 0 w 8892000"/>
              <a:gd name="connsiteY10" fmla="*/ 4146136 h 4392000"/>
              <a:gd name="connsiteX11" fmla="*/ 0 w 8892000"/>
              <a:gd name="connsiteY11" fmla="*/ 245864 h 4392000"/>
              <a:gd name="connsiteX12" fmla="*/ 245864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45864"/>
                </a:lnTo>
                <a:lnTo>
                  <a:pt x="8892000" y="4146136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rgbClr val="7E93A5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675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Espace réservé du texte 13"/>
          <p:cNvSpPr txBox="1">
            <a:spLocks noChangeAspect="1"/>
          </p:cNvSpPr>
          <p:nvPr userDrawn="1"/>
        </p:nvSpPr>
        <p:spPr bwMode="gray">
          <a:xfrm>
            <a:off x="5616000" y="2"/>
            <a:ext cx="960000" cy="823385"/>
          </a:xfrm>
          <a:prstGeom prst="rect">
            <a:avLst/>
          </a:prstGeo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marL="359991" indent="-359991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SzPct val="80000"/>
              <a:buFont typeface="Wingdings" pitchFamily="2" charset="2"/>
              <a:buNone/>
              <a:defRPr sz="133" b="0" kern="1200" cap="none" baseline="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815980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SzPct val="100000"/>
              <a:buFont typeface="Wingdings" pitchFamily="2" charset="2"/>
              <a:buChar char="§"/>
              <a:defRPr sz="1800" kern="120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91965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Pct val="100000"/>
              <a:buFont typeface="Wingdings" pitchFamily="2" charset="2"/>
              <a:buChar char="§"/>
              <a:defRPr sz="1800" kern="1200" cap="none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967951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43936" indent="-239994" algn="l" defTabSz="914341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36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7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4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9982" marR="0" lvl="0" indent="-359982" algn="l" defTabSz="914318" rtl="0" eaLnBrk="1" fontAlgn="auto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Tx/>
              <a:buSzPct val="80000"/>
              <a:buFont typeface="Wingdings" pitchFamily="2" charset="2"/>
              <a:buNone/>
              <a:tabLst/>
              <a:defRPr/>
            </a:pPr>
            <a:r>
              <a:rPr kumimoji="0" lang="fr-FR" sz="133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endParaRPr kumimoji="0" lang="fr-FR" sz="133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5" name="Obraz 24" descr="CA_logo symetryczne 1L.png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41" b="241"/>
          <a:stretch/>
        </p:blipFill>
        <p:spPr>
          <a:xfrm>
            <a:off x="5338235" y="6281744"/>
            <a:ext cx="1519221" cy="480053"/>
          </a:xfrm>
          <a:prstGeom prst="rect">
            <a:avLst/>
          </a:prstGeom>
        </p:spPr>
      </p:pic>
      <p:sp>
        <p:nvSpPr>
          <p:cNvPr id="66" name="Rectangle 9"/>
          <p:cNvSpPr/>
          <p:nvPr userDrawn="1"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675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Espace réservé de la date 5"/>
          <p:cNvSpPr txBox="1">
            <a:spLocks/>
          </p:cNvSpPr>
          <p:nvPr userDrawn="1"/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733" kern="1200" baseline="0">
                <a:solidFill>
                  <a:schemeClr val="accent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33" b="0" i="0" u="none" strike="noStrike" kern="1200" cap="none" spc="0" normalizeH="0" baseline="0" noProof="0">
                <a:ln>
                  <a:noFill/>
                </a:ln>
                <a:solidFill>
                  <a:srgbClr val="008789">
                    <a:alpha val="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22.05.2017</a:t>
            </a:r>
            <a:endParaRPr kumimoji="0" lang="fr-FR" sz="733" b="0" i="0" u="none" strike="noStrike" kern="1200" cap="none" spc="0" normalizeH="0" baseline="0" noProof="0" dirty="0">
              <a:ln>
                <a:noFill/>
              </a:ln>
              <a:solidFill>
                <a:srgbClr val="008789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Espace réservé du numéro de diapositive 6"/>
          <p:cNvSpPr txBox="1">
            <a:spLocks/>
          </p:cNvSpPr>
          <p:nvPr userDrawn="1"/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733" b="0" kern="1200" cap="none" baseline="0">
                <a:solidFill>
                  <a:schemeClr val="accent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C140CD-8AED-46FF-A9A2-77308F3F39AE}" type="slidenum">
              <a:rPr kumimoji="0" lang="fr-FR" sz="733" b="0" i="0" u="none" strike="noStrike" kern="1200" cap="none" spc="0" normalizeH="0" baseline="0" noProof="0" smtClean="0">
                <a:ln>
                  <a:noFill/>
                </a:ln>
                <a:solidFill>
                  <a:srgbClr val="008789">
                    <a:alpha val="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4675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fr-FR" sz="733" b="0" i="0" u="none" strike="noStrike" kern="1200" cap="none" spc="0" normalizeH="0" baseline="0" noProof="0" dirty="0">
              <a:ln>
                <a:noFill/>
              </a:ln>
              <a:solidFill>
                <a:srgbClr val="008789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Espace réservé du pied de page 8"/>
          <p:cNvSpPr txBox="1">
            <a:spLocks/>
          </p:cNvSpPr>
          <p:nvPr userDrawn="1"/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800" kern="1200" cap="all" baseline="0">
                <a:solidFill>
                  <a:schemeClr val="accent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1200" cap="all" spc="0" normalizeH="0" baseline="0" noProof="0" dirty="0">
              <a:ln>
                <a:noFill/>
              </a:ln>
              <a:solidFill>
                <a:srgbClr val="008789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241577" y="3979549"/>
            <a:ext cx="9755320" cy="1440000"/>
          </a:xfrm>
        </p:spPr>
        <p:txBody>
          <a:bodyPr vert="horz" lIns="0" tIns="180000" rIns="0" bIns="0" rtlCol="0" anchor="ctr" anchorCtr="0">
            <a:noAutofit/>
          </a:bodyPr>
          <a:lstStyle>
            <a:lvl1pPr marL="359982" indent="-359982">
              <a:buNone/>
              <a:defRPr kumimoji="0" lang="en-US" sz="3600" b="0" i="0" u="none" strike="noStrike" cap="all" spc="0" normalizeH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lnSpc>
                <a:spcPct val="80000"/>
              </a:lnSpc>
              <a:spcAft>
                <a:spcPts val="0"/>
              </a:spcAft>
              <a:buClrTx/>
              <a:buSzTx/>
              <a:tabLst/>
            </a:pPr>
            <a:r>
              <a:rPr lang="en-US" dirty="0"/>
              <a:t>Click to add title</a:t>
            </a:r>
          </a:p>
        </p:txBody>
      </p:sp>
      <p:sp>
        <p:nvSpPr>
          <p:cNvPr id="71" name="Espace réservé du texte 13"/>
          <p:cNvSpPr txBox="1">
            <a:spLocks/>
          </p:cNvSpPr>
          <p:nvPr userDrawn="1"/>
        </p:nvSpPr>
        <p:spPr bwMode="gray">
          <a:xfrm>
            <a:off x="1877091" y="4293096"/>
            <a:ext cx="192000" cy="912000"/>
          </a:xfrm>
          <a:prstGeom prst="roundRect">
            <a:avLst>
              <a:gd name="adj" fmla="val 13081"/>
            </a:avLst>
          </a:prstGeom>
          <a:solidFill>
            <a:srgbClr val="96CA12"/>
          </a:solidFill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marL="359991" indent="-359991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SzPct val="80000"/>
              <a:buFont typeface="Wingdings" pitchFamily="2" charset="2"/>
              <a:buNone/>
              <a:defRPr sz="133" b="0" kern="1200" cap="none" baseline="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815980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SzPct val="100000"/>
              <a:buFont typeface="Wingdings" pitchFamily="2" charset="2"/>
              <a:buChar char="§"/>
              <a:defRPr sz="1800" kern="120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91965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Pct val="100000"/>
              <a:buFont typeface="Wingdings" pitchFamily="2" charset="2"/>
              <a:buChar char="§"/>
              <a:defRPr sz="1800" kern="1200" cap="none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967951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43936" indent="-239994" algn="l" defTabSz="914341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36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7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4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9982" marR="0" lvl="0" indent="-359982" algn="l" defTabSz="914318" rtl="0" eaLnBrk="1" fontAlgn="auto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Tx/>
              <a:buSzPct val="80000"/>
              <a:buFont typeface="Wingdings" pitchFamily="2" charset="2"/>
              <a:buNone/>
              <a:tabLst/>
              <a:defRPr/>
            </a:pPr>
            <a:r>
              <a:rPr kumimoji="0" lang="fr-FR" sz="133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endParaRPr kumimoji="0" lang="fr-FR" sz="133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241577" y="5421687"/>
            <a:ext cx="9755320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 marL="359982" indent="-359982">
              <a:buNone/>
              <a:defRPr kumimoji="0" lang="en-US" sz="1200" b="0" i="0" u="none" strike="noStrike" spc="0" normalizeH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lnSpc>
                <a:spcPct val="80000"/>
              </a:lnSpc>
              <a:buClrTx/>
              <a:tabLst/>
            </a:pPr>
            <a:r>
              <a:rPr lang="en-US" dirty="0"/>
              <a:t>Click to sub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241577" y="5598384"/>
            <a:ext cx="9755320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 marL="359982" indent="-359982">
              <a:buNone/>
              <a:defRPr kumimoji="0" lang="en-US" sz="1200" b="0" i="0" u="none" strike="noStrike" spc="0" normalizeH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lnSpc>
                <a:spcPct val="80000"/>
              </a:lnSpc>
              <a:buClrTx/>
              <a:tabLst/>
            </a:pPr>
            <a:r>
              <a:rPr lang="en-US" dirty="0"/>
              <a:t>Click to add dat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2241579" y="5774945"/>
            <a:ext cx="9755319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 marL="359982" indent="-359982">
              <a:buNone/>
              <a:defRPr kumimoji="0" lang="en-US" sz="1200" b="0" i="0" u="none" strike="noStrike" spc="0" normalizeH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lnSpc>
                <a:spcPct val="80000"/>
              </a:lnSpc>
              <a:buClrTx/>
              <a:tabLst/>
            </a:pPr>
            <a:r>
              <a:rPr lang="en-US" dirty="0"/>
              <a:t>Click to add text</a:t>
            </a:r>
          </a:p>
        </p:txBody>
      </p:sp>
      <p:sp>
        <p:nvSpPr>
          <p:cNvPr id="77" name="Text Placeholder 76"/>
          <p:cNvSpPr>
            <a:spLocks noGrp="1"/>
          </p:cNvSpPr>
          <p:nvPr>
            <p:ph type="body" sz="quarter" idx="14" hasCustomPrompt="1"/>
          </p:nvPr>
        </p:nvSpPr>
        <p:spPr>
          <a:xfrm>
            <a:off x="2241577" y="5949427"/>
            <a:ext cx="9755320" cy="168000"/>
          </a:xfr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359982" indent="-359982">
              <a:buNone/>
              <a:defRPr kumimoji="0" lang="en-US" sz="1200" b="0" i="0" u="none" strike="noStrike" spc="0" normalizeH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lnSpc>
                <a:spcPct val="80000"/>
              </a:lnSpc>
              <a:buClrTx/>
              <a:tabLst/>
            </a:pPr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52043341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rona tytułowa z motyw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5AAC722-2C2A-42A4-9AF1-74B0E37078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5AAC722-2C2A-42A4-9AF1-74B0E37078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rme libre 11"/>
          <p:cNvSpPr/>
          <p:nvPr userDrawn="1"/>
        </p:nvSpPr>
        <p:spPr>
          <a:xfrm>
            <a:off x="340800" y="32640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5864 h 4392000"/>
              <a:gd name="connsiteX5" fmla="*/ 8892000 w 8892000"/>
              <a:gd name="connsiteY5" fmla="*/ 4146136 h 4392000"/>
              <a:gd name="connsiteX6" fmla="*/ 8892000 w 8892000"/>
              <a:gd name="connsiteY6" fmla="*/ 4392000 h 4392000"/>
              <a:gd name="connsiteX7" fmla="*/ 8646136 w 8892000"/>
              <a:gd name="connsiteY7" fmla="*/ 4392000 h 4392000"/>
              <a:gd name="connsiteX8" fmla="*/ 5292000 w 8892000"/>
              <a:gd name="connsiteY8" fmla="*/ 4392000 h 4392000"/>
              <a:gd name="connsiteX9" fmla="*/ 245864 w 8892000"/>
              <a:gd name="connsiteY9" fmla="*/ 4392000 h 4392000"/>
              <a:gd name="connsiteX10" fmla="*/ 0 w 8892000"/>
              <a:gd name="connsiteY10" fmla="*/ 4146136 h 4392000"/>
              <a:gd name="connsiteX11" fmla="*/ 0 w 8892000"/>
              <a:gd name="connsiteY11" fmla="*/ 245864 h 4392000"/>
              <a:gd name="connsiteX12" fmla="*/ 245864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45864"/>
                </a:lnTo>
                <a:lnTo>
                  <a:pt x="8892000" y="4146136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rgbClr val="00878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675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Espace réservé du texte 13"/>
          <p:cNvSpPr txBox="1">
            <a:spLocks noChangeAspect="1"/>
          </p:cNvSpPr>
          <p:nvPr userDrawn="1"/>
        </p:nvSpPr>
        <p:spPr bwMode="gray">
          <a:xfrm>
            <a:off x="5616000" y="2"/>
            <a:ext cx="960000" cy="823385"/>
          </a:xfrm>
          <a:prstGeom prst="rect">
            <a:avLst/>
          </a:prstGeo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marL="359991" indent="-359991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SzPct val="80000"/>
              <a:buFont typeface="Wingdings" pitchFamily="2" charset="2"/>
              <a:buNone/>
              <a:defRPr sz="133" b="0" kern="1200" cap="none" baseline="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815980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SzPct val="100000"/>
              <a:buFont typeface="Wingdings" pitchFamily="2" charset="2"/>
              <a:buChar char="§"/>
              <a:defRPr sz="1800" kern="120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91965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Pct val="100000"/>
              <a:buFont typeface="Wingdings" pitchFamily="2" charset="2"/>
              <a:buChar char="§"/>
              <a:defRPr sz="1800" kern="1200" cap="none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967951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43936" indent="-239994" algn="l" defTabSz="914341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36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7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4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9982" marR="0" lvl="0" indent="-359982" algn="l" defTabSz="914318" rtl="0" eaLnBrk="1" fontAlgn="auto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Tx/>
              <a:buSzPct val="80000"/>
              <a:buFont typeface="Wingdings" pitchFamily="2" charset="2"/>
              <a:buNone/>
              <a:tabLst/>
              <a:defRPr/>
            </a:pPr>
            <a:r>
              <a:rPr kumimoji="0" lang="fr-FR" sz="133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endParaRPr kumimoji="0" lang="fr-FR" sz="133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5" name="Obraz 24" descr="CA_logo symetryczne 1L.png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41" b="241"/>
          <a:stretch/>
        </p:blipFill>
        <p:spPr>
          <a:xfrm>
            <a:off x="5338235" y="6281744"/>
            <a:ext cx="1519221" cy="480053"/>
          </a:xfrm>
          <a:prstGeom prst="rect">
            <a:avLst/>
          </a:prstGeom>
        </p:spPr>
      </p:pic>
      <p:sp>
        <p:nvSpPr>
          <p:cNvPr id="66" name="Rectangle 9"/>
          <p:cNvSpPr/>
          <p:nvPr userDrawn="1"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675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Espace réservé de la date 5"/>
          <p:cNvSpPr txBox="1">
            <a:spLocks/>
          </p:cNvSpPr>
          <p:nvPr userDrawn="1"/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733" kern="1200" baseline="0">
                <a:solidFill>
                  <a:schemeClr val="accent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33" b="0" i="0" u="none" strike="noStrike" kern="1200" cap="none" spc="0" normalizeH="0" baseline="0" noProof="0">
                <a:ln>
                  <a:noFill/>
                </a:ln>
                <a:solidFill>
                  <a:srgbClr val="008789">
                    <a:alpha val="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22.05.2017</a:t>
            </a:r>
            <a:endParaRPr kumimoji="0" lang="fr-FR" sz="733" b="0" i="0" u="none" strike="noStrike" kern="1200" cap="none" spc="0" normalizeH="0" baseline="0" noProof="0" dirty="0">
              <a:ln>
                <a:noFill/>
              </a:ln>
              <a:solidFill>
                <a:srgbClr val="008789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Espace réservé du numéro de diapositive 6"/>
          <p:cNvSpPr txBox="1">
            <a:spLocks/>
          </p:cNvSpPr>
          <p:nvPr userDrawn="1"/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733" b="0" kern="1200" cap="none" baseline="0">
                <a:solidFill>
                  <a:schemeClr val="accent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C140CD-8AED-46FF-A9A2-77308F3F39AE}" type="slidenum">
              <a:rPr kumimoji="0" lang="fr-FR" sz="733" b="0" i="0" u="none" strike="noStrike" kern="1200" cap="none" spc="0" normalizeH="0" baseline="0" noProof="0" smtClean="0">
                <a:ln>
                  <a:noFill/>
                </a:ln>
                <a:solidFill>
                  <a:srgbClr val="008789">
                    <a:alpha val="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4675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fr-FR" sz="733" b="0" i="0" u="none" strike="noStrike" kern="1200" cap="none" spc="0" normalizeH="0" baseline="0" noProof="0" dirty="0">
              <a:ln>
                <a:noFill/>
              </a:ln>
              <a:solidFill>
                <a:srgbClr val="008789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Espace réservé du pied de page 8"/>
          <p:cNvSpPr txBox="1">
            <a:spLocks/>
          </p:cNvSpPr>
          <p:nvPr userDrawn="1"/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800" kern="1200" cap="all" baseline="0">
                <a:solidFill>
                  <a:schemeClr val="accent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1200" cap="all" spc="0" normalizeH="0" baseline="0" noProof="0" dirty="0">
              <a:ln>
                <a:noFill/>
              </a:ln>
              <a:solidFill>
                <a:srgbClr val="008789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241577" y="3979549"/>
            <a:ext cx="9755320" cy="1440000"/>
          </a:xfrm>
        </p:spPr>
        <p:txBody>
          <a:bodyPr vert="horz" lIns="0" tIns="180000" rIns="0" bIns="0" rtlCol="0" anchor="ctr" anchorCtr="0">
            <a:noAutofit/>
          </a:bodyPr>
          <a:lstStyle>
            <a:lvl1pPr marL="359982" indent="-359982">
              <a:buNone/>
              <a:defRPr kumimoji="0" lang="en-US" sz="3600" b="0" i="0" u="none" strike="noStrike" cap="all" spc="0" normalizeH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lnSpc>
                <a:spcPct val="80000"/>
              </a:lnSpc>
              <a:spcAft>
                <a:spcPts val="0"/>
              </a:spcAft>
              <a:buClrTx/>
              <a:buSzTx/>
              <a:tabLst/>
            </a:pPr>
            <a:r>
              <a:rPr lang="en-US" dirty="0"/>
              <a:t>Click to add title</a:t>
            </a:r>
          </a:p>
        </p:txBody>
      </p:sp>
      <p:sp>
        <p:nvSpPr>
          <p:cNvPr id="71" name="Espace réservé du texte 13"/>
          <p:cNvSpPr txBox="1">
            <a:spLocks/>
          </p:cNvSpPr>
          <p:nvPr userDrawn="1"/>
        </p:nvSpPr>
        <p:spPr bwMode="gray">
          <a:xfrm>
            <a:off x="1877091" y="4293096"/>
            <a:ext cx="192000" cy="912000"/>
          </a:xfrm>
          <a:prstGeom prst="roundRect">
            <a:avLst>
              <a:gd name="adj" fmla="val 13081"/>
            </a:avLst>
          </a:prstGeom>
          <a:solidFill>
            <a:srgbClr val="96CA12"/>
          </a:solidFill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marL="359991" indent="-359991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SzPct val="80000"/>
              <a:buFont typeface="Wingdings" pitchFamily="2" charset="2"/>
              <a:buNone/>
              <a:defRPr sz="133" b="0" kern="1200" cap="none" baseline="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815980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SzPct val="100000"/>
              <a:buFont typeface="Wingdings" pitchFamily="2" charset="2"/>
              <a:buChar char="§"/>
              <a:defRPr sz="1800" kern="120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91965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Pct val="100000"/>
              <a:buFont typeface="Wingdings" pitchFamily="2" charset="2"/>
              <a:buChar char="§"/>
              <a:defRPr sz="1800" kern="1200" cap="none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967951" indent="-239994" algn="l" defTabSz="914341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43936" indent="-239994" algn="l" defTabSz="914341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36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7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47" indent="-228585" algn="l" defTabSz="9143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9982" marR="0" lvl="0" indent="-359982" algn="l" defTabSz="914318" rtl="0" eaLnBrk="1" fontAlgn="auto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Tx/>
              <a:buSzPct val="80000"/>
              <a:buFont typeface="Wingdings" pitchFamily="2" charset="2"/>
              <a:buNone/>
              <a:tabLst/>
              <a:defRPr/>
            </a:pPr>
            <a:r>
              <a:rPr kumimoji="0" lang="fr-FR" sz="133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endParaRPr kumimoji="0" lang="fr-FR" sz="133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241577" y="5421687"/>
            <a:ext cx="9755320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 marL="359982" indent="-359982">
              <a:buNone/>
              <a:defRPr kumimoji="0" lang="en-US" sz="1200" b="0" i="0" u="none" strike="noStrike" spc="0" normalizeH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lnSpc>
                <a:spcPct val="80000"/>
              </a:lnSpc>
              <a:buClrTx/>
              <a:tabLst/>
            </a:pPr>
            <a:r>
              <a:rPr lang="en-US" dirty="0"/>
              <a:t>Click to sub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241577" y="5598384"/>
            <a:ext cx="9755320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 marL="359982" indent="-359982">
              <a:buNone/>
              <a:defRPr kumimoji="0" lang="en-US" sz="1200" b="0" i="0" u="none" strike="noStrike" spc="0" normalizeH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lnSpc>
                <a:spcPct val="80000"/>
              </a:lnSpc>
              <a:buClrTx/>
              <a:tabLst/>
            </a:pPr>
            <a:r>
              <a:rPr lang="en-US" dirty="0"/>
              <a:t>Click to add dat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2241579" y="5774945"/>
            <a:ext cx="9755319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 marL="359982" indent="-359982">
              <a:buNone/>
              <a:defRPr kumimoji="0" lang="en-US" sz="1200" b="0" i="0" u="none" strike="noStrike" spc="0" normalizeH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lnSpc>
                <a:spcPct val="80000"/>
              </a:lnSpc>
              <a:buClrTx/>
              <a:tabLst/>
            </a:pPr>
            <a:r>
              <a:rPr lang="en-US" dirty="0"/>
              <a:t>Click to add text</a:t>
            </a:r>
          </a:p>
        </p:txBody>
      </p:sp>
      <p:sp>
        <p:nvSpPr>
          <p:cNvPr id="77" name="Text Placeholder 76"/>
          <p:cNvSpPr>
            <a:spLocks noGrp="1"/>
          </p:cNvSpPr>
          <p:nvPr>
            <p:ph type="body" sz="quarter" idx="14" hasCustomPrompt="1"/>
          </p:nvPr>
        </p:nvSpPr>
        <p:spPr>
          <a:xfrm>
            <a:off x="2241577" y="5949427"/>
            <a:ext cx="9755320" cy="168000"/>
          </a:xfr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359982" indent="-359982">
              <a:buNone/>
              <a:defRPr kumimoji="0" lang="en-US" sz="1200" b="0" i="0" u="none" strike="noStrike" spc="0" normalizeH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lnSpc>
                <a:spcPct val="80000"/>
              </a:lnSpc>
              <a:buClrTx/>
              <a:tabLst/>
            </a:pPr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983048624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is treści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D263993-096B-4674-8A57-D5914F71D4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D263993-096B-4674-8A57-D5914F71D4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91744" y="457200"/>
            <a:ext cx="7902843" cy="1387624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kumimoji="0" lang="en-US" sz="3600" b="0" i="0" u="none" strike="noStrike" spc="0" normalizeH="0" dirty="0">
                <a:ln>
                  <a:noFill/>
                </a:ln>
                <a:solidFill>
                  <a:srgbClr val="7E93A5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lnSpc>
                <a:spcPct val="90000"/>
              </a:lnSpc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genda</a:t>
            </a:r>
          </a:p>
        </p:txBody>
      </p:sp>
      <p:sp>
        <p:nvSpPr>
          <p:cNvPr id="24" name="Content Placeholder 23"/>
          <p:cNvSpPr>
            <a:spLocks noGrp="1"/>
          </p:cNvSpPr>
          <p:nvPr>
            <p:ph sz="quarter" idx="12" hasCustomPrompt="1"/>
          </p:nvPr>
        </p:nvSpPr>
        <p:spPr>
          <a:xfrm>
            <a:off x="3791743" y="2114552"/>
            <a:ext cx="7902840" cy="3911601"/>
          </a:xfrm>
        </p:spPr>
        <p:txBody>
          <a:bodyPr/>
          <a:lstStyle>
            <a:lvl1pPr marL="0" marR="0" indent="0" algn="l" defTabSz="914318" rtl="0" eaLnBrk="1" fontAlgn="auto" latinLnBrk="0" hangingPunct="1">
              <a:spcBef>
                <a:spcPts val="0"/>
              </a:spcBef>
              <a:spcAft>
                <a:spcPts val="1200"/>
              </a:spcAft>
              <a:buClrTx/>
              <a:buFont typeface="Wingdings" pitchFamily="2" charset="2"/>
              <a:buChar char="n"/>
              <a:tabLst/>
              <a:defRPr kumimoji="0" lang="en-US" sz="1600" b="0" i="0" u="none" strike="noStrike" kern="1200" cap="all" spc="0" normalizeH="0" baseline="0" dirty="0" smtClean="0">
                <a:ln>
                  <a:noFill/>
                </a:ln>
                <a:solidFill>
                  <a:srgbClr val="7E93A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5972" marR="0" indent="0" algn="l" defTabSz="914318" rtl="0" eaLnBrk="1" fontAlgn="auto" latinLnBrk="0" hangingPunct="1">
              <a:spcBef>
                <a:spcPts val="0"/>
              </a:spcBef>
              <a:spcAft>
                <a:spcPts val="1200"/>
              </a:spcAft>
              <a:buClrTx/>
              <a:buFont typeface="Wingdings" pitchFamily="2" charset="2"/>
              <a:buChar char="n"/>
              <a:tabLst/>
              <a:defRPr kumimoji="0" lang="en-US" sz="1600" b="0" i="0" u="none" strike="noStrike" kern="1200" cap="all" spc="0" normalizeH="0" baseline="0" dirty="0" smtClean="0">
                <a:ln>
                  <a:noFill/>
                </a:ln>
                <a:solidFill>
                  <a:srgbClr val="7E93A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51942" indent="0">
              <a:buNone/>
              <a:defRPr/>
            </a:lvl3pPr>
            <a:lvl4pPr marL="1727914" indent="0">
              <a:buNone/>
              <a:defRPr/>
            </a:lvl4pPr>
            <a:lvl5pPr marL="2303885" indent="0">
              <a:buNone/>
              <a:defRPr/>
            </a:lvl5pPr>
          </a:lstStyle>
          <a:p>
            <a:pPr marL="484776" marR="0" lvl="0" indent="-484776" fontAlgn="auto">
              <a:lnSpc>
                <a:spcPct val="125000"/>
              </a:lnSpc>
              <a:buClrTx/>
              <a:buSzPct val="100000"/>
              <a:tabLst/>
            </a:pPr>
            <a:r>
              <a:rPr lang="en-US" dirty="0"/>
              <a:t>Text</a:t>
            </a:r>
          </a:p>
          <a:p>
            <a:pPr marL="835158" marR="0" lvl="1" indent="-350382" fontAlgn="auto">
              <a:buClrTx/>
              <a:buSzPct val="80000"/>
              <a:buChar char="n"/>
              <a:tabLst/>
            </a:pPr>
            <a:r>
              <a:rPr lang="en-US" dirty="0"/>
              <a:t>Text</a:t>
            </a:r>
          </a:p>
        </p:txBody>
      </p:sp>
      <p:sp>
        <p:nvSpPr>
          <p:cNvPr id="16" name="Espace réservé du pied de page 4"/>
          <p:cNvSpPr txBox="1">
            <a:spLocks/>
          </p:cNvSpPr>
          <p:nvPr userDrawn="1"/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800" kern="1200" cap="all" baseline="0">
                <a:solidFill>
                  <a:schemeClr val="tx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1200" cap="all" spc="0" normalizeH="0" baseline="0" noProof="0">
              <a:ln>
                <a:noFill/>
              </a:ln>
              <a:solidFill>
                <a:srgbClr val="000000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Espace réservé du numéro de diapositive 5"/>
          <p:cNvSpPr txBox="1">
            <a:spLocks/>
          </p:cNvSpPr>
          <p:nvPr userDrawn="1"/>
        </p:nvSpPr>
        <p:spPr bwMode="gray">
          <a:xfrm>
            <a:off x="2040940" y="6480335"/>
            <a:ext cx="391321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733" b="0" kern="1200" cap="none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571E2A-2AE4-4AE9-A5FF-468BE27EC277}" type="slidenum">
              <a:rPr kumimoji="0" lang="fr-FR" sz="733" b="0" i="0" u="none" strike="noStrike" kern="1200" cap="none" spc="0" normalizeH="0" baseline="0" noProof="0" smtClean="0">
                <a:ln>
                  <a:noFill/>
                </a:ln>
                <a:solidFill>
                  <a:srgbClr val="7E93A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4675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fr-FR" sz="733" b="0" i="0" u="none" strike="noStrike" kern="1200" cap="none" spc="0" normalizeH="0" baseline="0" noProof="0">
              <a:ln>
                <a:noFill/>
              </a:ln>
              <a:solidFill>
                <a:srgbClr val="7E93A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Forme libre 32"/>
          <p:cNvSpPr/>
          <p:nvPr userDrawn="1"/>
        </p:nvSpPr>
        <p:spPr>
          <a:xfrm>
            <a:off x="340220" y="32502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1960 h 4392000"/>
              <a:gd name="connsiteX5" fmla="*/ 8844375 w 8892000"/>
              <a:gd name="connsiteY5" fmla="*/ 21960 h 4392000"/>
              <a:gd name="connsiteX6" fmla="*/ 8600970 w 8892000"/>
              <a:gd name="connsiteY6" fmla="*/ 21960 h 4392000"/>
              <a:gd name="connsiteX7" fmla="*/ 5824949 w 8892000"/>
              <a:gd name="connsiteY7" fmla="*/ 21960 h 4392000"/>
              <a:gd name="connsiteX8" fmla="*/ 5280375 w 8892000"/>
              <a:gd name="connsiteY8" fmla="*/ 21960 h 4392000"/>
              <a:gd name="connsiteX9" fmla="*/ 284701 w 8892000"/>
              <a:gd name="connsiteY9" fmla="*/ 21960 h 4392000"/>
              <a:gd name="connsiteX10" fmla="*/ 41295 w 8892000"/>
              <a:gd name="connsiteY10" fmla="*/ 265365 h 4392000"/>
              <a:gd name="connsiteX11" fmla="*/ 41295 w 8892000"/>
              <a:gd name="connsiteY11" fmla="*/ 4126635 h 4392000"/>
              <a:gd name="connsiteX12" fmla="*/ 284701 w 8892000"/>
              <a:gd name="connsiteY12" fmla="*/ 4370040 h 4392000"/>
              <a:gd name="connsiteX13" fmla="*/ 5280375 w 8892000"/>
              <a:gd name="connsiteY13" fmla="*/ 4370040 h 4392000"/>
              <a:gd name="connsiteX14" fmla="*/ 5824949 w 8892000"/>
              <a:gd name="connsiteY14" fmla="*/ 4370040 h 4392000"/>
              <a:gd name="connsiteX15" fmla="*/ 5824949 w 8892000"/>
              <a:gd name="connsiteY15" fmla="*/ 4370760 h 4392000"/>
              <a:gd name="connsiteX16" fmla="*/ 8892000 w 8892000"/>
              <a:gd name="connsiteY16" fmla="*/ 4370760 h 4392000"/>
              <a:gd name="connsiteX17" fmla="*/ 8892000 w 8892000"/>
              <a:gd name="connsiteY17" fmla="*/ 4392000 h 4392000"/>
              <a:gd name="connsiteX18" fmla="*/ 8646136 w 8892000"/>
              <a:gd name="connsiteY18" fmla="*/ 4392000 h 4392000"/>
              <a:gd name="connsiteX19" fmla="*/ 5292000 w 8892000"/>
              <a:gd name="connsiteY19" fmla="*/ 4392000 h 4392000"/>
              <a:gd name="connsiteX20" fmla="*/ 245864 w 8892000"/>
              <a:gd name="connsiteY20" fmla="*/ 4392000 h 4392000"/>
              <a:gd name="connsiteX21" fmla="*/ 0 w 8892000"/>
              <a:gd name="connsiteY21" fmla="*/ 4146136 h 4392000"/>
              <a:gd name="connsiteX22" fmla="*/ 0 w 8892000"/>
              <a:gd name="connsiteY22" fmla="*/ 245864 h 4392000"/>
              <a:gd name="connsiteX23" fmla="*/ 245864 w 8892000"/>
              <a:gd name="connsiteY23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1960"/>
                </a:lnTo>
                <a:lnTo>
                  <a:pt x="8844375" y="21960"/>
                </a:lnTo>
                <a:lnTo>
                  <a:pt x="8600970" y="21960"/>
                </a:lnTo>
                <a:lnTo>
                  <a:pt x="5824949" y="21960"/>
                </a:lnTo>
                <a:lnTo>
                  <a:pt x="5280375" y="21960"/>
                </a:lnTo>
                <a:lnTo>
                  <a:pt x="284701" y="21960"/>
                </a:lnTo>
                <a:cubicBezTo>
                  <a:pt x="150271" y="21960"/>
                  <a:pt x="41295" y="130936"/>
                  <a:pt x="41295" y="265365"/>
                </a:cubicBezTo>
                <a:lnTo>
                  <a:pt x="41295" y="4126635"/>
                </a:lnTo>
                <a:cubicBezTo>
                  <a:pt x="41295" y="4261064"/>
                  <a:pt x="150271" y="4370040"/>
                  <a:pt x="284701" y="4370040"/>
                </a:cubicBezTo>
                <a:lnTo>
                  <a:pt x="5280375" y="4370040"/>
                </a:lnTo>
                <a:lnTo>
                  <a:pt x="5824949" y="4370040"/>
                </a:lnTo>
                <a:lnTo>
                  <a:pt x="5824949" y="4370760"/>
                </a:lnTo>
                <a:lnTo>
                  <a:pt x="8892000" y="4370760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rgbClr val="7E93A5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675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8806256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pis treści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D263993-096B-4674-8A57-D5914F71D4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D263993-096B-4674-8A57-D5914F71D4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rme libre 7"/>
          <p:cNvSpPr/>
          <p:nvPr userDrawn="1"/>
        </p:nvSpPr>
        <p:spPr>
          <a:xfrm>
            <a:off x="340800" y="32640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5864 h 4392000"/>
              <a:gd name="connsiteX5" fmla="*/ 8892000 w 8892000"/>
              <a:gd name="connsiteY5" fmla="*/ 4146136 h 4392000"/>
              <a:gd name="connsiteX6" fmla="*/ 8892000 w 8892000"/>
              <a:gd name="connsiteY6" fmla="*/ 4392000 h 4392000"/>
              <a:gd name="connsiteX7" fmla="*/ 8646136 w 8892000"/>
              <a:gd name="connsiteY7" fmla="*/ 4392000 h 4392000"/>
              <a:gd name="connsiteX8" fmla="*/ 5292000 w 8892000"/>
              <a:gd name="connsiteY8" fmla="*/ 4392000 h 4392000"/>
              <a:gd name="connsiteX9" fmla="*/ 245864 w 8892000"/>
              <a:gd name="connsiteY9" fmla="*/ 4392000 h 4392000"/>
              <a:gd name="connsiteX10" fmla="*/ 0 w 8892000"/>
              <a:gd name="connsiteY10" fmla="*/ 4146136 h 4392000"/>
              <a:gd name="connsiteX11" fmla="*/ 0 w 8892000"/>
              <a:gd name="connsiteY11" fmla="*/ 245864 h 4392000"/>
              <a:gd name="connsiteX12" fmla="*/ 245864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45864"/>
                </a:lnTo>
                <a:lnTo>
                  <a:pt x="8892000" y="4146136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rgbClr val="7E93A5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675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91744" y="457200"/>
            <a:ext cx="7902843" cy="1387624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kumimoji="0" lang="en-US" sz="3600" b="0" i="0" u="none" strike="noStrike" spc="0" normalizeH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lnSpc>
                <a:spcPct val="90000"/>
              </a:lnSpc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genda</a:t>
            </a:r>
          </a:p>
        </p:txBody>
      </p:sp>
      <p:sp>
        <p:nvSpPr>
          <p:cNvPr id="24" name="Content Placeholder 23"/>
          <p:cNvSpPr>
            <a:spLocks noGrp="1"/>
          </p:cNvSpPr>
          <p:nvPr>
            <p:ph sz="quarter" idx="12" hasCustomPrompt="1"/>
          </p:nvPr>
        </p:nvSpPr>
        <p:spPr>
          <a:xfrm>
            <a:off x="3791743" y="2114552"/>
            <a:ext cx="7902840" cy="3911601"/>
          </a:xfrm>
        </p:spPr>
        <p:txBody>
          <a:bodyPr/>
          <a:lstStyle>
            <a:lvl1pPr marL="0" marR="0" indent="0" algn="l" defTabSz="914318" rtl="0" eaLnBrk="1" fontAlgn="auto" latinLnBrk="0" hangingPunct="1">
              <a:spcBef>
                <a:spcPts val="0"/>
              </a:spcBef>
              <a:spcAft>
                <a:spcPts val="1200"/>
              </a:spcAft>
              <a:buClrTx/>
              <a:buFont typeface="Wingdings" pitchFamily="2" charset="2"/>
              <a:buChar char="n"/>
              <a:tabLst/>
              <a:defRPr kumimoji="0" lang="en-US" sz="1600" b="0" i="0" u="none" strike="noStrike" kern="1200" cap="all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5972" marR="0" indent="0" algn="l" defTabSz="914318" rtl="0" eaLnBrk="1" fontAlgn="auto" latinLnBrk="0" hangingPunct="1">
              <a:spcBef>
                <a:spcPts val="0"/>
              </a:spcBef>
              <a:spcAft>
                <a:spcPts val="1200"/>
              </a:spcAft>
              <a:buClrTx/>
              <a:buFont typeface="Wingdings" pitchFamily="2" charset="2"/>
              <a:buChar char="n"/>
              <a:tabLst/>
              <a:defRPr kumimoji="0" lang="en-US" sz="1600" b="0" i="0" u="none" strike="noStrike" kern="1200" cap="all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51942" indent="0">
              <a:buNone/>
              <a:defRPr/>
            </a:lvl3pPr>
            <a:lvl4pPr marL="1727914" indent="0">
              <a:buNone/>
              <a:defRPr/>
            </a:lvl4pPr>
            <a:lvl5pPr marL="2303885" indent="0">
              <a:buNone/>
              <a:defRPr/>
            </a:lvl5pPr>
          </a:lstStyle>
          <a:p>
            <a:pPr marL="484776" marR="0" lvl="0" indent="-484776" fontAlgn="auto">
              <a:lnSpc>
                <a:spcPct val="125000"/>
              </a:lnSpc>
              <a:buClrTx/>
              <a:buSzPct val="100000"/>
              <a:tabLst/>
            </a:pPr>
            <a:r>
              <a:rPr lang="en-US" dirty="0"/>
              <a:t>Text</a:t>
            </a:r>
          </a:p>
          <a:p>
            <a:pPr marL="835158" marR="0" lvl="1" indent="-350382" fontAlgn="auto">
              <a:buClrTx/>
              <a:buSzPct val="80000"/>
              <a:buChar char="n"/>
              <a:tabLst/>
            </a:pPr>
            <a:r>
              <a:rPr lang="en-US" dirty="0"/>
              <a:t>Text</a:t>
            </a:r>
          </a:p>
        </p:txBody>
      </p:sp>
      <p:sp>
        <p:nvSpPr>
          <p:cNvPr id="15" name="Espace réservé de la date 3"/>
          <p:cNvSpPr txBox="1">
            <a:spLocks/>
          </p:cNvSpPr>
          <p:nvPr userDrawn="1"/>
        </p:nvSpPr>
        <p:spPr bwMode="gray">
          <a:xfrm>
            <a:off x="924311" y="6480335"/>
            <a:ext cx="659188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733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33" b="0" i="0" u="none" strike="noStrike" kern="1200" cap="none" spc="0" normalizeH="0" baseline="0" noProof="0">
                <a:ln>
                  <a:noFill/>
                </a:ln>
                <a:solidFill>
                  <a:srgbClr val="7E93A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22.05.2017</a:t>
            </a:r>
            <a:endParaRPr kumimoji="0" lang="fr-FR" sz="733" b="0" i="0" u="none" strike="noStrike" kern="1200" cap="none" spc="0" normalizeH="0" baseline="0" noProof="0">
              <a:ln>
                <a:noFill/>
              </a:ln>
              <a:solidFill>
                <a:srgbClr val="7E93A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Espace réservé du pied de page 4"/>
          <p:cNvSpPr txBox="1">
            <a:spLocks/>
          </p:cNvSpPr>
          <p:nvPr userDrawn="1"/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800" kern="1200" cap="all" baseline="0">
                <a:solidFill>
                  <a:schemeClr val="tx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1200" cap="all" spc="0" normalizeH="0" baseline="0" noProof="0">
              <a:ln>
                <a:noFill/>
              </a:ln>
              <a:solidFill>
                <a:srgbClr val="000000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Espace réservé du numéro de diapositive 5"/>
          <p:cNvSpPr txBox="1">
            <a:spLocks/>
          </p:cNvSpPr>
          <p:nvPr userDrawn="1"/>
        </p:nvSpPr>
        <p:spPr bwMode="gray">
          <a:xfrm>
            <a:off x="2040940" y="6480335"/>
            <a:ext cx="391321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733" b="0" kern="1200" cap="none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571E2A-2AE4-4AE9-A5FF-468BE27EC277}" type="slidenum">
              <a:rPr kumimoji="0" lang="fr-FR" sz="733" b="0" i="0" u="none" strike="noStrike" kern="1200" cap="none" spc="0" normalizeH="0" baseline="0" noProof="0" smtClean="0">
                <a:ln>
                  <a:noFill/>
                </a:ln>
                <a:solidFill>
                  <a:srgbClr val="7E93A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4675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fr-FR" sz="733" b="0" i="0" u="none" strike="noStrike" kern="1200" cap="none" spc="0" normalizeH="0" baseline="0" noProof="0">
              <a:ln>
                <a:noFill/>
              </a:ln>
              <a:solidFill>
                <a:srgbClr val="7E93A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9890761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pis treści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D263993-096B-4674-8A57-D5914F71D4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D263993-096B-4674-8A57-D5914F71D4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orme libre 9"/>
          <p:cNvSpPr/>
          <p:nvPr userDrawn="1"/>
        </p:nvSpPr>
        <p:spPr>
          <a:xfrm>
            <a:off x="340800" y="32640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5864 h 4392000"/>
              <a:gd name="connsiteX5" fmla="*/ 8892000 w 8892000"/>
              <a:gd name="connsiteY5" fmla="*/ 4146136 h 4392000"/>
              <a:gd name="connsiteX6" fmla="*/ 8892000 w 8892000"/>
              <a:gd name="connsiteY6" fmla="*/ 4392000 h 4392000"/>
              <a:gd name="connsiteX7" fmla="*/ 8646136 w 8892000"/>
              <a:gd name="connsiteY7" fmla="*/ 4392000 h 4392000"/>
              <a:gd name="connsiteX8" fmla="*/ 5292000 w 8892000"/>
              <a:gd name="connsiteY8" fmla="*/ 4392000 h 4392000"/>
              <a:gd name="connsiteX9" fmla="*/ 245864 w 8892000"/>
              <a:gd name="connsiteY9" fmla="*/ 4392000 h 4392000"/>
              <a:gd name="connsiteX10" fmla="*/ 0 w 8892000"/>
              <a:gd name="connsiteY10" fmla="*/ 4146136 h 4392000"/>
              <a:gd name="connsiteX11" fmla="*/ 0 w 8892000"/>
              <a:gd name="connsiteY11" fmla="*/ 245864 h 4392000"/>
              <a:gd name="connsiteX12" fmla="*/ 245864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45864"/>
                </a:lnTo>
                <a:lnTo>
                  <a:pt x="8892000" y="4146136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rgbClr val="00878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675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91744" y="457200"/>
            <a:ext cx="7902843" cy="1387624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kumimoji="0" lang="en-US" sz="3600" b="0" i="0" u="none" strike="noStrike" spc="0" normalizeH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lnSpc>
                <a:spcPct val="90000"/>
              </a:lnSpc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genda</a:t>
            </a:r>
          </a:p>
        </p:txBody>
      </p:sp>
      <p:sp>
        <p:nvSpPr>
          <p:cNvPr id="24" name="Content Placeholder 23"/>
          <p:cNvSpPr>
            <a:spLocks noGrp="1"/>
          </p:cNvSpPr>
          <p:nvPr>
            <p:ph sz="quarter" idx="12" hasCustomPrompt="1"/>
          </p:nvPr>
        </p:nvSpPr>
        <p:spPr>
          <a:xfrm>
            <a:off x="3791743" y="2114552"/>
            <a:ext cx="7902840" cy="3911601"/>
          </a:xfrm>
        </p:spPr>
        <p:txBody>
          <a:bodyPr/>
          <a:lstStyle>
            <a:lvl1pPr marL="0" marR="0" indent="0" algn="l" defTabSz="914318" rtl="0" eaLnBrk="1" fontAlgn="auto" latinLnBrk="0" hangingPunct="1">
              <a:spcBef>
                <a:spcPts val="0"/>
              </a:spcBef>
              <a:spcAft>
                <a:spcPts val="1200"/>
              </a:spcAft>
              <a:buClrTx/>
              <a:buFont typeface="Wingdings" pitchFamily="2" charset="2"/>
              <a:buChar char="n"/>
              <a:tabLst/>
              <a:defRPr kumimoji="0" lang="en-US" sz="1600" b="0" i="0" u="none" strike="noStrike" kern="1200" cap="all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5972" marR="0" indent="0" algn="l" defTabSz="914318" rtl="0" eaLnBrk="1" fontAlgn="auto" latinLnBrk="0" hangingPunct="1">
              <a:spcBef>
                <a:spcPts val="0"/>
              </a:spcBef>
              <a:spcAft>
                <a:spcPts val="1200"/>
              </a:spcAft>
              <a:buClrTx/>
              <a:buFont typeface="Wingdings" pitchFamily="2" charset="2"/>
              <a:buChar char="n"/>
              <a:tabLst/>
              <a:defRPr kumimoji="0" lang="en-US" sz="1600" b="0" i="0" u="none" strike="noStrike" kern="1200" cap="all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51942" indent="0">
              <a:buNone/>
              <a:defRPr/>
            </a:lvl3pPr>
            <a:lvl4pPr marL="1727914" indent="0">
              <a:buNone/>
              <a:defRPr/>
            </a:lvl4pPr>
            <a:lvl5pPr marL="2303885" indent="0">
              <a:buNone/>
              <a:defRPr/>
            </a:lvl5pPr>
          </a:lstStyle>
          <a:p>
            <a:pPr marL="484776" marR="0" lvl="0" indent="-484776" fontAlgn="auto">
              <a:lnSpc>
                <a:spcPct val="125000"/>
              </a:lnSpc>
              <a:buClrTx/>
              <a:buSzPct val="100000"/>
              <a:tabLst/>
            </a:pPr>
            <a:r>
              <a:rPr lang="en-US" dirty="0"/>
              <a:t>Text</a:t>
            </a:r>
          </a:p>
          <a:p>
            <a:pPr marL="835158" marR="0" lvl="1" indent="-350382" fontAlgn="auto">
              <a:buClrTx/>
              <a:buSzPct val="80000"/>
              <a:buChar char="n"/>
              <a:tabLst/>
            </a:pPr>
            <a:r>
              <a:rPr lang="en-US" dirty="0"/>
              <a:t>Text</a:t>
            </a:r>
          </a:p>
        </p:txBody>
      </p:sp>
      <p:sp>
        <p:nvSpPr>
          <p:cNvPr id="15" name="Espace réservé de la date 3"/>
          <p:cNvSpPr txBox="1">
            <a:spLocks/>
          </p:cNvSpPr>
          <p:nvPr userDrawn="1"/>
        </p:nvSpPr>
        <p:spPr bwMode="gray">
          <a:xfrm>
            <a:off x="924311" y="6480335"/>
            <a:ext cx="659188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733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33" b="0" i="0" u="none" strike="noStrike" kern="1200" cap="none" spc="0" normalizeH="0" baseline="0" noProof="0">
                <a:ln>
                  <a:noFill/>
                </a:ln>
                <a:solidFill>
                  <a:srgbClr val="7E93A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22.05.2017</a:t>
            </a:r>
            <a:endParaRPr kumimoji="0" lang="fr-FR" sz="733" b="0" i="0" u="none" strike="noStrike" kern="1200" cap="none" spc="0" normalizeH="0" baseline="0" noProof="0">
              <a:ln>
                <a:noFill/>
              </a:ln>
              <a:solidFill>
                <a:srgbClr val="7E93A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Espace réservé du pied de page 4"/>
          <p:cNvSpPr txBox="1">
            <a:spLocks/>
          </p:cNvSpPr>
          <p:nvPr userDrawn="1"/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800" kern="1200" cap="all" baseline="0">
                <a:solidFill>
                  <a:schemeClr val="tx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1200" cap="all" spc="0" normalizeH="0" baseline="0" noProof="0">
              <a:ln>
                <a:noFill/>
              </a:ln>
              <a:solidFill>
                <a:srgbClr val="000000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Espace réservé du numéro de diapositive 5"/>
          <p:cNvSpPr txBox="1">
            <a:spLocks/>
          </p:cNvSpPr>
          <p:nvPr userDrawn="1"/>
        </p:nvSpPr>
        <p:spPr bwMode="gray">
          <a:xfrm>
            <a:off x="2040940" y="6480335"/>
            <a:ext cx="391321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733" b="0" kern="1200" cap="none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571E2A-2AE4-4AE9-A5FF-468BE27EC277}" type="slidenum">
              <a:rPr kumimoji="0" lang="fr-FR" sz="733" b="0" i="0" u="none" strike="noStrike" kern="1200" cap="none" spc="0" normalizeH="0" baseline="0" noProof="0" smtClean="0">
                <a:ln>
                  <a:noFill/>
                </a:ln>
                <a:solidFill>
                  <a:srgbClr val="7E93A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4675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fr-FR" sz="733" b="0" i="0" u="none" strike="noStrike" kern="1200" cap="none" spc="0" normalizeH="0" baseline="0" noProof="0">
              <a:ln>
                <a:noFill/>
              </a:ln>
              <a:solidFill>
                <a:srgbClr val="7E93A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9957103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pis treści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D263993-096B-4674-8A57-D5914F71D4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D263993-096B-4674-8A57-D5914F71D4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orme libre 9"/>
          <p:cNvSpPr/>
          <p:nvPr userDrawn="1"/>
        </p:nvSpPr>
        <p:spPr>
          <a:xfrm>
            <a:off x="340800" y="32640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5864 h 4392000"/>
              <a:gd name="connsiteX5" fmla="*/ 8892000 w 8892000"/>
              <a:gd name="connsiteY5" fmla="*/ 4146136 h 4392000"/>
              <a:gd name="connsiteX6" fmla="*/ 8892000 w 8892000"/>
              <a:gd name="connsiteY6" fmla="*/ 4392000 h 4392000"/>
              <a:gd name="connsiteX7" fmla="*/ 8646136 w 8892000"/>
              <a:gd name="connsiteY7" fmla="*/ 4392000 h 4392000"/>
              <a:gd name="connsiteX8" fmla="*/ 5292000 w 8892000"/>
              <a:gd name="connsiteY8" fmla="*/ 4392000 h 4392000"/>
              <a:gd name="connsiteX9" fmla="*/ 245864 w 8892000"/>
              <a:gd name="connsiteY9" fmla="*/ 4392000 h 4392000"/>
              <a:gd name="connsiteX10" fmla="*/ 0 w 8892000"/>
              <a:gd name="connsiteY10" fmla="*/ 4146136 h 4392000"/>
              <a:gd name="connsiteX11" fmla="*/ 0 w 8892000"/>
              <a:gd name="connsiteY11" fmla="*/ 245864 h 4392000"/>
              <a:gd name="connsiteX12" fmla="*/ 245864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45864"/>
                </a:lnTo>
                <a:lnTo>
                  <a:pt x="8892000" y="4146136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rgbClr val="00878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675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Espace réservé du pied de page 4"/>
          <p:cNvSpPr txBox="1">
            <a:spLocks/>
          </p:cNvSpPr>
          <p:nvPr userDrawn="1"/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800" kern="1200" cap="all" baseline="0">
                <a:solidFill>
                  <a:schemeClr val="tx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1200" cap="all" spc="0" normalizeH="0" baseline="0" noProof="0">
              <a:ln>
                <a:noFill/>
              </a:ln>
              <a:solidFill>
                <a:srgbClr val="000000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Espace réservé du numéro de diapositive 5"/>
          <p:cNvSpPr txBox="1">
            <a:spLocks/>
          </p:cNvSpPr>
          <p:nvPr userDrawn="1"/>
        </p:nvSpPr>
        <p:spPr bwMode="gray">
          <a:xfrm>
            <a:off x="2040940" y="6480335"/>
            <a:ext cx="391321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733" b="0" kern="1200" cap="none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571E2A-2AE4-4AE9-A5FF-468BE27EC277}" type="slidenum">
              <a:rPr kumimoji="0" lang="fr-FR" sz="733" b="0" i="0" u="none" strike="noStrike" kern="1200" cap="none" spc="0" normalizeH="0" baseline="0" noProof="0" smtClean="0">
                <a:ln>
                  <a:noFill/>
                </a:ln>
                <a:solidFill>
                  <a:srgbClr val="7E93A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4675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fr-FR" sz="733" b="0" i="0" u="none" strike="noStrike" kern="1200" cap="none" spc="0" normalizeH="0" baseline="0" noProof="0">
              <a:ln>
                <a:noFill/>
              </a:ln>
              <a:solidFill>
                <a:srgbClr val="7E93A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786912" y="514352"/>
            <a:ext cx="7816499" cy="5511800"/>
          </a:xfrm>
        </p:spPr>
        <p:txBody>
          <a:bodyPr anchor="ctr" anchorCtr="0"/>
          <a:lstStyle>
            <a:lvl1pPr>
              <a:defRPr sz="4000" b="0" cap="all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pl-PL" noProof="0" dirty="0"/>
              <a:t>Slajd przekładkowy WARIANT 1</a:t>
            </a:r>
          </a:p>
        </p:txBody>
      </p:sp>
    </p:spTree>
    <p:extLst>
      <p:ext uri="{BB962C8B-B14F-4D97-AF65-F5344CB8AC3E}">
        <p14:creationId xmlns:p14="http://schemas.microsoft.com/office/powerpoint/2010/main" val="551717904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pis treści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D263993-096B-4674-8A57-D5914F71D4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D263993-096B-4674-8A57-D5914F71D4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orme libre 6"/>
          <p:cNvSpPr/>
          <p:nvPr userDrawn="1"/>
        </p:nvSpPr>
        <p:spPr>
          <a:xfrm>
            <a:off x="340800" y="32640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5864 h 4392000"/>
              <a:gd name="connsiteX5" fmla="*/ 8892000 w 8892000"/>
              <a:gd name="connsiteY5" fmla="*/ 4146136 h 4392000"/>
              <a:gd name="connsiteX6" fmla="*/ 8892000 w 8892000"/>
              <a:gd name="connsiteY6" fmla="*/ 4392000 h 4392000"/>
              <a:gd name="connsiteX7" fmla="*/ 8646136 w 8892000"/>
              <a:gd name="connsiteY7" fmla="*/ 4392000 h 4392000"/>
              <a:gd name="connsiteX8" fmla="*/ 5292000 w 8892000"/>
              <a:gd name="connsiteY8" fmla="*/ 4392000 h 4392000"/>
              <a:gd name="connsiteX9" fmla="*/ 245864 w 8892000"/>
              <a:gd name="connsiteY9" fmla="*/ 4392000 h 4392000"/>
              <a:gd name="connsiteX10" fmla="*/ 0 w 8892000"/>
              <a:gd name="connsiteY10" fmla="*/ 4146136 h 4392000"/>
              <a:gd name="connsiteX11" fmla="*/ 0 w 8892000"/>
              <a:gd name="connsiteY11" fmla="*/ 245864 h 4392000"/>
              <a:gd name="connsiteX12" fmla="*/ 245864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45864"/>
                </a:lnTo>
                <a:lnTo>
                  <a:pt x="8892000" y="4146136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rgbClr val="48769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675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Espace réservé du pied de page 4"/>
          <p:cNvSpPr txBox="1">
            <a:spLocks/>
          </p:cNvSpPr>
          <p:nvPr userDrawn="1"/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800" kern="1200" cap="all" baseline="0">
                <a:solidFill>
                  <a:schemeClr val="tx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1200" cap="all" spc="0" normalizeH="0" baseline="0" noProof="0">
              <a:ln>
                <a:noFill/>
              </a:ln>
              <a:solidFill>
                <a:srgbClr val="000000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Espace réservé du numéro de diapositive 5"/>
          <p:cNvSpPr txBox="1">
            <a:spLocks/>
          </p:cNvSpPr>
          <p:nvPr userDrawn="1"/>
        </p:nvSpPr>
        <p:spPr bwMode="gray">
          <a:xfrm>
            <a:off x="2040940" y="6480335"/>
            <a:ext cx="391321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733" b="0" kern="1200" cap="none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571E2A-2AE4-4AE9-A5FF-468BE27EC277}" type="slidenum">
              <a:rPr kumimoji="0" lang="fr-FR" sz="733" b="0" i="0" u="none" strike="noStrike" kern="1200" cap="none" spc="0" normalizeH="0" baseline="0" noProof="0" smtClean="0">
                <a:ln>
                  <a:noFill/>
                </a:ln>
                <a:solidFill>
                  <a:srgbClr val="7E93A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4675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fr-FR" sz="733" b="0" i="0" u="none" strike="noStrike" kern="1200" cap="none" spc="0" normalizeH="0" baseline="0" noProof="0">
              <a:ln>
                <a:noFill/>
              </a:ln>
              <a:solidFill>
                <a:srgbClr val="7E93A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786912" y="514352"/>
            <a:ext cx="7816499" cy="5511800"/>
          </a:xfrm>
        </p:spPr>
        <p:txBody>
          <a:bodyPr anchor="ctr" anchorCtr="0"/>
          <a:lstStyle>
            <a:lvl1pPr>
              <a:defRPr sz="4000" b="0" cap="all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pl-PL" noProof="0" dirty="0"/>
              <a:t>Slajd przekładkowy WARIANT </a:t>
            </a:r>
            <a:r>
              <a:rPr lang="en-US" noProof="0" dirty="0"/>
              <a:t>2</a:t>
            </a:r>
            <a:endParaRPr lang="pl-PL" noProof="0" dirty="0"/>
          </a:p>
        </p:txBody>
      </p:sp>
    </p:spTree>
    <p:extLst>
      <p:ext uri="{BB962C8B-B14F-4D97-AF65-F5344CB8AC3E}">
        <p14:creationId xmlns:p14="http://schemas.microsoft.com/office/powerpoint/2010/main" val="1044974603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pis treści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D263993-096B-4674-8A57-D5914F71D4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D263993-096B-4674-8A57-D5914F71D4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orme libre 6"/>
          <p:cNvSpPr/>
          <p:nvPr userDrawn="1"/>
        </p:nvSpPr>
        <p:spPr>
          <a:xfrm>
            <a:off x="340800" y="32640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5864 h 4392000"/>
              <a:gd name="connsiteX5" fmla="*/ 8892000 w 8892000"/>
              <a:gd name="connsiteY5" fmla="*/ 4146136 h 4392000"/>
              <a:gd name="connsiteX6" fmla="*/ 8892000 w 8892000"/>
              <a:gd name="connsiteY6" fmla="*/ 4392000 h 4392000"/>
              <a:gd name="connsiteX7" fmla="*/ 8646136 w 8892000"/>
              <a:gd name="connsiteY7" fmla="*/ 4392000 h 4392000"/>
              <a:gd name="connsiteX8" fmla="*/ 5292000 w 8892000"/>
              <a:gd name="connsiteY8" fmla="*/ 4392000 h 4392000"/>
              <a:gd name="connsiteX9" fmla="*/ 245864 w 8892000"/>
              <a:gd name="connsiteY9" fmla="*/ 4392000 h 4392000"/>
              <a:gd name="connsiteX10" fmla="*/ 0 w 8892000"/>
              <a:gd name="connsiteY10" fmla="*/ 4146136 h 4392000"/>
              <a:gd name="connsiteX11" fmla="*/ 0 w 8892000"/>
              <a:gd name="connsiteY11" fmla="*/ 245864 h 4392000"/>
              <a:gd name="connsiteX12" fmla="*/ 245864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45864"/>
                </a:lnTo>
                <a:lnTo>
                  <a:pt x="8892000" y="4146136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rgbClr val="A49C9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675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Espace réservé du pied de page 4"/>
          <p:cNvSpPr txBox="1">
            <a:spLocks/>
          </p:cNvSpPr>
          <p:nvPr userDrawn="1"/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800" kern="1200" cap="all" baseline="0">
                <a:solidFill>
                  <a:schemeClr val="tx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1200" cap="all" spc="0" normalizeH="0" baseline="0" noProof="0">
              <a:ln>
                <a:noFill/>
              </a:ln>
              <a:solidFill>
                <a:srgbClr val="000000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Espace réservé du numéro de diapositive 5"/>
          <p:cNvSpPr txBox="1">
            <a:spLocks/>
          </p:cNvSpPr>
          <p:nvPr userDrawn="1"/>
        </p:nvSpPr>
        <p:spPr bwMode="gray">
          <a:xfrm>
            <a:off x="2040940" y="6480335"/>
            <a:ext cx="391321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733" b="0" kern="1200" cap="none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571E2A-2AE4-4AE9-A5FF-468BE27EC277}" type="slidenum">
              <a:rPr kumimoji="0" lang="fr-FR" sz="733" b="0" i="0" u="none" strike="noStrike" kern="1200" cap="none" spc="0" normalizeH="0" baseline="0" noProof="0" smtClean="0">
                <a:ln>
                  <a:noFill/>
                </a:ln>
                <a:solidFill>
                  <a:srgbClr val="7E93A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4675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fr-FR" sz="733" b="0" i="0" u="none" strike="noStrike" kern="1200" cap="none" spc="0" normalizeH="0" baseline="0" noProof="0">
              <a:ln>
                <a:noFill/>
              </a:ln>
              <a:solidFill>
                <a:srgbClr val="7E93A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786912" y="514352"/>
            <a:ext cx="7816499" cy="5511800"/>
          </a:xfrm>
        </p:spPr>
        <p:txBody>
          <a:bodyPr anchor="ctr" anchorCtr="0"/>
          <a:lstStyle>
            <a:lvl1pPr>
              <a:defRPr sz="4000" b="0" cap="all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pl-PL" noProof="0" dirty="0"/>
              <a:t>Slajd przekładkowy WARIANT </a:t>
            </a:r>
            <a:r>
              <a:rPr lang="en-US" noProof="0" dirty="0"/>
              <a:t>3</a:t>
            </a:r>
            <a:endParaRPr lang="pl-PL" noProof="0" dirty="0"/>
          </a:p>
        </p:txBody>
      </p:sp>
    </p:spTree>
    <p:extLst>
      <p:ext uri="{BB962C8B-B14F-4D97-AF65-F5344CB8AC3E}">
        <p14:creationId xmlns:p14="http://schemas.microsoft.com/office/powerpoint/2010/main" val="34270793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 fond u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7" name="Forme libre 16"/>
          <p:cNvSpPr/>
          <p:nvPr userDrawn="1"/>
        </p:nvSpPr>
        <p:spPr bwMode="gray">
          <a:xfrm>
            <a:off x="431801" y="333376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1939264" y="3960400"/>
            <a:ext cx="9755320" cy="1440000"/>
          </a:xfrm>
        </p:spPr>
        <p:txBody>
          <a:bodyPr anchor="t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750" b="0" cap="all" baseline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titre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1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›</a:t>
            </a:fld>
            <a:endParaRPr lang="fr-FR" dirty="0"/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fr-FR"/>
              <a:t>BPI - AAP</a:t>
            </a:r>
            <a:endParaRPr lang="fr-FR" dirty="0"/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85371" y="4273550"/>
            <a:ext cx="264000" cy="914400"/>
          </a:xfrm>
          <a:prstGeom prst="roundRect">
            <a:avLst/>
          </a:prstGeom>
          <a:solidFill>
            <a:schemeClr val="bg2"/>
          </a:solid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00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pic>
        <p:nvPicPr>
          <p:cNvPr id="10" name="Image 9" descr="log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 bwMode="gray">
          <a:xfrm>
            <a:off x="5472000" y="0"/>
            <a:ext cx="1248000" cy="803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346797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 avec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>
            <a:extLst>
              <a:ext uri="{FF2B5EF4-FFF2-40B4-BE49-F238E27FC236}">
                <a16:creationId xmlns:a16="http://schemas.microsoft.com/office/drawing/2014/main" id="{A65289CA-BB76-4367-A6E8-586A4465D41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637595" y="4822825"/>
            <a:ext cx="4907826" cy="1188114"/>
          </a:xfrm>
          <a:prstGeom prst="rect">
            <a:avLst/>
          </a:prstGeom>
        </p:spPr>
      </p:pic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7194207" y="6174395"/>
            <a:ext cx="4320000" cy="252000"/>
          </a:xfrm>
        </p:spPr>
        <p:txBody>
          <a:bodyPr anchor="ctr"/>
          <a:lstStyle>
            <a:lvl1pPr marL="0" indent="0" algn="r">
              <a:buNone/>
              <a:defRPr sz="1000" b="1" cap="all" spc="20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Modifier les styles du texte du masque</a:t>
            </a:r>
          </a:p>
        </p:txBody>
      </p:sp>
      <p:sp>
        <p:nvSpPr>
          <p:cNvPr id="12" name="Titre 1">
            <a:extLst>
              <a:ext uri="{FF2B5EF4-FFF2-40B4-BE49-F238E27FC236}">
                <a16:creationId xmlns:a16="http://schemas.microsoft.com/office/drawing/2014/main" id="{2930B45F-AEDD-411B-9BBC-1B13EFEDC0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30470" y="731743"/>
            <a:ext cx="5580000" cy="2414623"/>
          </a:xfrm>
        </p:spPr>
        <p:txBody>
          <a:bodyPr anchor="b">
            <a:normAutofit/>
          </a:bodyPr>
          <a:lstStyle>
            <a:lvl1pPr algn="l" defTabSz="360000">
              <a:lnSpc>
                <a:spcPct val="85000"/>
              </a:lnSpc>
              <a:tabLst/>
              <a:defRPr sz="44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9B55D30E-725C-43C0-B80E-301FBBB3B6E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30470" y="3056037"/>
            <a:ext cx="5580000" cy="2340000"/>
          </a:xfrm>
        </p:spPr>
        <p:txBody>
          <a:bodyPr anchor="t"/>
          <a:lstStyle>
            <a:lvl1pPr marL="0" indent="0" algn="l" defTabSz="360000">
              <a:lnSpc>
                <a:spcPct val="85000"/>
              </a:lnSpc>
              <a:buNone/>
              <a:tabLst/>
              <a:defRPr sz="44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r le style des sous-titres du masque</a:t>
            </a:r>
            <a:endParaRPr lang="fr-FR" dirty="0"/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88175086-68EB-4950-BC23-A9DFECDDDE2E}"/>
              </a:ext>
            </a:extLst>
          </p:cNvPr>
          <p:cNvCxnSpPr/>
          <p:nvPr userDrawn="1"/>
        </p:nvCxnSpPr>
        <p:spPr>
          <a:xfrm>
            <a:off x="804000" y="6120000"/>
            <a:ext cx="1058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901" y="731743"/>
            <a:ext cx="5162550" cy="5105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53116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tuł z treścią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E469AE0-6A11-4B2F-B7B3-7AD9F72B3C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E469AE0-6A11-4B2F-B7B3-7AD9F72B3C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660401" y="457200"/>
            <a:ext cx="11034187" cy="1387624"/>
          </a:xfrm>
        </p:spPr>
        <p:txBody>
          <a:bodyPr vert="horz" lIns="0" tIns="0" rIns="0" bIns="0" rtlCol="0" anchor="t" anchorCtr="0">
            <a:noAutofit/>
          </a:bodyPr>
          <a:lstStyle>
            <a:lvl1pPr marL="359982" indent="-359982">
              <a:buNone/>
              <a:defRPr kumimoji="0" lang="en-US" sz="3600" i="0" u="none" strike="noStrike" spc="0" normalizeH="0" dirty="0">
                <a:ln>
                  <a:noFill/>
                </a:ln>
                <a:solidFill>
                  <a:srgbClr val="008789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lnSpc>
                <a:spcPct val="90000"/>
              </a:lnSpc>
              <a:spcAft>
                <a:spcPts val="0"/>
              </a:spcAft>
              <a:buClrTx/>
              <a:buSzTx/>
              <a:tabLst/>
            </a:pPr>
            <a:r>
              <a:rPr lang="en-US" dirty="0"/>
              <a:t>Click to add titl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660401" y="2000250"/>
            <a:ext cx="11034187" cy="4025903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kumimoji="0" lang="pl-PL" i="0" u="none" strike="noStrike" spc="0" normalizeH="0" noProof="0" dirty="0" smtClean="0">
                <a:ln>
                  <a:noFill/>
                </a:ln>
                <a:solidFill>
                  <a:srgbClr val="00878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 kumimoji="0" lang="pl-PL" b="0" i="0" u="none" strike="noStrik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 kumimoji="0" lang="pl-PL" b="0" i="0" u="none" strike="noStrike" spc="0" normalizeH="0" baseline="0" noProof="0" dirty="0" smtClean="0">
                <a:ln>
                  <a:noFill/>
                </a:ln>
                <a:solidFill>
                  <a:srgbClr val="7E93A5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 kumimoji="0" lang="pl-PL" i="0" u="none" strike="noStrik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 kumimoji="0" lang="en-US" b="0" i="0" u="none" strike="noStrik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marR="0" lvl="0" fontAlgn="auto">
              <a:buClr>
                <a:srgbClr val="008789"/>
              </a:buClr>
              <a:tabLst/>
            </a:pPr>
            <a:r>
              <a:rPr kumimoji="0" lang="pl-PL" sz="1800" b="1" i="0" u="none" strike="noStrike" kern="1200" cap="none" spc="0" normalizeH="0" baseline="0" noProof="0" dirty="0">
                <a:ln>
                  <a:noFill/>
                </a:ln>
                <a:solidFill>
                  <a:srgbClr val="008789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Kliknij, aby edytować style wzorca tekstu</a:t>
            </a:r>
          </a:p>
          <a:p>
            <a:pPr marR="0" lvl="1" fontAlgn="auto">
              <a:buClrTx/>
              <a:tabLst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rugi poziom</a:t>
            </a:r>
          </a:p>
          <a:p>
            <a:pPr marR="0" lvl="2" fontAlgn="auto">
              <a:buClr>
                <a:srgbClr val="7E93A5"/>
              </a:buClr>
              <a:tabLst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srgbClr val="7E93A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rzeci poziom</a:t>
            </a:r>
          </a:p>
          <a:p>
            <a:pPr marR="0" lvl="3" fontAlgn="auto">
              <a:buClr>
                <a:srgbClr val="008789"/>
              </a:buClr>
              <a:buSzPct val="90000"/>
              <a:tabLst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zwarty poziom</a:t>
            </a:r>
          </a:p>
          <a:p>
            <a:pPr marR="0" lvl="4" fontAlgn="auto">
              <a:lnSpc>
                <a:spcPct val="82000"/>
              </a:lnSpc>
              <a:buClr>
                <a:srgbClr val="008789"/>
              </a:buClr>
              <a:buSzPct val="90000"/>
              <a:tabLst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iąty poziom</a:t>
            </a:r>
          </a:p>
          <a:p>
            <a:pPr marR="0" lvl="4" fontAlgn="auto">
              <a:lnSpc>
                <a:spcPct val="82000"/>
              </a:lnSpc>
              <a:buClr>
                <a:srgbClr val="008789"/>
              </a:buClr>
              <a:buSzPct val="90000"/>
              <a:tabLst/>
            </a:pPr>
            <a:endParaRPr lang="en-US" dirty="0"/>
          </a:p>
        </p:txBody>
      </p:sp>
      <p:sp>
        <p:nvSpPr>
          <p:cNvPr id="20" name="Espace réservé du pied de page 4"/>
          <p:cNvSpPr txBox="1">
            <a:spLocks/>
          </p:cNvSpPr>
          <p:nvPr userDrawn="1"/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800" kern="1200" cap="all" baseline="0">
                <a:solidFill>
                  <a:schemeClr val="tx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1200" cap="all" spc="0" normalizeH="0" baseline="0" noProof="0">
              <a:ln>
                <a:noFill/>
              </a:ln>
              <a:solidFill>
                <a:srgbClr val="000000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Espace réservé du numéro de diapositive 5"/>
          <p:cNvSpPr txBox="1">
            <a:spLocks/>
          </p:cNvSpPr>
          <p:nvPr userDrawn="1"/>
        </p:nvSpPr>
        <p:spPr bwMode="gray">
          <a:xfrm>
            <a:off x="2040940" y="6480335"/>
            <a:ext cx="391321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733" b="0" kern="1200" cap="none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571E2A-2AE4-4AE9-A5FF-468BE27EC277}" type="slidenum">
              <a:rPr kumimoji="0" lang="fr-FR" sz="733" b="0" i="0" u="none" strike="noStrike" kern="1200" cap="none" spc="0" normalizeH="0" baseline="0" noProof="0" smtClean="0">
                <a:ln>
                  <a:noFill/>
                </a:ln>
                <a:solidFill>
                  <a:srgbClr val="7E93A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4675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fr-FR" sz="733" b="0" i="0" u="none" strike="noStrike" kern="1200" cap="none" spc="0" normalizeH="0" baseline="0" noProof="0">
              <a:ln>
                <a:noFill/>
              </a:ln>
              <a:solidFill>
                <a:srgbClr val="7E93A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Forme libre 32"/>
          <p:cNvSpPr/>
          <p:nvPr userDrawn="1"/>
        </p:nvSpPr>
        <p:spPr>
          <a:xfrm>
            <a:off x="340220" y="32502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1960 h 4392000"/>
              <a:gd name="connsiteX5" fmla="*/ 8844375 w 8892000"/>
              <a:gd name="connsiteY5" fmla="*/ 21960 h 4392000"/>
              <a:gd name="connsiteX6" fmla="*/ 8600970 w 8892000"/>
              <a:gd name="connsiteY6" fmla="*/ 21960 h 4392000"/>
              <a:gd name="connsiteX7" fmla="*/ 5824949 w 8892000"/>
              <a:gd name="connsiteY7" fmla="*/ 21960 h 4392000"/>
              <a:gd name="connsiteX8" fmla="*/ 5280375 w 8892000"/>
              <a:gd name="connsiteY8" fmla="*/ 21960 h 4392000"/>
              <a:gd name="connsiteX9" fmla="*/ 284701 w 8892000"/>
              <a:gd name="connsiteY9" fmla="*/ 21960 h 4392000"/>
              <a:gd name="connsiteX10" fmla="*/ 41295 w 8892000"/>
              <a:gd name="connsiteY10" fmla="*/ 265365 h 4392000"/>
              <a:gd name="connsiteX11" fmla="*/ 41295 w 8892000"/>
              <a:gd name="connsiteY11" fmla="*/ 4126635 h 4392000"/>
              <a:gd name="connsiteX12" fmla="*/ 284701 w 8892000"/>
              <a:gd name="connsiteY12" fmla="*/ 4370040 h 4392000"/>
              <a:gd name="connsiteX13" fmla="*/ 5280375 w 8892000"/>
              <a:gd name="connsiteY13" fmla="*/ 4370040 h 4392000"/>
              <a:gd name="connsiteX14" fmla="*/ 5824949 w 8892000"/>
              <a:gd name="connsiteY14" fmla="*/ 4370040 h 4392000"/>
              <a:gd name="connsiteX15" fmla="*/ 5824949 w 8892000"/>
              <a:gd name="connsiteY15" fmla="*/ 4370760 h 4392000"/>
              <a:gd name="connsiteX16" fmla="*/ 8892000 w 8892000"/>
              <a:gd name="connsiteY16" fmla="*/ 4370760 h 4392000"/>
              <a:gd name="connsiteX17" fmla="*/ 8892000 w 8892000"/>
              <a:gd name="connsiteY17" fmla="*/ 4392000 h 4392000"/>
              <a:gd name="connsiteX18" fmla="*/ 8646136 w 8892000"/>
              <a:gd name="connsiteY18" fmla="*/ 4392000 h 4392000"/>
              <a:gd name="connsiteX19" fmla="*/ 5292000 w 8892000"/>
              <a:gd name="connsiteY19" fmla="*/ 4392000 h 4392000"/>
              <a:gd name="connsiteX20" fmla="*/ 245864 w 8892000"/>
              <a:gd name="connsiteY20" fmla="*/ 4392000 h 4392000"/>
              <a:gd name="connsiteX21" fmla="*/ 0 w 8892000"/>
              <a:gd name="connsiteY21" fmla="*/ 4146136 h 4392000"/>
              <a:gd name="connsiteX22" fmla="*/ 0 w 8892000"/>
              <a:gd name="connsiteY22" fmla="*/ 245864 h 4392000"/>
              <a:gd name="connsiteX23" fmla="*/ 245864 w 8892000"/>
              <a:gd name="connsiteY23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1960"/>
                </a:lnTo>
                <a:lnTo>
                  <a:pt x="8844375" y="21960"/>
                </a:lnTo>
                <a:lnTo>
                  <a:pt x="8600970" y="21960"/>
                </a:lnTo>
                <a:lnTo>
                  <a:pt x="5824949" y="21960"/>
                </a:lnTo>
                <a:lnTo>
                  <a:pt x="5280375" y="21960"/>
                </a:lnTo>
                <a:lnTo>
                  <a:pt x="284701" y="21960"/>
                </a:lnTo>
                <a:cubicBezTo>
                  <a:pt x="150271" y="21960"/>
                  <a:pt x="41295" y="130936"/>
                  <a:pt x="41295" y="265365"/>
                </a:cubicBezTo>
                <a:lnTo>
                  <a:pt x="41295" y="4126635"/>
                </a:lnTo>
                <a:cubicBezTo>
                  <a:pt x="41295" y="4261064"/>
                  <a:pt x="150271" y="4370040"/>
                  <a:pt x="284701" y="4370040"/>
                </a:cubicBezTo>
                <a:lnTo>
                  <a:pt x="5280375" y="4370040"/>
                </a:lnTo>
                <a:lnTo>
                  <a:pt x="5824949" y="4370040"/>
                </a:lnTo>
                <a:lnTo>
                  <a:pt x="5824949" y="4370760"/>
                </a:lnTo>
                <a:lnTo>
                  <a:pt x="8892000" y="4370760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rgbClr val="7E93A5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675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4092766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E469AE0-6A11-4B2F-B7B3-7AD9F72B3C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E469AE0-6A11-4B2F-B7B3-7AD9F72B3C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60401" y="457201"/>
            <a:ext cx="11034187" cy="919537"/>
          </a:xfrm>
        </p:spPr>
        <p:txBody>
          <a:bodyPr vert="horz" lIns="0" tIns="0" rIns="0" bIns="0" rtlCol="0" anchor="t" anchorCtr="0">
            <a:noAutofit/>
          </a:bodyPr>
          <a:lstStyle>
            <a:lvl1pPr marL="359982" indent="-359982">
              <a:buNone/>
              <a:defRPr kumimoji="0" lang="en-US" sz="3600" i="0" u="none" strike="noStrike" spc="0" normalizeH="0" dirty="0">
                <a:ln>
                  <a:noFill/>
                </a:ln>
                <a:solidFill>
                  <a:srgbClr val="008789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lnSpc>
                <a:spcPct val="90000"/>
              </a:lnSpc>
              <a:spcAft>
                <a:spcPts val="0"/>
              </a:spcAft>
              <a:buClrTx/>
              <a:buSzTx/>
              <a:tabLst/>
            </a:pPr>
            <a:r>
              <a:rPr lang="en-US" dirty="0"/>
              <a:t>Click to add title</a:t>
            </a:r>
          </a:p>
        </p:txBody>
      </p:sp>
      <p:sp>
        <p:nvSpPr>
          <p:cNvPr id="17" name="Espace réservé du pied de page 4"/>
          <p:cNvSpPr txBox="1">
            <a:spLocks/>
          </p:cNvSpPr>
          <p:nvPr userDrawn="1"/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800" kern="1200" cap="all" baseline="0">
                <a:solidFill>
                  <a:schemeClr val="tx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1200" cap="all" spc="0" normalizeH="0" baseline="0" noProof="0">
              <a:ln>
                <a:noFill/>
              </a:ln>
              <a:solidFill>
                <a:srgbClr val="000000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Espace réservé du numéro de diapositive 5"/>
          <p:cNvSpPr txBox="1">
            <a:spLocks/>
          </p:cNvSpPr>
          <p:nvPr userDrawn="1"/>
        </p:nvSpPr>
        <p:spPr bwMode="gray">
          <a:xfrm>
            <a:off x="2040940" y="6480335"/>
            <a:ext cx="391321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733" b="0" kern="1200" cap="none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571E2A-2AE4-4AE9-A5FF-468BE27EC277}" type="slidenum">
              <a:rPr kumimoji="0" lang="fr-FR" sz="733" b="0" i="0" u="none" strike="noStrike" kern="1200" cap="none" spc="0" normalizeH="0" baseline="0" noProof="0" smtClean="0">
                <a:ln>
                  <a:noFill/>
                </a:ln>
                <a:solidFill>
                  <a:srgbClr val="7E93A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4675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fr-FR" sz="733" b="0" i="0" u="none" strike="noStrike" kern="1200" cap="none" spc="0" normalizeH="0" baseline="0" noProof="0">
              <a:ln>
                <a:noFill/>
              </a:ln>
              <a:solidFill>
                <a:srgbClr val="7E93A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Forme libre 32"/>
          <p:cNvSpPr/>
          <p:nvPr userDrawn="1"/>
        </p:nvSpPr>
        <p:spPr>
          <a:xfrm>
            <a:off x="340220" y="32502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1960 h 4392000"/>
              <a:gd name="connsiteX5" fmla="*/ 8844375 w 8892000"/>
              <a:gd name="connsiteY5" fmla="*/ 21960 h 4392000"/>
              <a:gd name="connsiteX6" fmla="*/ 8600970 w 8892000"/>
              <a:gd name="connsiteY6" fmla="*/ 21960 h 4392000"/>
              <a:gd name="connsiteX7" fmla="*/ 5824949 w 8892000"/>
              <a:gd name="connsiteY7" fmla="*/ 21960 h 4392000"/>
              <a:gd name="connsiteX8" fmla="*/ 5280375 w 8892000"/>
              <a:gd name="connsiteY8" fmla="*/ 21960 h 4392000"/>
              <a:gd name="connsiteX9" fmla="*/ 284701 w 8892000"/>
              <a:gd name="connsiteY9" fmla="*/ 21960 h 4392000"/>
              <a:gd name="connsiteX10" fmla="*/ 41295 w 8892000"/>
              <a:gd name="connsiteY10" fmla="*/ 265365 h 4392000"/>
              <a:gd name="connsiteX11" fmla="*/ 41295 w 8892000"/>
              <a:gd name="connsiteY11" fmla="*/ 4126635 h 4392000"/>
              <a:gd name="connsiteX12" fmla="*/ 284701 w 8892000"/>
              <a:gd name="connsiteY12" fmla="*/ 4370040 h 4392000"/>
              <a:gd name="connsiteX13" fmla="*/ 5280375 w 8892000"/>
              <a:gd name="connsiteY13" fmla="*/ 4370040 h 4392000"/>
              <a:gd name="connsiteX14" fmla="*/ 5824949 w 8892000"/>
              <a:gd name="connsiteY14" fmla="*/ 4370040 h 4392000"/>
              <a:gd name="connsiteX15" fmla="*/ 5824949 w 8892000"/>
              <a:gd name="connsiteY15" fmla="*/ 4370760 h 4392000"/>
              <a:gd name="connsiteX16" fmla="*/ 8892000 w 8892000"/>
              <a:gd name="connsiteY16" fmla="*/ 4370760 h 4392000"/>
              <a:gd name="connsiteX17" fmla="*/ 8892000 w 8892000"/>
              <a:gd name="connsiteY17" fmla="*/ 4392000 h 4392000"/>
              <a:gd name="connsiteX18" fmla="*/ 8646136 w 8892000"/>
              <a:gd name="connsiteY18" fmla="*/ 4392000 h 4392000"/>
              <a:gd name="connsiteX19" fmla="*/ 5292000 w 8892000"/>
              <a:gd name="connsiteY19" fmla="*/ 4392000 h 4392000"/>
              <a:gd name="connsiteX20" fmla="*/ 245864 w 8892000"/>
              <a:gd name="connsiteY20" fmla="*/ 4392000 h 4392000"/>
              <a:gd name="connsiteX21" fmla="*/ 0 w 8892000"/>
              <a:gd name="connsiteY21" fmla="*/ 4146136 h 4392000"/>
              <a:gd name="connsiteX22" fmla="*/ 0 w 8892000"/>
              <a:gd name="connsiteY22" fmla="*/ 245864 h 4392000"/>
              <a:gd name="connsiteX23" fmla="*/ 245864 w 8892000"/>
              <a:gd name="connsiteY23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1960"/>
                </a:lnTo>
                <a:lnTo>
                  <a:pt x="8844375" y="21960"/>
                </a:lnTo>
                <a:lnTo>
                  <a:pt x="8600970" y="21960"/>
                </a:lnTo>
                <a:lnTo>
                  <a:pt x="5824949" y="21960"/>
                </a:lnTo>
                <a:lnTo>
                  <a:pt x="5280375" y="21960"/>
                </a:lnTo>
                <a:lnTo>
                  <a:pt x="284701" y="21960"/>
                </a:lnTo>
                <a:cubicBezTo>
                  <a:pt x="150271" y="21960"/>
                  <a:pt x="41295" y="130936"/>
                  <a:pt x="41295" y="265365"/>
                </a:cubicBezTo>
                <a:lnTo>
                  <a:pt x="41295" y="4126635"/>
                </a:lnTo>
                <a:cubicBezTo>
                  <a:pt x="41295" y="4261064"/>
                  <a:pt x="150271" y="4370040"/>
                  <a:pt x="284701" y="4370040"/>
                </a:cubicBezTo>
                <a:lnTo>
                  <a:pt x="5280375" y="4370040"/>
                </a:lnTo>
                <a:lnTo>
                  <a:pt x="5824949" y="4370040"/>
                </a:lnTo>
                <a:lnTo>
                  <a:pt x="5824949" y="4370760"/>
                </a:lnTo>
                <a:lnTo>
                  <a:pt x="8892000" y="4370760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rgbClr val="7E93A5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675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5254420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tuł Mał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E469AE0-6A11-4B2F-B7B3-7AD9F72B3C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E469AE0-6A11-4B2F-B7B3-7AD9F72B3C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8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12800" y="609601"/>
            <a:ext cx="11034187" cy="1167319"/>
          </a:xfrm>
        </p:spPr>
        <p:txBody>
          <a:bodyPr/>
          <a:lstStyle>
            <a:lvl1pPr>
              <a:defRPr kumimoji="0" lang="en-US" sz="2800" b="1" i="0" u="none" strike="noStrike" kern="1200" cap="none" spc="0" normalizeH="0" baseline="0" dirty="0">
                <a:ln>
                  <a:noFill/>
                </a:ln>
                <a:solidFill>
                  <a:srgbClr val="008789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algn="l" defTabSz="9143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</a:pPr>
            <a:r>
              <a:rPr lang="en-US" dirty="0"/>
              <a:t>Click to add title</a:t>
            </a:r>
          </a:p>
        </p:txBody>
      </p:sp>
      <p:sp>
        <p:nvSpPr>
          <p:cNvPr id="24" name="Forme libre 32"/>
          <p:cNvSpPr/>
          <p:nvPr userDrawn="1"/>
        </p:nvSpPr>
        <p:spPr>
          <a:xfrm>
            <a:off x="340220" y="32502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1960 h 4392000"/>
              <a:gd name="connsiteX5" fmla="*/ 8844375 w 8892000"/>
              <a:gd name="connsiteY5" fmla="*/ 21960 h 4392000"/>
              <a:gd name="connsiteX6" fmla="*/ 8600970 w 8892000"/>
              <a:gd name="connsiteY6" fmla="*/ 21960 h 4392000"/>
              <a:gd name="connsiteX7" fmla="*/ 5824949 w 8892000"/>
              <a:gd name="connsiteY7" fmla="*/ 21960 h 4392000"/>
              <a:gd name="connsiteX8" fmla="*/ 5280375 w 8892000"/>
              <a:gd name="connsiteY8" fmla="*/ 21960 h 4392000"/>
              <a:gd name="connsiteX9" fmla="*/ 284701 w 8892000"/>
              <a:gd name="connsiteY9" fmla="*/ 21960 h 4392000"/>
              <a:gd name="connsiteX10" fmla="*/ 41295 w 8892000"/>
              <a:gd name="connsiteY10" fmla="*/ 265365 h 4392000"/>
              <a:gd name="connsiteX11" fmla="*/ 41295 w 8892000"/>
              <a:gd name="connsiteY11" fmla="*/ 4126635 h 4392000"/>
              <a:gd name="connsiteX12" fmla="*/ 284701 w 8892000"/>
              <a:gd name="connsiteY12" fmla="*/ 4370040 h 4392000"/>
              <a:gd name="connsiteX13" fmla="*/ 5280375 w 8892000"/>
              <a:gd name="connsiteY13" fmla="*/ 4370040 h 4392000"/>
              <a:gd name="connsiteX14" fmla="*/ 5824949 w 8892000"/>
              <a:gd name="connsiteY14" fmla="*/ 4370040 h 4392000"/>
              <a:gd name="connsiteX15" fmla="*/ 5824949 w 8892000"/>
              <a:gd name="connsiteY15" fmla="*/ 4370760 h 4392000"/>
              <a:gd name="connsiteX16" fmla="*/ 8892000 w 8892000"/>
              <a:gd name="connsiteY16" fmla="*/ 4370760 h 4392000"/>
              <a:gd name="connsiteX17" fmla="*/ 8892000 w 8892000"/>
              <a:gd name="connsiteY17" fmla="*/ 4392000 h 4392000"/>
              <a:gd name="connsiteX18" fmla="*/ 8646136 w 8892000"/>
              <a:gd name="connsiteY18" fmla="*/ 4392000 h 4392000"/>
              <a:gd name="connsiteX19" fmla="*/ 5292000 w 8892000"/>
              <a:gd name="connsiteY19" fmla="*/ 4392000 h 4392000"/>
              <a:gd name="connsiteX20" fmla="*/ 245864 w 8892000"/>
              <a:gd name="connsiteY20" fmla="*/ 4392000 h 4392000"/>
              <a:gd name="connsiteX21" fmla="*/ 0 w 8892000"/>
              <a:gd name="connsiteY21" fmla="*/ 4146136 h 4392000"/>
              <a:gd name="connsiteX22" fmla="*/ 0 w 8892000"/>
              <a:gd name="connsiteY22" fmla="*/ 245864 h 4392000"/>
              <a:gd name="connsiteX23" fmla="*/ 245864 w 8892000"/>
              <a:gd name="connsiteY23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1960"/>
                </a:lnTo>
                <a:lnTo>
                  <a:pt x="8844375" y="21960"/>
                </a:lnTo>
                <a:lnTo>
                  <a:pt x="8600970" y="21960"/>
                </a:lnTo>
                <a:lnTo>
                  <a:pt x="5824949" y="21960"/>
                </a:lnTo>
                <a:lnTo>
                  <a:pt x="5280375" y="21960"/>
                </a:lnTo>
                <a:lnTo>
                  <a:pt x="284701" y="21960"/>
                </a:lnTo>
                <a:cubicBezTo>
                  <a:pt x="150271" y="21960"/>
                  <a:pt x="41295" y="130936"/>
                  <a:pt x="41295" y="265365"/>
                </a:cubicBezTo>
                <a:lnTo>
                  <a:pt x="41295" y="4126635"/>
                </a:lnTo>
                <a:cubicBezTo>
                  <a:pt x="41295" y="4261064"/>
                  <a:pt x="150271" y="4370040"/>
                  <a:pt x="284701" y="4370040"/>
                </a:cubicBezTo>
                <a:lnTo>
                  <a:pt x="5280375" y="4370040"/>
                </a:lnTo>
                <a:lnTo>
                  <a:pt x="5824949" y="4370040"/>
                </a:lnTo>
                <a:lnTo>
                  <a:pt x="5824949" y="4370760"/>
                </a:lnTo>
                <a:lnTo>
                  <a:pt x="8892000" y="4370760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rgbClr val="7E93A5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675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1538485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tuł z treścią i wykre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7D38FD-4936-4E22-B300-FC79462619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7D38FD-4936-4E22-B300-FC79462619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60401" y="457201"/>
            <a:ext cx="11034187" cy="956039"/>
          </a:xfrm>
        </p:spPr>
        <p:txBody>
          <a:bodyPr/>
          <a:lstStyle>
            <a:lvl1pPr marL="359982" indent="-359982">
              <a:buNone/>
              <a:defRPr kumimoji="0" lang="en-US" sz="3600" b="1" i="0" u="none" strike="noStrike" kern="1200" cap="none" spc="0" normalizeH="0" baseline="0" dirty="0">
                <a:ln>
                  <a:noFill/>
                </a:ln>
                <a:solidFill>
                  <a:srgbClr val="008789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algn="l" defTabSz="9143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Click to add title</a:t>
            </a:r>
          </a:p>
        </p:txBody>
      </p:sp>
      <p:sp>
        <p:nvSpPr>
          <p:cNvPr id="45" name="Chart Placeholder 44"/>
          <p:cNvSpPr>
            <a:spLocks noGrp="1"/>
          </p:cNvSpPr>
          <p:nvPr>
            <p:ph type="chart" sz="quarter" idx="13" hasCustomPrompt="1"/>
          </p:nvPr>
        </p:nvSpPr>
        <p:spPr>
          <a:xfrm>
            <a:off x="660401" y="2164080"/>
            <a:ext cx="5171867" cy="3862069"/>
          </a:xfrm>
          <a:solidFill>
            <a:srgbClr val="FFFFFF">
              <a:lumMod val="85000"/>
            </a:srgbClr>
          </a:solidFill>
        </p:spPr>
        <p:txBody>
          <a:bodyPr vert="horz" lIns="0" tIns="1260000" rIns="0" bIns="0" rtlCol="0" anchor="t" anchorCtr="0">
            <a:noAutofit/>
          </a:bodyPr>
          <a:lstStyle>
            <a:lvl1pPr>
              <a:defRPr kumimoji="0" lang="pl-PL" sz="1200" i="0" u="none" strike="noStrik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R="0" lvl="0" algn="ctr" fontAlgn="auto">
              <a:buClrTx/>
              <a:buNone/>
              <a:tabLst/>
            </a:pPr>
            <a:r>
              <a:rPr kumimoji="0" lang="pl-PL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ykr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660401" y="1518659"/>
            <a:ext cx="11034187" cy="529216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kumimoji="0" lang="en-US" i="0" u="none" strike="noStrike" spc="0" normalizeH="0" dirty="0">
                <a:ln>
                  <a:noFill/>
                </a:ln>
                <a:solidFill>
                  <a:srgbClr val="00878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spcAft>
                <a:spcPts val="600"/>
              </a:spcAft>
              <a:buClrTx/>
              <a:buNone/>
              <a:tabLst/>
            </a:pPr>
            <a:r>
              <a:rPr lang="en-US" dirty="0"/>
              <a:t>Subtitl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2" hasCustomPrompt="1"/>
          </p:nvPr>
        </p:nvSpPr>
        <p:spPr>
          <a:xfrm>
            <a:off x="6522721" y="2164080"/>
            <a:ext cx="5171867" cy="386206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kumimoji="0" lang="pl-PL" sz="1400" i="0" u="none" strike="noStrike" spc="0" normalizeH="0" noProof="0" dirty="0" smtClean="0">
                <a:ln>
                  <a:noFill/>
                </a:ln>
                <a:solidFill>
                  <a:srgbClr val="00878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 kumimoji="0" lang="pl-PL" sz="1400" b="0" i="0" u="none" strike="noStrike" spc="0" normalizeH="0" baseline="0" noProof="0" dirty="0" smtClean="0">
                <a:ln>
                  <a:noFill/>
                </a:ln>
                <a:solidFill>
                  <a:srgbClr val="7E93A5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</a:lstStyle>
          <a:p>
            <a:pPr marL="244789" marR="0" lvl="0" indent="-244789" fontAlgn="auto">
              <a:lnSpc>
                <a:spcPct val="95000"/>
              </a:lnSpc>
              <a:buClr>
                <a:srgbClr val="008789"/>
              </a:buClr>
              <a:buSzPct val="90000"/>
              <a:buChar char="§"/>
              <a:tabLst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srgbClr val="008789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odyfikuj style wzorca tekstu</a:t>
            </a:r>
          </a:p>
          <a:p>
            <a:pPr marL="244789" marR="0" lvl="1" indent="-244789" fontAlgn="auto">
              <a:lnSpc>
                <a:spcPct val="95000"/>
              </a:lnSpc>
              <a:buClr>
                <a:srgbClr val="7E93A5"/>
              </a:buClr>
              <a:buSzPct val="90000"/>
              <a:tabLst/>
            </a:pPr>
            <a:r>
              <a:rPr kumimoji="0" lang="pl-PL" sz="1400" b="0" i="0" u="none" strike="noStrike" kern="1200" cap="none" spc="0" normalizeH="0" baseline="0" noProof="0" dirty="0">
                <a:ln>
                  <a:noFill/>
                </a:ln>
                <a:solidFill>
                  <a:srgbClr val="7E93A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rugi poziom</a:t>
            </a:r>
          </a:p>
        </p:txBody>
      </p:sp>
      <p:sp>
        <p:nvSpPr>
          <p:cNvPr id="40" name="Espace réservé du pied de page 4"/>
          <p:cNvSpPr txBox="1">
            <a:spLocks/>
          </p:cNvSpPr>
          <p:nvPr userDrawn="1"/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800" kern="1200" cap="all" baseline="0">
                <a:solidFill>
                  <a:schemeClr val="tx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1200" cap="all" spc="0" normalizeH="0" baseline="0" noProof="0">
              <a:ln>
                <a:noFill/>
              </a:ln>
              <a:solidFill>
                <a:srgbClr val="000000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1" name="Espace réservé du numéro de diapositive 5"/>
          <p:cNvSpPr txBox="1">
            <a:spLocks/>
          </p:cNvSpPr>
          <p:nvPr userDrawn="1"/>
        </p:nvSpPr>
        <p:spPr bwMode="gray">
          <a:xfrm>
            <a:off x="2040940" y="6480335"/>
            <a:ext cx="391321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733" b="0" kern="1200" cap="none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571E2A-2AE4-4AE9-A5FF-468BE27EC277}" type="slidenum">
              <a:rPr kumimoji="0" lang="fr-FR" sz="733" b="0" i="0" u="none" strike="noStrike" kern="1200" cap="none" spc="0" normalizeH="0" baseline="0" noProof="0" smtClean="0">
                <a:ln>
                  <a:noFill/>
                </a:ln>
                <a:solidFill>
                  <a:srgbClr val="7E93A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4675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fr-FR" sz="733" b="0" i="0" u="none" strike="noStrike" kern="1200" cap="none" spc="0" normalizeH="0" baseline="0" noProof="0">
              <a:ln>
                <a:noFill/>
              </a:ln>
              <a:solidFill>
                <a:srgbClr val="7E93A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2" name="Forme libre 32"/>
          <p:cNvSpPr/>
          <p:nvPr userDrawn="1"/>
        </p:nvSpPr>
        <p:spPr>
          <a:xfrm>
            <a:off x="340220" y="32502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1960 h 4392000"/>
              <a:gd name="connsiteX5" fmla="*/ 8844375 w 8892000"/>
              <a:gd name="connsiteY5" fmla="*/ 21960 h 4392000"/>
              <a:gd name="connsiteX6" fmla="*/ 8600970 w 8892000"/>
              <a:gd name="connsiteY6" fmla="*/ 21960 h 4392000"/>
              <a:gd name="connsiteX7" fmla="*/ 5824949 w 8892000"/>
              <a:gd name="connsiteY7" fmla="*/ 21960 h 4392000"/>
              <a:gd name="connsiteX8" fmla="*/ 5280375 w 8892000"/>
              <a:gd name="connsiteY8" fmla="*/ 21960 h 4392000"/>
              <a:gd name="connsiteX9" fmla="*/ 284701 w 8892000"/>
              <a:gd name="connsiteY9" fmla="*/ 21960 h 4392000"/>
              <a:gd name="connsiteX10" fmla="*/ 41295 w 8892000"/>
              <a:gd name="connsiteY10" fmla="*/ 265365 h 4392000"/>
              <a:gd name="connsiteX11" fmla="*/ 41295 w 8892000"/>
              <a:gd name="connsiteY11" fmla="*/ 4126635 h 4392000"/>
              <a:gd name="connsiteX12" fmla="*/ 284701 w 8892000"/>
              <a:gd name="connsiteY12" fmla="*/ 4370040 h 4392000"/>
              <a:gd name="connsiteX13" fmla="*/ 5280375 w 8892000"/>
              <a:gd name="connsiteY13" fmla="*/ 4370040 h 4392000"/>
              <a:gd name="connsiteX14" fmla="*/ 5824949 w 8892000"/>
              <a:gd name="connsiteY14" fmla="*/ 4370040 h 4392000"/>
              <a:gd name="connsiteX15" fmla="*/ 5824949 w 8892000"/>
              <a:gd name="connsiteY15" fmla="*/ 4370760 h 4392000"/>
              <a:gd name="connsiteX16" fmla="*/ 8892000 w 8892000"/>
              <a:gd name="connsiteY16" fmla="*/ 4370760 h 4392000"/>
              <a:gd name="connsiteX17" fmla="*/ 8892000 w 8892000"/>
              <a:gd name="connsiteY17" fmla="*/ 4392000 h 4392000"/>
              <a:gd name="connsiteX18" fmla="*/ 8646136 w 8892000"/>
              <a:gd name="connsiteY18" fmla="*/ 4392000 h 4392000"/>
              <a:gd name="connsiteX19" fmla="*/ 5292000 w 8892000"/>
              <a:gd name="connsiteY19" fmla="*/ 4392000 h 4392000"/>
              <a:gd name="connsiteX20" fmla="*/ 245864 w 8892000"/>
              <a:gd name="connsiteY20" fmla="*/ 4392000 h 4392000"/>
              <a:gd name="connsiteX21" fmla="*/ 0 w 8892000"/>
              <a:gd name="connsiteY21" fmla="*/ 4146136 h 4392000"/>
              <a:gd name="connsiteX22" fmla="*/ 0 w 8892000"/>
              <a:gd name="connsiteY22" fmla="*/ 245864 h 4392000"/>
              <a:gd name="connsiteX23" fmla="*/ 245864 w 8892000"/>
              <a:gd name="connsiteY23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1960"/>
                </a:lnTo>
                <a:lnTo>
                  <a:pt x="8844375" y="21960"/>
                </a:lnTo>
                <a:lnTo>
                  <a:pt x="8600970" y="21960"/>
                </a:lnTo>
                <a:lnTo>
                  <a:pt x="5824949" y="21960"/>
                </a:lnTo>
                <a:lnTo>
                  <a:pt x="5280375" y="21960"/>
                </a:lnTo>
                <a:lnTo>
                  <a:pt x="284701" y="21960"/>
                </a:lnTo>
                <a:cubicBezTo>
                  <a:pt x="150271" y="21960"/>
                  <a:pt x="41295" y="130936"/>
                  <a:pt x="41295" y="265365"/>
                </a:cubicBezTo>
                <a:lnTo>
                  <a:pt x="41295" y="4126635"/>
                </a:lnTo>
                <a:cubicBezTo>
                  <a:pt x="41295" y="4261064"/>
                  <a:pt x="150271" y="4370040"/>
                  <a:pt x="284701" y="4370040"/>
                </a:cubicBezTo>
                <a:lnTo>
                  <a:pt x="5280375" y="4370040"/>
                </a:lnTo>
                <a:lnTo>
                  <a:pt x="5824949" y="4370040"/>
                </a:lnTo>
                <a:lnTo>
                  <a:pt x="5824949" y="4370760"/>
                </a:lnTo>
                <a:lnTo>
                  <a:pt x="8892000" y="4370760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rgbClr val="7E93A5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675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5340176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tuł z treścią i obraz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1A8122D-78D9-485A-9AA3-C0900508A9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1A8122D-78D9-485A-9AA3-C0900508A9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Picture Placeholder 26"/>
          <p:cNvSpPr>
            <a:spLocks noGrp="1"/>
          </p:cNvSpPr>
          <p:nvPr>
            <p:ph type="pic" sz="quarter" idx="12" hasCustomPrompt="1"/>
          </p:nvPr>
        </p:nvSpPr>
        <p:spPr>
          <a:xfrm>
            <a:off x="6096000" y="347134"/>
            <a:ext cx="6096000" cy="5812367"/>
          </a:xfrm>
          <a:solidFill>
            <a:srgbClr val="FFFFFF">
              <a:lumMod val="85000"/>
            </a:srgbClr>
          </a:solidFill>
        </p:spPr>
        <p:txBody>
          <a:bodyPr vert="horz" wrap="square" lIns="0" tIns="0" rIns="0" bIns="1260000" rtlCol="0" anchor="ctr" anchorCtr="0">
            <a:noAutofit/>
          </a:bodyPr>
          <a:lstStyle>
            <a:lvl1pPr>
              <a:defRPr kumimoji="0" lang="pl-PL" sz="1200" i="0" u="none" strike="noStrik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algn="ctr" fontAlgn="auto">
              <a:lnSpc>
                <a:spcPct val="100000"/>
              </a:lnSpc>
              <a:spcAft>
                <a:spcPts val="0"/>
              </a:spcAft>
              <a:buClrTx/>
              <a:buSzTx/>
              <a:buFont typeface="Arial" pitchFamily="34" charset="0"/>
              <a:buNone/>
              <a:tabLst/>
            </a:pPr>
            <a:r>
              <a:rPr kumimoji="0" lang="pl-PL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braz</a:t>
            </a:r>
          </a:p>
        </p:txBody>
      </p:sp>
      <p:sp>
        <p:nvSpPr>
          <p:cNvPr id="25" name="Content Placeholder 24"/>
          <p:cNvSpPr>
            <a:spLocks noGrp="1"/>
          </p:cNvSpPr>
          <p:nvPr>
            <p:ph sz="quarter" idx="11" hasCustomPrompt="1"/>
          </p:nvPr>
        </p:nvSpPr>
        <p:spPr>
          <a:xfrm>
            <a:off x="660400" y="1518660"/>
            <a:ext cx="5283200" cy="4507493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kumimoji="0" lang="pl-PL" b="0" i="0" u="none" strike="noStrike" spc="0" normalizeH="0" noProof="0" dirty="0" smtClean="0">
                <a:ln>
                  <a:noFill/>
                </a:ln>
                <a:solidFill>
                  <a:srgbClr val="7E93A5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buClrTx/>
              <a:buFont typeface="Arial" pitchFamily="34" charset="0"/>
              <a:buNone/>
              <a:tabLst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srgbClr val="7E93A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odyfikuj style wzorca tekstu</a:t>
            </a:r>
          </a:p>
        </p:txBody>
      </p:sp>
      <p:sp>
        <p:nvSpPr>
          <p:cNvPr id="21" name="Espace réservé du pied de page 4"/>
          <p:cNvSpPr txBox="1">
            <a:spLocks/>
          </p:cNvSpPr>
          <p:nvPr userDrawn="1"/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800" kern="1200" cap="all" baseline="0">
                <a:solidFill>
                  <a:schemeClr val="tx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1200" cap="all" spc="0" normalizeH="0" baseline="0" noProof="0">
              <a:ln>
                <a:noFill/>
              </a:ln>
              <a:solidFill>
                <a:srgbClr val="000000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Espace réservé du numéro de diapositive 5"/>
          <p:cNvSpPr txBox="1">
            <a:spLocks/>
          </p:cNvSpPr>
          <p:nvPr userDrawn="1"/>
        </p:nvSpPr>
        <p:spPr bwMode="gray">
          <a:xfrm>
            <a:off x="2040940" y="6480335"/>
            <a:ext cx="391321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733" b="0" kern="1200" cap="none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571E2A-2AE4-4AE9-A5FF-468BE27EC277}" type="slidenum">
              <a:rPr kumimoji="0" lang="fr-FR" sz="733" b="0" i="0" u="none" strike="noStrike" kern="1200" cap="none" spc="0" normalizeH="0" baseline="0" noProof="0" smtClean="0">
                <a:ln>
                  <a:noFill/>
                </a:ln>
                <a:solidFill>
                  <a:srgbClr val="7E93A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4675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fr-FR" sz="733" b="0" i="0" u="none" strike="noStrike" kern="1200" cap="none" spc="0" normalizeH="0" baseline="0" noProof="0">
              <a:ln>
                <a:noFill/>
              </a:ln>
              <a:solidFill>
                <a:srgbClr val="7E93A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60400" y="457201"/>
            <a:ext cx="5283200" cy="956039"/>
          </a:xfrm>
        </p:spPr>
        <p:txBody>
          <a:bodyPr vert="horz" lIns="0" tIns="0" rIns="0" bIns="0" rtlCol="0" anchor="t" anchorCtr="0">
            <a:noAutofit/>
          </a:bodyPr>
          <a:lstStyle>
            <a:lvl1pPr marL="359982" indent="-359982">
              <a:buNone/>
              <a:defRPr kumimoji="0" lang="en-US" sz="2800" i="0" u="none" strike="noStrike" spc="0" normalizeH="0" dirty="0">
                <a:ln>
                  <a:noFill/>
                </a:ln>
                <a:solidFill>
                  <a:srgbClr val="008789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lnSpc>
                <a:spcPct val="90000"/>
              </a:lnSpc>
              <a:spcAft>
                <a:spcPts val="0"/>
              </a:spcAft>
              <a:buClrTx/>
              <a:buSzTx/>
              <a:tabLst/>
            </a:pPr>
            <a:r>
              <a:rPr lang="en-US" dirty="0"/>
              <a:t>Click to add title</a:t>
            </a:r>
          </a:p>
        </p:txBody>
      </p:sp>
      <p:sp>
        <p:nvSpPr>
          <p:cNvPr id="24" name="Forme libre 32"/>
          <p:cNvSpPr/>
          <p:nvPr userDrawn="1"/>
        </p:nvSpPr>
        <p:spPr>
          <a:xfrm>
            <a:off x="340220" y="32502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1960 h 4392000"/>
              <a:gd name="connsiteX5" fmla="*/ 8844375 w 8892000"/>
              <a:gd name="connsiteY5" fmla="*/ 21960 h 4392000"/>
              <a:gd name="connsiteX6" fmla="*/ 8600970 w 8892000"/>
              <a:gd name="connsiteY6" fmla="*/ 21960 h 4392000"/>
              <a:gd name="connsiteX7" fmla="*/ 5824949 w 8892000"/>
              <a:gd name="connsiteY7" fmla="*/ 21960 h 4392000"/>
              <a:gd name="connsiteX8" fmla="*/ 5280375 w 8892000"/>
              <a:gd name="connsiteY8" fmla="*/ 21960 h 4392000"/>
              <a:gd name="connsiteX9" fmla="*/ 284701 w 8892000"/>
              <a:gd name="connsiteY9" fmla="*/ 21960 h 4392000"/>
              <a:gd name="connsiteX10" fmla="*/ 41295 w 8892000"/>
              <a:gd name="connsiteY10" fmla="*/ 265365 h 4392000"/>
              <a:gd name="connsiteX11" fmla="*/ 41295 w 8892000"/>
              <a:gd name="connsiteY11" fmla="*/ 4126635 h 4392000"/>
              <a:gd name="connsiteX12" fmla="*/ 284701 w 8892000"/>
              <a:gd name="connsiteY12" fmla="*/ 4370040 h 4392000"/>
              <a:gd name="connsiteX13" fmla="*/ 5280375 w 8892000"/>
              <a:gd name="connsiteY13" fmla="*/ 4370040 h 4392000"/>
              <a:gd name="connsiteX14" fmla="*/ 5824949 w 8892000"/>
              <a:gd name="connsiteY14" fmla="*/ 4370040 h 4392000"/>
              <a:gd name="connsiteX15" fmla="*/ 5824949 w 8892000"/>
              <a:gd name="connsiteY15" fmla="*/ 4370760 h 4392000"/>
              <a:gd name="connsiteX16" fmla="*/ 8892000 w 8892000"/>
              <a:gd name="connsiteY16" fmla="*/ 4370760 h 4392000"/>
              <a:gd name="connsiteX17" fmla="*/ 8892000 w 8892000"/>
              <a:gd name="connsiteY17" fmla="*/ 4392000 h 4392000"/>
              <a:gd name="connsiteX18" fmla="*/ 8646136 w 8892000"/>
              <a:gd name="connsiteY18" fmla="*/ 4392000 h 4392000"/>
              <a:gd name="connsiteX19" fmla="*/ 5292000 w 8892000"/>
              <a:gd name="connsiteY19" fmla="*/ 4392000 h 4392000"/>
              <a:gd name="connsiteX20" fmla="*/ 245864 w 8892000"/>
              <a:gd name="connsiteY20" fmla="*/ 4392000 h 4392000"/>
              <a:gd name="connsiteX21" fmla="*/ 0 w 8892000"/>
              <a:gd name="connsiteY21" fmla="*/ 4146136 h 4392000"/>
              <a:gd name="connsiteX22" fmla="*/ 0 w 8892000"/>
              <a:gd name="connsiteY22" fmla="*/ 245864 h 4392000"/>
              <a:gd name="connsiteX23" fmla="*/ 245864 w 8892000"/>
              <a:gd name="connsiteY23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1960"/>
                </a:lnTo>
                <a:lnTo>
                  <a:pt x="8844375" y="21960"/>
                </a:lnTo>
                <a:lnTo>
                  <a:pt x="8600970" y="21960"/>
                </a:lnTo>
                <a:lnTo>
                  <a:pt x="5824949" y="21960"/>
                </a:lnTo>
                <a:lnTo>
                  <a:pt x="5280375" y="21960"/>
                </a:lnTo>
                <a:lnTo>
                  <a:pt x="284701" y="21960"/>
                </a:lnTo>
                <a:cubicBezTo>
                  <a:pt x="150271" y="21960"/>
                  <a:pt x="41295" y="130936"/>
                  <a:pt x="41295" y="265365"/>
                </a:cubicBezTo>
                <a:lnTo>
                  <a:pt x="41295" y="4126635"/>
                </a:lnTo>
                <a:cubicBezTo>
                  <a:pt x="41295" y="4261064"/>
                  <a:pt x="150271" y="4370040"/>
                  <a:pt x="284701" y="4370040"/>
                </a:cubicBezTo>
                <a:lnTo>
                  <a:pt x="5280375" y="4370040"/>
                </a:lnTo>
                <a:lnTo>
                  <a:pt x="5824949" y="4370040"/>
                </a:lnTo>
                <a:lnTo>
                  <a:pt x="5824949" y="4370760"/>
                </a:lnTo>
                <a:lnTo>
                  <a:pt x="8892000" y="4370760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rgbClr val="7E93A5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675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8592099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rona zamykając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Obraz 5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15128" y="5255492"/>
            <a:ext cx="7952509" cy="1089891"/>
          </a:xfrm>
          <a:prstGeom prst="rect">
            <a:avLst/>
          </a:prstGeom>
        </p:spPr>
      </p:pic>
      <p:sp>
        <p:nvSpPr>
          <p:cNvPr id="8" name="Espace réservé du pied de page 4"/>
          <p:cNvSpPr txBox="1">
            <a:spLocks/>
          </p:cNvSpPr>
          <p:nvPr userDrawn="1"/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800" kern="1200" cap="all" baseline="0">
                <a:solidFill>
                  <a:schemeClr val="tx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1200" cap="all" spc="0" normalizeH="0" baseline="0" noProof="0">
              <a:ln>
                <a:noFill/>
              </a:ln>
              <a:solidFill>
                <a:srgbClr val="000000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6897128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E469AE0-6A11-4B2F-B7B3-7AD9F72B3C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E469AE0-6A11-4B2F-B7B3-7AD9F72B3C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Espace réservé du pied de page 4"/>
          <p:cNvSpPr txBox="1">
            <a:spLocks/>
          </p:cNvSpPr>
          <p:nvPr userDrawn="1"/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800" kern="1200" cap="all" baseline="0">
                <a:solidFill>
                  <a:schemeClr val="tx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1200" cap="all" spc="0" normalizeH="0" baseline="0" noProof="0">
              <a:ln>
                <a:noFill/>
              </a:ln>
              <a:solidFill>
                <a:srgbClr val="000000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Espace réservé du numéro de diapositive 5"/>
          <p:cNvSpPr txBox="1">
            <a:spLocks/>
          </p:cNvSpPr>
          <p:nvPr userDrawn="1"/>
        </p:nvSpPr>
        <p:spPr bwMode="gray">
          <a:xfrm>
            <a:off x="2040940" y="6480335"/>
            <a:ext cx="391321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733" b="0" kern="1200" cap="none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571E2A-2AE4-4AE9-A5FF-468BE27EC277}" type="slidenum">
              <a:rPr kumimoji="0" lang="fr-FR" sz="733" b="0" i="0" u="none" strike="noStrike" kern="1200" cap="none" spc="0" normalizeH="0" baseline="0" noProof="0" smtClean="0">
                <a:ln>
                  <a:noFill/>
                </a:ln>
                <a:solidFill>
                  <a:srgbClr val="7E93A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4675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fr-FR" sz="733" b="0" i="0" u="none" strike="noStrike" kern="1200" cap="none" spc="0" normalizeH="0" baseline="0" noProof="0">
              <a:ln>
                <a:noFill/>
              </a:ln>
              <a:solidFill>
                <a:srgbClr val="7E93A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228566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ona zamykając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Obraz 2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3" r="63"/>
          <a:stretch/>
        </p:blipFill>
        <p:spPr>
          <a:xfrm>
            <a:off x="2124365" y="5273965"/>
            <a:ext cx="7961745" cy="1071419"/>
          </a:xfrm>
          <a:prstGeom prst="rect">
            <a:avLst/>
          </a:prstGeom>
        </p:spPr>
      </p:pic>
      <p:sp>
        <p:nvSpPr>
          <p:cNvPr id="7" name="Espace réservé du pied de page 4"/>
          <p:cNvSpPr txBox="1">
            <a:spLocks/>
          </p:cNvSpPr>
          <p:nvPr userDrawn="1"/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rgbClr val="000000">
                <a:alpha val="0"/>
              </a:srgb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467539" rtl="0" eaLnBrk="1" latinLnBrk="0" hangingPunct="1">
              <a:defRPr sz="800" kern="1200" cap="all" baseline="0">
                <a:solidFill>
                  <a:schemeClr val="tx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753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079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620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015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769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237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776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0314" algn="l" defTabSz="46753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1200" cap="all" spc="0" normalizeH="0" baseline="0" noProof="0">
              <a:ln>
                <a:noFill/>
              </a:ln>
              <a:solidFill>
                <a:srgbClr val="000000">
                  <a:alpha val="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4142596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422039561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85000"/>
              </a:lnSpc>
              <a:defRPr sz="18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56848" y="1487491"/>
            <a:ext cx="10978661" cy="4199632"/>
          </a:xfrm>
        </p:spPr>
        <p:txBody>
          <a:bodyPr/>
          <a:lstStyle>
            <a:lvl1pPr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defRPr sz="1600" b="1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lnSpc>
                <a:spcPct val="85000"/>
              </a:lnSpc>
              <a:spcBef>
                <a:spcPts val="200"/>
              </a:spcBef>
              <a:buClr>
                <a:schemeClr val="tx2">
                  <a:lumMod val="50000"/>
                </a:schemeClr>
              </a:buClr>
              <a:defRPr sz="140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defRPr>
            </a:lvl2pPr>
            <a:lvl3pPr>
              <a:lnSpc>
                <a:spcPct val="85000"/>
              </a:lnSpc>
              <a:spcBef>
                <a:spcPts val="200"/>
              </a:spcBef>
              <a:buClr>
                <a:schemeClr val="tx2">
                  <a:lumMod val="50000"/>
                </a:schemeClr>
              </a:buClr>
              <a:defRPr sz="120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defRPr>
            </a:lvl3pPr>
            <a:lvl4pPr>
              <a:lnSpc>
                <a:spcPct val="85000"/>
              </a:lnSpc>
              <a:spcBef>
                <a:spcPts val="300"/>
              </a:spcBef>
              <a:buClr>
                <a:schemeClr val="tx2">
                  <a:lumMod val="50000"/>
                </a:schemeClr>
              </a:buClr>
              <a:defRPr sz="1100" b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defRPr>
            </a:lvl4pPr>
            <a:lvl5pPr>
              <a:lnSpc>
                <a:spcPct val="85000"/>
              </a:lnSpc>
              <a:spcBef>
                <a:spcPts val="300"/>
              </a:spcBef>
              <a:buClr>
                <a:schemeClr val="tx2">
                  <a:lumMod val="50000"/>
                </a:schemeClr>
              </a:buClr>
              <a:defRPr sz="110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6375316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6906575B-2AA7-42C0-AEF2-D9AD31526C9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637595" y="4822825"/>
            <a:ext cx="4907826" cy="1188114"/>
          </a:xfrm>
          <a:prstGeom prst="rect">
            <a:avLst/>
          </a:prstGeom>
        </p:spPr>
      </p:pic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7192800" y="6174395"/>
            <a:ext cx="4320000" cy="252000"/>
          </a:xfrm>
        </p:spPr>
        <p:txBody>
          <a:bodyPr anchor="ctr"/>
          <a:lstStyle>
            <a:lvl1pPr marL="0" indent="0" algn="r">
              <a:buNone/>
              <a:defRPr sz="1000" b="1" cap="all" spc="20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Modifier les styles du texte du masque</a:t>
            </a:r>
          </a:p>
        </p:txBody>
      </p:sp>
      <p:sp>
        <p:nvSpPr>
          <p:cNvPr id="12" name="Titre 1">
            <a:extLst>
              <a:ext uri="{FF2B5EF4-FFF2-40B4-BE49-F238E27FC236}">
                <a16:creationId xmlns:a16="http://schemas.microsoft.com/office/drawing/2014/main" id="{2930B45F-AEDD-411B-9BBC-1B13EFEDC0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0000" y="460800"/>
            <a:ext cx="10980000" cy="2520000"/>
          </a:xfrm>
        </p:spPr>
        <p:txBody>
          <a:bodyPr anchor="b">
            <a:normAutofit/>
          </a:bodyPr>
          <a:lstStyle>
            <a:lvl1pPr algn="l" defTabSz="360000">
              <a:lnSpc>
                <a:spcPct val="85000"/>
              </a:lnSpc>
              <a:tabLst/>
              <a:defRPr sz="54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9B55D30E-725C-43C0-B80E-301FBBB3B6E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20000" y="2890800"/>
            <a:ext cx="10980000" cy="2340000"/>
          </a:xfrm>
        </p:spPr>
        <p:txBody>
          <a:bodyPr anchor="t">
            <a:normAutofit/>
          </a:bodyPr>
          <a:lstStyle>
            <a:lvl1pPr marL="0" indent="0" algn="l" defTabSz="360000">
              <a:lnSpc>
                <a:spcPct val="85000"/>
              </a:lnSpc>
              <a:buNone/>
              <a:tabLst/>
              <a:defRPr sz="54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r le style des sous-titres du masque</a:t>
            </a:r>
            <a:endParaRPr lang="fr-FR" dirty="0"/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35F25D88-16F6-4D3B-8C17-BA11C25DC62C}"/>
              </a:ext>
            </a:extLst>
          </p:cNvPr>
          <p:cNvCxnSpPr/>
          <p:nvPr userDrawn="1"/>
        </p:nvCxnSpPr>
        <p:spPr>
          <a:xfrm>
            <a:off x="804000" y="6120000"/>
            <a:ext cx="1058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7664966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ona tytułowa z motyw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Espace réservé pour une image  15"/>
          <p:cNvSpPr>
            <a:spLocks noGrp="1"/>
          </p:cNvSpPr>
          <p:nvPr>
            <p:ph type="pic" sz="quarter" idx="19" hasCustomPrompt="1"/>
          </p:nvPr>
        </p:nvSpPr>
        <p:spPr>
          <a:xfrm>
            <a:off x="340800" y="326400"/>
            <a:ext cx="11856000" cy="5856000"/>
          </a:xfrm>
          <a:custGeom>
            <a:avLst/>
            <a:gdLst>
              <a:gd name="connsiteX0" fmla="*/ 244898 w 8892000"/>
              <a:gd name="connsiteY0" fmla="*/ 0 h 4392000"/>
              <a:gd name="connsiteX1" fmla="*/ 3420000 w 8892000"/>
              <a:gd name="connsiteY1" fmla="*/ 0 h 4392000"/>
              <a:gd name="connsiteX2" fmla="*/ 8647102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4898 h 4392000"/>
              <a:gd name="connsiteX5" fmla="*/ 8892000 w 8892000"/>
              <a:gd name="connsiteY5" fmla="*/ 4147102 h 4392000"/>
              <a:gd name="connsiteX6" fmla="*/ 8892000 w 8892000"/>
              <a:gd name="connsiteY6" fmla="*/ 4392000 h 4392000"/>
              <a:gd name="connsiteX7" fmla="*/ 8647102 w 8892000"/>
              <a:gd name="connsiteY7" fmla="*/ 4392000 h 4392000"/>
              <a:gd name="connsiteX8" fmla="*/ 3420000 w 8892000"/>
              <a:gd name="connsiteY8" fmla="*/ 4392000 h 4392000"/>
              <a:gd name="connsiteX9" fmla="*/ 244898 w 8892000"/>
              <a:gd name="connsiteY9" fmla="*/ 4392000 h 4392000"/>
              <a:gd name="connsiteX10" fmla="*/ 0 w 8892000"/>
              <a:gd name="connsiteY10" fmla="*/ 4147102 h 4392000"/>
              <a:gd name="connsiteX11" fmla="*/ 0 w 8892000"/>
              <a:gd name="connsiteY11" fmla="*/ 244898 h 4392000"/>
              <a:gd name="connsiteX12" fmla="*/ 244898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4898" y="0"/>
                </a:moveTo>
                <a:lnTo>
                  <a:pt x="3420000" y="0"/>
                </a:lnTo>
                <a:lnTo>
                  <a:pt x="8647102" y="0"/>
                </a:lnTo>
                <a:lnTo>
                  <a:pt x="8892000" y="0"/>
                </a:lnTo>
                <a:lnTo>
                  <a:pt x="8892000" y="244898"/>
                </a:lnTo>
                <a:lnTo>
                  <a:pt x="8892000" y="4147102"/>
                </a:lnTo>
                <a:lnTo>
                  <a:pt x="8892000" y="4392000"/>
                </a:lnTo>
                <a:lnTo>
                  <a:pt x="8647102" y="4392000"/>
                </a:lnTo>
                <a:lnTo>
                  <a:pt x="3420000" y="4392000"/>
                </a:lnTo>
                <a:lnTo>
                  <a:pt x="244898" y="4392000"/>
                </a:lnTo>
                <a:cubicBezTo>
                  <a:pt x="109645" y="4392000"/>
                  <a:pt x="0" y="4282355"/>
                  <a:pt x="0" y="4147102"/>
                </a:cubicBezTo>
                <a:lnTo>
                  <a:pt x="0" y="244898"/>
                </a:lnTo>
                <a:cubicBezTo>
                  <a:pt x="0" y="109645"/>
                  <a:pt x="109645" y="0"/>
                  <a:pt x="244898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tIns="1260000" anchor="t">
            <a:noAutofit/>
          </a:bodyPr>
          <a:lstStyle>
            <a:lvl1pPr marL="0" indent="0" algn="ctr">
              <a:buFontTx/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r>
              <a:rPr lang="pl-PL" noProof="0" dirty="0"/>
              <a:t>Kliknij ikonę, aby dodać zdjęcie tła</a:t>
            </a:r>
            <a:br>
              <a:rPr lang="pl-PL" noProof="0" dirty="0"/>
            </a:br>
            <a:r>
              <a:rPr lang="pl-PL" noProof="0" dirty="0"/>
              <a:t>(Wybierz obraz prawym przyciskiem myszy / Ustaw jako tło)</a:t>
            </a:r>
          </a:p>
        </p:txBody>
      </p:sp>
      <p:sp>
        <p:nvSpPr>
          <p:cNvPr id="19" name="Espace réservé du texte 13"/>
          <p:cNvSpPr>
            <a:spLocks noGrp="1" noChangeAspect="1"/>
          </p:cNvSpPr>
          <p:nvPr>
            <p:ph type="body" sz="quarter" idx="17" hasCustomPrompt="1"/>
          </p:nvPr>
        </p:nvSpPr>
        <p:spPr bwMode="gray">
          <a:xfrm>
            <a:off x="5616000" y="1"/>
            <a:ext cx="960000" cy="823385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33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pic>
        <p:nvPicPr>
          <p:cNvPr id="25" name="Obraz 24" descr="CA_logo symetryczne 1L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8234" y="6281744"/>
            <a:ext cx="1519221" cy="480053"/>
          </a:xfrm>
          <a:prstGeom prst="rect">
            <a:avLst/>
          </a:prstGeom>
        </p:spPr>
      </p:pic>
      <p:sp>
        <p:nvSpPr>
          <p:cNvPr id="37" name="Rectangle 9"/>
          <p:cNvSpPr/>
          <p:nvPr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sp>
        <p:nvSpPr>
          <p:cNvPr id="38" name="Espace réservé de la date 5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9A3AE352-71BE-491A-956D-83507DBBFDCA}" type="datetime1">
              <a:rPr lang="en-US" smtClean="0"/>
              <a:t>3/9/2026</a:t>
            </a:fld>
            <a:endParaRPr lang="fr-FR" dirty="0"/>
          </a:p>
        </p:txBody>
      </p:sp>
      <p:sp>
        <p:nvSpPr>
          <p:cNvPr id="39" name="Espace réservé du numéro de diapositive 6"/>
          <p:cNvSpPr>
            <a:spLocks noGrp="1"/>
          </p:cNvSpPr>
          <p:nvPr>
            <p:ph type="sldNum" sz="quarter" idx="11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›</a:t>
            </a:fld>
            <a:endParaRPr lang="fr-FR" dirty="0"/>
          </a:p>
        </p:txBody>
      </p:sp>
      <p:sp>
        <p:nvSpPr>
          <p:cNvPr id="40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2241577" y="3979549"/>
            <a:ext cx="9755320" cy="1440000"/>
          </a:xfrm>
        </p:spPr>
        <p:txBody>
          <a:bodyPr tIns="180000" anchor="ctr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733" b="0" cap="all" baseline="0">
                <a:solidFill>
                  <a:schemeClr val="bg1"/>
                </a:solidFill>
              </a:defRPr>
            </a:lvl1pPr>
          </a:lstStyle>
          <a:p>
            <a:r>
              <a:rPr lang="pl-PL" noProof="0" dirty="0"/>
              <a:t>TYTUŁ PREZENTACJI </a:t>
            </a:r>
            <a:br>
              <a:rPr lang="pl-PL" noProof="0" dirty="0"/>
            </a:br>
            <a:r>
              <a:rPr lang="pl-PL" noProof="0" dirty="0"/>
              <a:t>– Slajd ze zdjęciem</a:t>
            </a:r>
          </a:p>
        </p:txBody>
      </p:sp>
      <p:sp>
        <p:nvSpPr>
          <p:cNvPr id="45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877091" y="4293096"/>
            <a:ext cx="192000" cy="912000"/>
          </a:xfrm>
          <a:prstGeom prst="roundRect">
            <a:avLst>
              <a:gd name="adj" fmla="val 13081"/>
            </a:avLst>
          </a:prstGeom>
          <a:solidFill>
            <a:schemeClr val="bg2"/>
          </a:solid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33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1" name="Symbol zastępczy tekstu 2"/>
          <p:cNvSpPr>
            <a:spLocks noGrp="1"/>
          </p:cNvSpPr>
          <p:nvPr>
            <p:ph type="body" sz="quarter" idx="20" hasCustomPrompt="1"/>
          </p:nvPr>
        </p:nvSpPr>
        <p:spPr>
          <a:xfrm>
            <a:off x="2241577" y="5421687"/>
            <a:ext cx="9755320" cy="168000"/>
          </a:xfrm>
          <a:noFill/>
          <a:ln>
            <a:noFill/>
          </a:ln>
          <a:effectLst/>
        </p:spPr>
        <p:txBody>
          <a:bodyPr anchor="t"/>
          <a:lstStyle>
            <a:lvl1pPr marL="0" indent="0">
              <a:lnSpc>
                <a:spcPct val="80000"/>
              </a:lnSpc>
              <a:buFontTx/>
              <a:buNone/>
              <a:defRPr sz="1200" b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 marL="575986" indent="0">
              <a:buFontTx/>
              <a:buNone/>
              <a:defRPr sz="1600"/>
            </a:lvl2pPr>
            <a:lvl3pPr marL="1151971" indent="0">
              <a:buFontTx/>
              <a:buNone/>
              <a:defRPr sz="1600"/>
            </a:lvl3pPr>
            <a:lvl4pPr marL="1727957" indent="0">
              <a:buFontTx/>
              <a:buNone/>
              <a:defRPr sz="1600"/>
            </a:lvl4pPr>
            <a:lvl5pPr marL="2303942" indent="0">
              <a:buFontTx/>
              <a:buNone/>
              <a:defRPr sz="1600"/>
            </a:lvl5pPr>
          </a:lstStyle>
          <a:p>
            <a:pPr lvl="0"/>
            <a:r>
              <a:rPr lang="pl-PL" dirty="0"/>
              <a:t>Nazwa posiedzenia</a:t>
            </a:r>
          </a:p>
        </p:txBody>
      </p:sp>
      <p:sp>
        <p:nvSpPr>
          <p:cNvPr id="13" name="Symbol zastępczy tekstu 4"/>
          <p:cNvSpPr>
            <a:spLocks noGrp="1"/>
          </p:cNvSpPr>
          <p:nvPr>
            <p:ph type="body" sz="quarter" idx="18" hasCustomPrompt="1"/>
          </p:nvPr>
        </p:nvSpPr>
        <p:spPr>
          <a:xfrm>
            <a:off x="2241577" y="5598384"/>
            <a:ext cx="9755320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80000"/>
              </a:lnSpc>
              <a:buFontTx/>
              <a:buNone/>
              <a:defRPr lang="pl-PL" sz="1200" b="0" dirty="0" smtClean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>
              <a:defRPr lang="pl-PL" sz="1600" dirty="0" smtClean="0"/>
            </a:lvl2pPr>
            <a:lvl3pPr>
              <a:defRPr lang="pl-PL" sz="1600" dirty="0" smtClean="0"/>
            </a:lvl3pPr>
            <a:lvl4pPr>
              <a:defRPr lang="pl-PL" sz="1600" dirty="0" smtClean="0"/>
            </a:lvl4pPr>
            <a:lvl5pPr>
              <a:defRPr lang="pl-PL" sz="1600" dirty="0"/>
            </a:lvl5pPr>
          </a:lstStyle>
          <a:p>
            <a:pPr marL="0" lvl="0" indent="0">
              <a:buFontTx/>
              <a:buNone/>
            </a:pPr>
            <a:r>
              <a:rPr lang="pl-PL" dirty="0"/>
              <a:t>Data posiedzenia</a:t>
            </a:r>
          </a:p>
        </p:txBody>
      </p:sp>
      <p:sp>
        <p:nvSpPr>
          <p:cNvPr id="14" name="Symbol zastępczy tekstu 19"/>
          <p:cNvSpPr>
            <a:spLocks noGrp="1"/>
          </p:cNvSpPr>
          <p:nvPr>
            <p:ph type="body" sz="quarter" idx="21" hasCustomPrompt="1"/>
          </p:nvPr>
        </p:nvSpPr>
        <p:spPr>
          <a:xfrm>
            <a:off x="2241578" y="5774945"/>
            <a:ext cx="9755319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80000"/>
              </a:lnSpc>
              <a:buFontTx/>
              <a:buNone/>
              <a:defRPr lang="pl-PL" sz="1200" b="0" smtClean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>
              <a:defRPr lang="pl-PL" sz="1600" smtClean="0"/>
            </a:lvl2pPr>
            <a:lvl3pPr>
              <a:defRPr lang="pl-PL" sz="1600" smtClean="0"/>
            </a:lvl3pPr>
            <a:lvl4pPr>
              <a:defRPr lang="pl-PL" sz="1600" smtClean="0"/>
            </a:lvl4pPr>
            <a:lvl5pPr>
              <a:defRPr lang="pl-PL" sz="1600"/>
            </a:lvl5pPr>
          </a:lstStyle>
          <a:p>
            <a:pPr marL="0" lvl="0" indent="0">
              <a:buFontTx/>
              <a:buNone/>
            </a:pPr>
            <a:r>
              <a:rPr lang="pl-PL" dirty="0"/>
              <a:t>Imię i nazwisko osoby prezentującej</a:t>
            </a:r>
          </a:p>
        </p:txBody>
      </p:sp>
      <p:sp>
        <p:nvSpPr>
          <p:cNvPr id="15" name="Symbol zastępczy tekstu 21"/>
          <p:cNvSpPr>
            <a:spLocks noGrp="1"/>
          </p:cNvSpPr>
          <p:nvPr>
            <p:ph type="body" sz="quarter" idx="22" hasCustomPrompt="1"/>
          </p:nvPr>
        </p:nvSpPr>
        <p:spPr>
          <a:xfrm>
            <a:off x="2241577" y="5949427"/>
            <a:ext cx="9755320" cy="168000"/>
          </a:xfr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lang="pl-PL" sz="1200" b="0" cap="none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80000"/>
              </a:lnSpc>
              <a:buNone/>
            </a:pPr>
            <a:r>
              <a:rPr lang="pl-PL" dirty="0"/>
              <a:t>Nazwa jednostki organizacyjnej</a:t>
            </a:r>
          </a:p>
        </p:txBody>
      </p:sp>
      <p:sp>
        <p:nvSpPr>
          <p:cNvPr id="17" name="Rectangle 9"/>
          <p:cNvSpPr/>
          <p:nvPr userDrawn="1"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</p:spTree>
    <p:extLst>
      <p:ext uri="{BB962C8B-B14F-4D97-AF65-F5344CB8AC3E}">
        <p14:creationId xmlns:p14="http://schemas.microsoft.com/office/powerpoint/2010/main" val="3894375656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ona tytułowa z tłe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orme libre 11"/>
          <p:cNvSpPr/>
          <p:nvPr/>
        </p:nvSpPr>
        <p:spPr>
          <a:xfrm>
            <a:off x="340800" y="32640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5864 h 4392000"/>
              <a:gd name="connsiteX5" fmla="*/ 8892000 w 8892000"/>
              <a:gd name="connsiteY5" fmla="*/ 4146136 h 4392000"/>
              <a:gd name="connsiteX6" fmla="*/ 8892000 w 8892000"/>
              <a:gd name="connsiteY6" fmla="*/ 4392000 h 4392000"/>
              <a:gd name="connsiteX7" fmla="*/ 8646136 w 8892000"/>
              <a:gd name="connsiteY7" fmla="*/ 4392000 h 4392000"/>
              <a:gd name="connsiteX8" fmla="*/ 5292000 w 8892000"/>
              <a:gd name="connsiteY8" fmla="*/ 4392000 h 4392000"/>
              <a:gd name="connsiteX9" fmla="*/ 245864 w 8892000"/>
              <a:gd name="connsiteY9" fmla="*/ 4392000 h 4392000"/>
              <a:gd name="connsiteX10" fmla="*/ 0 w 8892000"/>
              <a:gd name="connsiteY10" fmla="*/ 4146136 h 4392000"/>
              <a:gd name="connsiteX11" fmla="*/ 0 w 8892000"/>
              <a:gd name="connsiteY11" fmla="*/ 245864 h 4392000"/>
              <a:gd name="connsiteX12" fmla="*/ 245864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45864"/>
                </a:lnTo>
                <a:lnTo>
                  <a:pt x="8892000" y="4146136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 noProof="0" dirty="0"/>
          </a:p>
        </p:txBody>
      </p:sp>
      <p:sp>
        <p:nvSpPr>
          <p:cNvPr id="15" name="Forme libre 16"/>
          <p:cNvSpPr/>
          <p:nvPr/>
        </p:nvSpPr>
        <p:spPr bwMode="gray">
          <a:xfrm>
            <a:off x="431802" y="333378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</p:spPr>
        <p:txBody>
          <a:bodyPr vert="horz" lIns="0" tIns="0" rIns="0" bIns="0" rtlCol="0" anchor="t" anchorCtr="0">
            <a:noAutofit/>
          </a:bodyPr>
          <a:lstStyle/>
          <a:p>
            <a:pPr lvl="0" defTabSz="91434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sz="3751" b="0" cap="all" baseline="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0" name="Forme libre 16"/>
          <p:cNvSpPr/>
          <p:nvPr/>
        </p:nvSpPr>
        <p:spPr bwMode="gray">
          <a:xfrm>
            <a:off x="431802" y="333378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</p:spPr>
        <p:txBody>
          <a:bodyPr vert="horz" lIns="0" tIns="0" rIns="0" bIns="0" rtlCol="0" anchor="t" anchorCtr="0">
            <a:noAutofit/>
          </a:bodyPr>
          <a:lstStyle/>
          <a:p>
            <a:pPr lvl="0" defTabSz="91434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sz="3751" b="0" cap="all" baseline="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6" name="Espace réservé du texte 13"/>
          <p:cNvSpPr>
            <a:spLocks noGrp="1" noChangeAspect="1"/>
          </p:cNvSpPr>
          <p:nvPr>
            <p:ph type="body" sz="quarter" idx="17" hasCustomPrompt="1"/>
          </p:nvPr>
        </p:nvSpPr>
        <p:spPr bwMode="gray">
          <a:xfrm>
            <a:off x="5616000" y="1"/>
            <a:ext cx="960000" cy="823385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33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9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2241576" y="3979549"/>
            <a:ext cx="9755320" cy="1439999"/>
          </a:xfrm>
        </p:spPr>
        <p:txBody>
          <a:bodyPr tIns="180000" anchor="ctr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733" b="0" cap="all" baseline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TYTUŁ PREZENTACJI </a:t>
            </a:r>
            <a:br>
              <a:rPr lang="fr-FR" noProof="0" dirty="0"/>
            </a:br>
            <a:r>
              <a:rPr lang="fr-FR" noProof="0" dirty="0"/>
              <a:t>– SLAJD BEZ ZDJĘCIA 1</a:t>
            </a:r>
          </a:p>
        </p:txBody>
      </p:sp>
      <p:sp>
        <p:nvSpPr>
          <p:cNvPr id="30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877091" y="4293096"/>
            <a:ext cx="192000" cy="912000"/>
          </a:xfrm>
          <a:prstGeom prst="roundRect">
            <a:avLst>
              <a:gd name="adj" fmla="val 13081"/>
            </a:avLst>
          </a:prstGeom>
          <a:solidFill>
            <a:schemeClr val="bg2"/>
          </a:solid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33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pic>
        <p:nvPicPr>
          <p:cNvPr id="31" name="Obraz 30" descr="CA_logo symetryczne 1L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8234" y="6281744"/>
            <a:ext cx="1519221" cy="480053"/>
          </a:xfrm>
          <a:prstGeom prst="rect">
            <a:avLst/>
          </a:prstGeom>
        </p:spPr>
      </p:pic>
      <p:sp>
        <p:nvSpPr>
          <p:cNvPr id="36" name="Rectangle 9"/>
          <p:cNvSpPr/>
          <p:nvPr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sp>
        <p:nvSpPr>
          <p:cNvPr id="37" name="Espace réservé de la date 5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D312F2D8-11E9-4E7F-AF69-6A485894D5B8}" type="datetime1">
              <a:rPr lang="en-US" smtClean="0"/>
              <a:t>3/9/2026</a:t>
            </a:fld>
            <a:endParaRPr lang="fr-FR" dirty="0"/>
          </a:p>
        </p:txBody>
      </p:sp>
      <p:sp>
        <p:nvSpPr>
          <p:cNvPr id="38" name="Espace réservé du numéro de diapositive 6"/>
          <p:cNvSpPr>
            <a:spLocks noGrp="1"/>
          </p:cNvSpPr>
          <p:nvPr>
            <p:ph type="sldNum" sz="quarter" idx="11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›</a:t>
            </a:fld>
            <a:endParaRPr lang="fr-FR" dirty="0"/>
          </a:p>
        </p:txBody>
      </p:sp>
      <p:sp>
        <p:nvSpPr>
          <p:cNvPr id="39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13" name="Symbol zastępczy tekstu 2"/>
          <p:cNvSpPr>
            <a:spLocks noGrp="1"/>
          </p:cNvSpPr>
          <p:nvPr>
            <p:ph type="body" sz="quarter" idx="20" hasCustomPrompt="1"/>
          </p:nvPr>
        </p:nvSpPr>
        <p:spPr>
          <a:xfrm>
            <a:off x="2241577" y="5421687"/>
            <a:ext cx="9755320" cy="168000"/>
          </a:xfrm>
          <a:noFill/>
          <a:ln>
            <a:noFill/>
          </a:ln>
          <a:effectLst/>
        </p:spPr>
        <p:txBody>
          <a:bodyPr anchor="t"/>
          <a:lstStyle>
            <a:lvl1pPr marL="0" indent="0">
              <a:lnSpc>
                <a:spcPct val="80000"/>
              </a:lnSpc>
              <a:buFontTx/>
              <a:buNone/>
              <a:defRPr sz="1200" b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 marL="575986" indent="0">
              <a:buFontTx/>
              <a:buNone/>
              <a:defRPr sz="1600"/>
            </a:lvl2pPr>
            <a:lvl3pPr marL="1151971" indent="0">
              <a:buFontTx/>
              <a:buNone/>
              <a:defRPr sz="1600"/>
            </a:lvl3pPr>
            <a:lvl4pPr marL="1727957" indent="0">
              <a:buFontTx/>
              <a:buNone/>
              <a:defRPr sz="1600"/>
            </a:lvl4pPr>
            <a:lvl5pPr marL="2303942" indent="0">
              <a:buFontTx/>
              <a:buNone/>
              <a:defRPr sz="1600"/>
            </a:lvl5pPr>
          </a:lstStyle>
          <a:p>
            <a:pPr lvl="0"/>
            <a:r>
              <a:rPr lang="pl-PL" dirty="0"/>
              <a:t>Nazwa posiedzenia</a:t>
            </a:r>
          </a:p>
        </p:txBody>
      </p:sp>
      <p:sp>
        <p:nvSpPr>
          <p:cNvPr id="14" name="Symbol zastępczy tekstu 4"/>
          <p:cNvSpPr>
            <a:spLocks noGrp="1"/>
          </p:cNvSpPr>
          <p:nvPr>
            <p:ph type="body" sz="quarter" idx="18" hasCustomPrompt="1"/>
          </p:nvPr>
        </p:nvSpPr>
        <p:spPr>
          <a:xfrm>
            <a:off x="2241577" y="5598384"/>
            <a:ext cx="9755320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80000"/>
              </a:lnSpc>
              <a:buFontTx/>
              <a:buNone/>
              <a:defRPr lang="pl-PL" sz="1200" b="0" dirty="0" smtClean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>
              <a:defRPr lang="pl-PL" sz="1600" dirty="0" smtClean="0"/>
            </a:lvl2pPr>
            <a:lvl3pPr>
              <a:defRPr lang="pl-PL" sz="1600" dirty="0" smtClean="0"/>
            </a:lvl3pPr>
            <a:lvl4pPr>
              <a:defRPr lang="pl-PL" sz="1600" dirty="0" smtClean="0"/>
            </a:lvl4pPr>
            <a:lvl5pPr>
              <a:defRPr lang="pl-PL" sz="1600" dirty="0"/>
            </a:lvl5pPr>
          </a:lstStyle>
          <a:p>
            <a:pPr marL="0" lvl="0" indent="0">
              <a:buFontTx/>
              <a:buNone/>
            </a:pPr>
            <a:r>
              <a:rPr lang="pl-PL" dirty="0"/>
              <a:t>Data posiedzenia</a:t>
            </a:r>
          </a:p>
        </p:txBody>
      </p:sp>
      <p:sp>
        <p:nvSpPr>
          <p:cNvPr id="16" name="Symbol zastępczy tekstu 19"/>
          <p:cNvSpPr>
            <a:spLocks noGrp="1"/>
          </p:cNvSpPr>
          <p:nvPr>
            <p:ph type="body" sz="quarter" idx="21" hasCustomPrompt="1"/>
          </p:nvPr>
        </p:nvSpPr>
        <p:spPr>
          <a:xfrm>
            <a:off x="2241578" y="5774945"/>
            <a:ext cx="9755319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80000"/>
              </a:lnSpc>
              <a:buFontTx/>
              <a:buNone/>
              <a:defRPr lang="pl-PL" sz="1200" b="0" smtClean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>
              <a:defRPr lang="pl-PL" sz="1600" smtClean="0"/>
            </a:lvl2pPr>
            <a:lvl3pPr>
              <a:defRPr lang="pl-PL" sz="1600" smtClean="0"/>
            </a:lvl3pPr>
            <a:lvl4pPr>
              <a:defRPr lang="pl-PL" sz="1600" smtClean="0"/>
            </a:lvl4pPr>
            <a:lvl5pPr>
              <a:defRPr lang="pl-PL" sz="1600"/>
            </a:lvl5pPr>
          </a:lstStyle>
          <a:p>
            <a:pPr marL="0" lvl="0" indent="0">
              <a:buFontTx/>
              <a:buNone/>
            </a:pPr>
            <a:r>
              <a:rPr lang="pl-PL" dirty="0"/>
              <a:t>Imię i nazwisko osoby prezentującej</a:t>
            </a:r>
          </a:p>
        </p:txBody>
      </p:sp>
      <p:sp>
        <p:nvSpPr>
          <p:cNvPr id="17" name="Symbol zastępczy tekstu 21"/>
          <p:cNvSpPr>
            <a:spLocks noGrp="1"/>
          </p:cNvSpPr>
          <p:nvPr>
            <p:ph type="body" sz="quarter" idx="22" hasCustomPrompt="1"/>
          </p:nvPr>
        </p:nvSpPr>
        <p:spPr>
          <a:xfrm>
            <a:off x="2241577" y="5949427"/>
            <a:ext cx="9755320" cy="168000"/>
          </a:xfr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lang="pl-PL" sz="1200" b="0" cap="none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80000"/>
              </a:lnSpc>
              <a:buNone/>
            </a:pPr>
            <a:r>
              <a:rPr lang="pl-PL" dirty="0"/>
              <a:t>Nazwa jednostki organizacyjnej</a:t>
            </a:r>
          </a:p>
        </p:txBody>
      </p:sp>
      <p:sp>
        <p:nvSpPr>
          <p:cNvPr id="19" name="Forme libre 16"/>
          <p:cNvSpPr/>
          <p:nvPr userDrawn="1"/>
        </p:nvSpPr>
        <p:spPr bwMode="gray">
          <a:xfrm>
            <a:off x="431802" y="333378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</p:spPr>
        <p:txBody>
          <a:bodyPr vert="horz" lIns="0" tIns="0" rIns="0" bIns="0" rtlCol="0" anchor="t" anchorCtr="0">
            <a:noAutofit/>
          </a:bodyPr>
          <a:lstStyle/>
          <a:p>
            <a:pPr lvl="0" defTabSz="91434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sz="3751" b="0" cap="all" baseline="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2" name="Rectangle 9"/>
          <p:cNvSpPr/>
          <p:nvPr userDrawn="1"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</p:spTree>
    <p:extLst>
      <p:ext uri="{BB962C8B-B14F-4D97-AF65-F5344CB8AC3E}">
        <p14:creationId xmlns:p14="http://schemas.microsoft.com/office/powerpoint/2010/main" val="3911680678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ona tytułowa z tł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orme libre 11"/>
          <p:cNvSpPr/>
          <p:nvPr/>
        </p:nvSpPr>
        <p:spPr>
          <a:xfrm>
            <a:off x="340800" y="32640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5864 h 4392000"/>
              <a:gd name="connsiteX5" fmla="*/ 8892000 w 8892000"/>
              <a:gd name="connsiteY5" fmla="*/ 4146136 h 4392000"/>
              <a:gd name="connsiteX6" fmla="*/ 8892000 w 8892000"/>
              <a:gd name="connsiteY6" fmla="*/ 4392000 h 4392000"/>
              <a:gd name="connsiteX7" fmla="*/ 8646136 w 8892000"/>
              <a:gd name="connsiteY7" fmla="*/ 4392000 h 4392000"/>
              <a:gd name="connsiteX8" fmla="*/ 5292000 w 8892000"/>
              <a:gd name="connsiteY8" fmla="*/ 4392000 h 4392000"/>
              <a:gd name="connsiteX9" fmla="*/ 245864 w 8892000"/>
              <a:gd name="connsiteY9" fmla="*/ 4392000 h 4392000"/>
              <a:gd name="connsiteX10" fmla="*/ 0 w 8892000"/>
              <a:gd name="connsiteY10" fmla="*/ 4146136 h 4392000"/>
              <a:gd name="connsiteX11" fmla="*/ 0 w 8892000"/>
              <a:gd name="connsiteY11" fmla="*/ 245864 h 4392000"/>
              <a:gd name="connsiteX12" fmla="*/ 245864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45864"/>
                </a:lnTo>
                <a:lnTo>
                  <a:pt x="8892000" y="4146136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rgbClr val="0095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 noProof="0" dirty="0"/>
          </a:p>
        </p:txBody>
      </p:sp>
      <p:sp>
        <p:nvSpPr>
          <p:cNvPr id="15" name="Forme libre 16"/>
          <p:cNvSpPr/>
          <p:nvPr/>
        </p:nvSpPr>
        <p:spPr bwMode="gray">
          <a:xfrm>
            <a:off x="431802" y="333378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</p:spPr>
        <p:txBody>
          <a:bodyPr vert="horz" lIns="0" tIns="0" rIns="0" bIns="0" rtlCol="0" anchor="t" anchorCtr="0">
            <a:noAutofit/>
          </a:bodyPr>
          <a:lstStyle/>
          <a:p>
            <a:pPr lvl="0" defTabSz="91434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sz="3751" b="0" cap="all" baseline="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0" name="Forme libre 16"/>
          <p:cNvSpPr/>
          <p:nvPr/>
        </p:nvSpPr>
        <p:spPr bwMode="gray">
          <a:xfrm>
            <a:off x="431802" y="333378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</p:spPr>
        <p:txBody>
          <a:bodyPr vert="horz" lIns="0" tIns="0" rIns="0" bIns="0" rtlCol="0" anchor="t" anchorCtr="0">
            <a:noAutofit/>
          </a:bodyPr>
          <a:lstStyle/>
          <a:p>
            <a:pPr lvl="0" defTabSz="91434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sz="3751" b="0" cap="all" baseline="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6" name="Espace réservé du texte 13"/>
          <p:cNvSpPr>
            <a:spLocks noGrp="1" noChangeAspect="1"/>
          </p:cNvSpPr>
          <p:nvPr>
            <p:ph type="body" sz="quarter" idx="17" hasCustomPrompt="1"/>
          </p:nvPr>
        </p:nvSpPr>
        <p:spPr bwMode="gray">
          <a:xfrm>
            <a:off x="5616000" y="1"/>
            <a:ext cx="960000" cy="823385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33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9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2241576" y="3979549"/>
            <a:ext cx="9755320" cy="1439999"/>
          </a:xfrm>
        </p:spPr>
        <p:txBody>
          <a:bodyPr tIns="180000" anchor="ctr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733" b="0" cap="all" baseline="0">
                <a:solidFill>
                  <a:schemeClr val="bg1"/>
                </a:solidFill>
              </a:defRPr>
            </a:lvl1pPr>
          </a:lstStyle>
          <a:p>
            <a:r>
              <a:rPr lang="pl-PL" noProof="0" dirty="0"/>
              <a:t>TYTUŁ PREZENTACJI</a:t>
            </a:r>
            <a:br>
              <a:rPr lang="pl-PL" noProof="0" dirty="0"/>
            </a:br>
            <a:r>
              <a:rPr lang="pl-PL" noProof="0" dirty="0"/>
              <a:t>– Slajd bez zdjęcia 2</a:t>
            </a:r>
          </a:p>
        </p:txBody>
      </p:sp>
      <p:sp>
        <p:nvSpPr>
          <p:cNvPr id="30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877091" y="4293096"/>
            <a:ext cx="192000" cy="912000"/>
          </a:xfrm>
          <a:prstGeom prst="roundRect">
            <a:avLst>
              <a:gd name="adj" fmla="val 13081"/>
            </a:avLst>
          </a:prstGeom>
          <a:solidFill>
            <a:schemeClr val="bg2"/>
          </a:solid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33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pic>
        <p:nvPicPr>
          <p:cNvPr id="17" name="Obraz 16" descr="CA_logo symetryczne 1L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8234" y="6281744"/>
            <a:ext cx="1519221" cy="480053"/>
          </a:xfrm>
          <a:prstGeom prst="rect">
            <a:avLst/>
          </a:prstGeom>
        </p:spPr>
      </p:pic>
      <p:sp>
        <p:nvSpPr>
          <p:cNvPr id="28" name="Rectangle 9"/>
          <p:cNvSpPr/>
          <p:nvPr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sp>
        <p:nvSpPr>
          <p:cNvPr id="31" name="Espace réservé de la date 5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56975AA2-3D23-459E-AB91-020E68E91658}" type="datetime1">
              <a:rPr lang="en-US" smtClean="0"/>
              <a:t>3/9/2026</a:t>
            </a:fld>
            <a:endParaRPr lang="fr-FR" dirty="0"/>
          </a:p>
        </p:txBody>
      </p:sp>
      <p:sp>
        <p:nvSpPr>
          <p:cNvPr id="32" name="Espace réservé du numéro de diapositive 6"/>
          <p:cNvSpPr>
            <a:spLocks noGrp="1"/>
          </p:cNvSpPr>
          <p:nvPr>
            <p:ph type="sldNum" sz="quarter" idx="11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›</a:t>
            </a:fld>
            <a:endParaRPr lang="fr-FR" dirty="0"/>
          </a:p>
        </p:txBody>
      </p:sp>
      <p:sp>
        <p:nvSpPr>
          <p:cNvPr id="33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13" name="Symbol zastępczy tekstu 2"/>
          <p:cNvSpPr>
            <a:spLocks noGrp="1"/>
          </p:cNvSpPr>
          <p:nvPr>
            <p:ph type="body" sz="quarter" idx="20" hasCustomPrompt="1"/>
          </p:nvPr>
        </p:nvSpPr>
        <p:spPr>
          <a:xfrm>
            <a:off x="2241577" y="5421687"/>
            <a:ext cx="9755320" cy="168000"/>
          </a:xfrm>
          <a:noFill/>
          <a:ln>
            <a:noFill/>
          </a:ln>
          <a:effectLst/>
        </p:spPr>
        <p:txBody>
          <a:bodyPr anchor="t"/>
          <a:lstStyle>
            <a:lvl1pPr marL="0" indent="0">
              <a:lnSpc>
                <a:spcPct val="80000"/>
              </a:lnSpc>
              <a:buFontTx/>
              <a:buNone/>
              <a:defRPr sz="1200" b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 marL="575986" indent="0">
              <a:buFontTx/>
              <a:buNone/>
              <a:defRPr sz="1600"/>
            </a:lvl2pPr>
            <a:lvl3pPr marL="1151971" indent="0">
              <a:buFontTx/>
              <a:buNone/>
              <a:defRPr sz="1600"/>
            </a:lvl3pPr>
            <a:lvl4pPr marL="1727957" indent="0">
              <a:buFontTx/>
              <a:buNone/>
              <a:defRPr sz="1600"/>
            </a:lvl4pPr>
            <a:lvl5pPr marL="2303942" indent="0">
              <a:buFontTx/>
              <a:buNone/>
              <a:defRPr sz="1600"/>
            </a:lvl5pPr>
          </a:lstStyle>
          <a:p>
            <a:pPr lvl="0"/>
            <a:r>
              <a:rPr lang="pl-PL" dirty="0"/>
              <a:t>Nazwa posiedzenia</a:t>
            </a:r>
          </a:p>
        </p:txBody>
      </p:sp>
      <p:sp>
        <p:nvSpPr>
          <p:cNvPr id="14" name="Symbol zastępczy tekstu 4"/>
          <p:cNvSpPr>
            <a:spLocks noGrp="1"/>
          </p:cNvSpPr>
          <p:nvPr>
            <p:ph type="body" sz="quarter" idx="18" hasCustomPrompt="1"/>
          </p:nvPr>
        </p:nvSpPr>
        <p:spPr>
          <a:xfrm>
            <a:off x="2241577" y="5598384"/>
            <a:ext cx="9755320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80000"/>
              </a:lnSpc>
              <a:buFontTx/>
              <a:buNone/>
              <a:defRPr lang="pl-PL" sz="1200" b="0" dirty="0" smtClean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>
              <a:defRPr lang="pl-PL" sz="1600" dirty="0" smtClean="0"/>
            </a:lvl2pPr>
            <a:lvl3pPr>
              <a:defRPr lang="pl-PL" sz="1600" dirty="0" smtClean="0"/>
            </a:lvl3pPr>
            <a:lvl4pPr>
              <a:defRPr lang="pl-PL" sz="1600" dirty="0" smtClean="0"/>
            </a:lvl4pPr>
            <a:lvl5pPr>
              <a:defRPr lang="pl-PL" sz="1600" dirty="0"/>
            </a:lvl5pPr>
          </a:lstStyle>
          <a:p>
            <a:pPr marL="0" lvl="0" indent="0">
              <a:buFontTx/>
              <a:buNone/>
            </a:pPr>
            <a:r>
              <a:rPr lang="pl-PL" dirty="0"/>
              <a:t>Data posiedzenia</a:t>
            </a:r>
          </a:p>
        </p:txBody>
      </p:sp>
      <p:sp>
        <p:nvSpPr>
          <p:cNvPr id="16" name="Symbol zastępczy tekstu 19"/>
          <p:cNvSpPr>
            <a:spLocks noGrp="1"/>
          </p:cNvSpPr>
          <p:nvPr>
            <p:ph type="body" sz="quarter" idx="21" hasCustomPrompt="1"/>
          </p:nvPr>
        </p:nvSpPr>
        <p:spPr>
          <a:xfrm>
            <a:off x="2241578" y="5774945"/>
            <a:ext cx="9755319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80000"/>
              </a:lnSpc>
              <a:buFontTx/>
              <a:buNone/>
              <a:defRPr lang="pl-PL" sz="1200" b="0" smtClean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>
              <a:defRPr lang="pl-PL" sz="1600" smtClean="0"/>
            </a:lvl2pPr>
            <a:lvl3pPr>
              <a:defRPr lang="pl-PL" sz="1600" smtClean="0"/>
            </a:lvl3pPr>
            <a:lvl4pPr>
              <a:defRPr lang="pl-PL" sz="1600" smtClean="0"/>
            </a:lvl4pPr>
            <a:lvl5pPr>
              <a:defRPr lang="pl-PL" sz="1600"/>
            </a:lvl5pPr>
          </a:lstStyle>
          <a:p>
            <a:pPr marL="0" lvl="0" indent="0">
              <a:buFontTx/>
              <a:buNone/>
            </a:pPr>
            <a:r>
              <a:rPr lang="pl-PL" dirty="0"/>
              <a:t>Imię i nazwisko osoby prezentującej</a:t>
            </a:r>
          </a:p>
        </p:txBody>
      </p:sp>
      <p:sp>
        <p:nvSpPr>
          <p:cNvPr id="18" name="Symbol zastępczy tekstu 21"/>
          <p:cNvSpPr>
            <a:spLocks noGrp="1"/>
          </p:cNvSpPr>
          <p:nvPr>
            <p:ph type="body" sz="quarter" idx="22" hasCustomPrompt="1"/>
          </p:nvPr>
        </p:nvSpPr>
        <p:spPr>
          <a:xfrm>
            <a:off x="2241577" y="5949427"/>
            <a:ext cx="9755320" cy="168000"/>
          </a:xfr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lang="pl-PL" sz="1200" b="0" cap="none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80000"/>
              </a:lnSpc>
              <a:buNone/>
            </a:pPr>
            <a:r>
              <a:rPr lang="pl-PL" dirty="0"/>
              <a:t>Nazwa jednostki organizacyjnej</a:t>
            </a:r>
          </a:p>
        </p:txBody>
      </p:sp>
      <p:sp>
        <p:nvSpPr>
          <p:cNvPr id="21" name="Forme libre 16"/>
          <p:cNvSpPr/>
          <p:nvPr userDrawn="1"/>
        </p:nvSpPr>
        <p:spPr bwMode="gray">
          <a:xfrm>
            <a:off x="431802" y="333378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</p:spPr>
        <p:txBody>
          <a:bodyPr vert="horz" lIns="0" tIns="0" rIns="0" bIns="0" rtlCol="0" anchor="t" anchorCtr="0">
            <a:noAutofit/>
          </a:bodyPr>
          <a:lstStyle/>
          <a:p>
            <a:pPr lvl="0" defTabSz="91434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sz="3751" b="0" cap="all" baseline="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4" name="Rectangle 9"/>
          <p:cNvSpPr/>
          <p:nvPr userDrawn="1"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</p:spTree>
    <p:extLst>
      <p:ext uri="{BB962C8B-B14F-4D97-AF65-F5344CB8AC3E}">
        <p14:creationId xmlns:p14="http://schemas.microsoft.com/office/powerpoint/2010/main" val="3009633109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ona przekładkow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rme libre 6"/>
          <p:cNvSpPr/>
          <p:nvPr/>
        </p:nvSpPr>
        <p:spPr>
          <a:xfrm>
            <a:off x="340800" y="32640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5864 h 4392000"/>
              <a:gd name="connsiteX5" fmla="*/ 8892000 w 8892000"/>
              <a:gd name="connsiteY5" fmla="*/ 4146136 h 4392000"/>
              <a:gd name="connsiteX6" fmla="*/ 8892000 w 8892000"/>
              <a:gd name="connsiteY6" fmla="*/ 4392000 h 4392000"/>
              <a:gd name="connsiteX7" fmla="*/ 8646136 w 8892000"/>
              <a:gd name="connsiteY7" fmla="*/ 4392000 h 4392000"/>
              <a:gd name="connsiteX8" fmla="*/ 5292000 w 8892000"/>
              <a:gd name="connsiteY8" fmla="*/ 4392000 h 4392000"/>
              <a:gd name="connsiteX9" fmla="*/ 245864 w 8892000"/>
              <a:gd name="connsiteY9" fmla="*/ 4392000 h 4392000"/>
              <a:gd name="connsiteX10" fmla="*/ 0 w 8892000"/>
              <a:gd name="connsiteY10" fmla="*/ 4146136 h 4392000"/>
              <a:gd name="connsiteX11" fmla="*/ 0 w 8892000"/>
              <a:gd name="connsiteY11" fmla="*/ 245864 h 4392000"/>
              <a:gd name="connsiteX12" fmla="*/ 245864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45864"/>
                </a:lnTo>
                <a:lnTo>
                  <a:pt x="8892000" y="4146136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rgbClr val="0095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786911" y="514352"/>
            <a:ext cx="7816499" cy="5511800"/>
          </a:xfrm>
        </p:spPr>
        <p:txBody>
          <a:bodyPr anchor="ctr" anchorCtr="0"/>
          <a:lstStyle>
            <a:lvl1pPr>
              <a:defRPr sz="3733" b="0" cap="all" baseline="0">
                <a:solidFill>
                  <a:schemeClr val="bg1"/>
                </a:solidFill>
              </a:defRPr>
            </a:lvl1pPr>
          </a:lstStyle>
          <a:p>
            <a:r>
              <a:rPr lang="pl-PL" noProof="0" dirty="0"/>
              <a:t>Slajd przekładkowy</a:t>
            </a:r>
          </a:p>
        </p:txBody>
      </p:sp>
      <p:sp>
        <p:nvSpPr>
          <p:cNvPr id="11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fld id="{0311D3B9-5725-4C3F-9738-E3144F9A4853}" type="datetime1">
              <a:rPr lang="en-US" smtClean="0"/>
              <a:t>3/9/2026</a:t>
            </a:fld>
            <a:endParaRPr lang="fr-FR" dirty="0"/>
          </a:p>
        </p:txBody>
      </p:sp>
      <p:sp>
        <p:nvSpPr>
          <p:cNvPr id="12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65470857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i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2" name="Obi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fld id="{65439239-60BE-47F2-9C84-91584AA5B0A5}" type="datetime1">
              <a:rPr lang="en-US" smtClean="0"/>
              <a:t>3/9/2026</a:t>
            </a:fld>
            <a:endParaRPr lang="fr-FR" dirty="0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 dirty="0"/>
          </a:p>
        </p:txBody>
      </p:sp>
      <p:sp>
        <p:nvSpPr>
          <p:cNvPr id="7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3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rgbClr val="008789"/>
                </a:solidFill>
              </a:rPr>
              <a:t>Tytuł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629833"/>
            <a:ext cx="10835216" cy="4438651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</p:spTree>
    <p:extLst>
      <p:ext uri="{BB962C8B-B14F-4D97-AF65-F5344CB8AC3E}">
        <p14:creationId xmlns:p14="http://schemas.microsoft.com/office/powerpoint/2010/main" val="1603837342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ajd z tekstem 2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fld id="{6338526B-33CD-477B-82CE-704496278D22}" type="datetime1">
              <a:rPr lang="en-US" smtClean="0"/>
              <a:t>3/9/2026</a:t>
            </a:fld>
            <a:endParaRPr lang="fr-FR" dirty="0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 dirty="0"/>
          </a:p>
        </p:txBody>
      </p:sp>
      <p:sp>
        <p:nvSpPr>
          <p:cNvPr id="7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3582"/>
            <a:ext cx="10824633" cy="1295399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rgbClr val="008789"/>
                </a:solidFill>
              </a:rPr>
              <a:t>Tytuł </a:t>
            </a:r>
            <a:br>
              <a:rPr lang="pl-PL" dirty="0">
                <a:solidFill>
                  <a:srgbClr val="008789"/>
                </a:solidFill>
              </a:rPr>
            </a:br>
            <a:r>
              <a:rPr lang="pl-PL" dirty="0">
                <a:solidFill>
                  <a:srgbClr val="008789"/>
                </a:solidFill>
              </a:rPr>
              <a:t>na dwie linie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2108985"/>
            <a:ext cx="10835216" cy="3959499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</p:spTree>
    <p:extLst>
      <p:ext uri="{BB962C8B-B14F-4D97-AF65-F5344CB8AC3E}">
        <p14:creationId xmlns:p14="http://schemas.microsoft.com/office/powerpoint/2010/main" val="303927108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fld id="{6485F782-97B8-4130-A5FA-77E46DA9A72F}" type="datetime1">
              <a:rPr lang="en-US" smtClean="0"/>
              <a:t>3/9/2026</a:t>
            </a:fld>
            <a:endParaRPr lang="fr-FR" dirty="0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 dirty="0"/>
          </a:p>
        </p:txBody>
      </p:sp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962383"/>
            <a:ext cx="10835216" cy="4106100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924311" y="1457657"/>
            <a:ext cx="10801351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617471510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3 - dwie kolum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fld id="{EB4B4159-EB54-4BDE-8B83-67D43F95CBD2}" type="datetime1">
              <a:rPr lang="en-US" smtClean="0"/>
              <a:t>3/9/2026</a:t>
            </a:fld>
            <a:endParaRPr lang="fr-FR" dirty="0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 dirty="0"/>
          </a:p>
        </p:txBody>
      </p:sp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962383"/>
            <a:ext cx="10835216" cy="4106100"/>
          </a:xfrm>
        </p:spPr>
        <p:txBody>
          <a:bodyPr numCol="2" spcCol="180000"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924311" y="1457657"/>
            <a:ext cx="10801351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550477477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fld id="{63850967-6A84-4F20-9EAD-34B1509670E6}" type="datetime1">
              <a:rPr lang="en-US" smtClean="0"/>
              <a:t>3/9/2026</a:t>
            </a:fld>
            <a:endParaRPr lang="fr-FR" dirty="0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 dirty="0"/>
          </a:p>
        </p:txBody>
      </p:sp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962383"/>
            <a:ext cx="5291019" cy="4106100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924312" y="1457657"/>
            <a:ext cx="5291691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 1</a:t>
            </a:r>
            <a:endParaRPr lang="pl-PL" dirty="0"/>
          </a:p>
        </p:txBody>
      </p:sp>
      <p:sp>
        <p:nvSpPr>
          <p:cNvPr id="8" name="Symbol zastępczy zawartości 2"/>
          <p:cNvSpPr>
            <a:spLocks noGrp="1"/>
          </p:cNvSpPr>
          <p:nvPr>
            <p:ph sz="quarter" idx="15" hasCustomPrompt="1"/>
          </p:nvPr>
        </p:nvSpPr>
        <p:spPr>
          <a:xfrm>
            <a:off x="6464429" y="1962383"/>
            <a:ext cx="5291019" cy="4106100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13" name="Symbol zastępczy zawartości 4"/>
          <p:cNvSpPr>
            <a:spLocks noGrp="1"/>
          </p:cNvSpPr>
          <p:nvPr>
            <p:ph sz="quarter" idx="16" hasCustomPrompt="1"/>
          </p:nvPr>
        </p:nvSpPr>
        <p:spPr>
          <a:xfrm>
            <a:off x="6463757" y="1457657"/>
            <a:ext cx="5291691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 1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777591070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y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fld id="{4A07CDE0-1354-47F5-A42A-C0F88BDACC24}" type="datetime1">
              <a:rPr lang="en-US" smtClean="0"/>
              <a:t>3/9/2026</a:t>
            </a:fld>
            <a:endParaRPr lang="fr-FR" dirty="0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 dirty="0"/>
          </a:p>
        </p:txBody>
      </p:sp>
      <p:sp>
        <p:nvSpPr>
          <p:cNvPr id="18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3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Cytat</a:t>
            </a:r>
          </a:p>
        </p:txBody>
      </p:sp>
      <p:pic>
        <p:nvPicPr>
          <p:cNvPr id="21" name="Obraz 20">
            <a:extLst>
              <a:ext uri="{FF2B5EF4-FFF2-40B4-BE49-F238E27FC236}">
                <a16:creationId xmlns:a16="http://schemas.microsoft.com/office/drawing/2014/main" id="{51216647-0973-469E-890C-D049E1B0532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39343" y="2063798"/>
            <a:ext cx="390099" cy="1710429"/>
          </a:xfrm>
          <a:prstGeom prst="rect">
            <a:avLst/>
          </a:prstGeom>
        </p:spPr>
      </p:pic>
      <p:sp>
        <p:nvSpPr>
          <p:cNvPr id="3" name="Symbol zastępczy zawartości 2"/>
          <p:cNvSpPr>
            <a:spLocks noGrp="1"/>
          </p:cNvSpPr>
          <p:nvPr>
            <p:ph sz="quarter" idx="14" hasCustomPrompt="1"/>
          </p:nvPr>
        </p:nvSpPr>
        <p:spPr>
          <a:xfrm>
            <a:off x="2237317" y="2063751"/>
            <a:ext cx="9499600" cy="1710267"/>
          </a:xfrm>
        </p:spPr>
        <p:txBody>
          <a:bodyPr/>
          <a:lstStyle>
            <a:lvl1pPr marL="0" indent="0">
              <a:buNone/>
              <a:defRPr sz="3733" b="0" i="1">
                <a:solidFill>
                  <a:srgbClr val="009597"/>
                </a:solidFill>
              </a:defRPr>
            </a:lvl1pPr>
          </a:lstStyle>
          <a:p>
            <a:pPr lvl="0"/>
            <a:r>
              <a:rPr lang="pl-PL" dirty="0" err="1"/>
              <a:t>Lorem</a:t>
            </a:r>
            <a:r>
              <a:rPr lang="pl-PL" dirty="0"/>
              <a:t> </a:t>
            </a:r>
            <a:r>
              <a:rPr lang="pl-PL" dirty="0" err="1"/>
              <a:t>ipsum</a:t>
            </a:r>
            <a:r>
              <a:rPr lang="pl-PL" dirty="0"/>
              <a:t> </a:t>
            </a:r>
            <a:r>
              <a:rPr lang="pl-PL" dirty="0" err="1"/>
              <a:t>dolor</a:t>
            </a:r>
            <a:r>
              <a:rPr lang="pl-PL" dirty="0"/>
              <a:t> sit </a:t>
            </a:r>
            <a:r>
              <a:rPr lang="pl-PL" dirty="0" err="1"/>
              <a:t>amet</a:t>
            </a:r>
            <a:r>
              <a:rPr lang="pl-PL" dirty="0"/>
              <a:t>, </a:t>
            </a:r>
            <a:r>
              <a:rPr lang="pl-PL" dirty="0" err="1"/>
              <a:t>consectetur</a:t>
            </a:r>
            <a:r>
              <a:rPr lang="pl-PL" dirty="0"/>
              <a:t> </a:t>
            </a:r>
            <a:r>
              <a:rPr lang="pl-PL" dirty="0" err="1"/>
              <a:t>adipiscing</a:t>
            </a:r>
            <a:r>
              <a:rPr lang="pl-PL" dirty="0"/>
              <a:t> elit, </a:t>
            </a:r>
            <a:r>
              <a:rPr lang="pl-PL" dirty="0" err="1"/>
              <a:t>sed</a:t>
            </a:r>
            <a:r>
              <a:rPr lang="pl-PL" dirty="0"/>
              <a:t> do </a:t>
            </a:r>
            <a:r>
              <a:rPr lang="pl-PL" dirty="0" err="1"/>
              <a:t>eiusmod</a:t>
            </a:r>
            <a:r>
              <a:rPr lang="pl-PL" dirty="0"/>
              <a:t> </a:t>
            </a:r>
            <a:r>
              <a:rPr lang="pl-PL" dirty="0" err="1"/>
              <a:t>tempor</a:t>
            </a:r>
            <a:r>
              <a:rPr lang="pl-PL" dirty="0"/>
              <a:t> </a:t>
            </a:r>
            <a:r>
              <a:rPr lang="pl-PL" dirty="0" err="1"/>
              <a:t>incididunt</a:t>
            </a:r>
            <a:r>
              <a:rPr lang="pl-PL" dirty="0"/>
              <a:t> </a:t>
            </a:r>
            <a:r>
              <a:rPr lang="pl-PL" dirty="0" err="1"/>
              <a:t>ut</a:t>
            </a:r>
            <a:r>
              <a:rPr lang="pl-PL" dirty="0"/>
              <a:t> </a:t>
            </a:r>
            <a:r>
              <a:rPr lang="pl-PL" dirty="0" err="1"/>
              <a:t>labore</a:t>
            </a:r>
            <a:r>
              <a:rPr lang="pl-PL" dirty="0"/>
              <a:t> et </a:t>
            </a:r>
            <a:r>
              <a:rPr lang="pl-PL" dirty="0" err="1"/>
              <a:t>dolore</a:t>
            </a:r>
            <a:r>
              <a:rPr lang="pl-PL" dirty="0"/>
              <a:t> </a:t>
            </a:r>
            <a:r>
              <a:rPr lang="pl-PL" dirty="0" err="1"/>
              <a:t>magna</a:t>
            </a:r>
            <a:r>
              <a:rPr lang="pl-PL" dirty="0"/>
              <a:t> </a:t>
            </a:r>
            <a:r>
              <a:rPr lang="pl-PL" dirty="0" err="1"/>
              <a:t>aliqua</a:t>
            </a:r>
            <a:endParaRPr lang="pl-PL" dirty="0"/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5" hasCustomPrompt="1"/>
          </p:nvPr>
        </p:nvSpPr>
        <p:spPr>
          <a:xfrm>
            <a:off x="2236597" y="4411361"/>
            <a:ext cx="9457267" cy="1176867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 err="1"/>
              <a:t>Lorem</a:t>
            </a:r>
            <a:r>
              <a:rPr lang="pl-PL" dirty="0"/>
              <a:t> </a:t>
            </a:r>
            <a:r>
              <a:rPr lang="pl-PL" dirty="0" err="1"/>
              <a:t>ipsum</a:t>
            </a:r>
            <a:endParaRPr lang="pl-PL" dirty="0"/>
          </a:p>
          <a:p>
            <a:pPr lvl="0"/>
            <a:r>
              <a:rPr lang="pl-PL" dirty="0" err="1"/>
              <a:t>Lorem</a:t>
            </a:r>
            <a:r>
              <a:rPr lang="pl-PL" dirty="0"/>
              <a:t> </a:t>
            </a:r>
            <a:r>
              <a:rPr lang="pl-PL" dirty="0" err="1"/>
              <a:t>ipsum</a:t>
            </a:r>
            <a:r>
              <a:rPr lang="pl-PL" dirty="0"/>
              <a:t> </a:t>
            </a:r>
            <a:r>
              <a:rPr lang="pl-PL" dirty="0" err="1"/>
              <a:t>dolor</a:t>
            </a:r>
            <a:r>
              <a:rPr lang="pl-PL" dirty="0"/>
              <a:t> sit </a:t>
            </a:r>
            <a:r>
              <a:rPr lang="pl-PL" dirty="0" err="1"/>
              <a:t>amet</a:t>
            </a:r>
            <a:r>
              <a:rPr lang="pl-PL" dirty="0"/>
              <a:t>, </a:t>
            </a:r>
            <a:r>
              <a:rPr lang="pl-PL" dirty="0" err="1"/>
              <a:t>consectetur</a:t>
            </a:r>
            <a:r>
              <a:rPr lang="pl-PL" dirty="0"/>
              <a:t> </a:t>
            </a:r>
            <a:r>
              <a:rPr lang="pl-PL" dirty="0" err="1"/>
              <a:t>adipiscing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0387168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verture de 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480000" y="6174395"/>
            <a:ext cx="4320000" cy="252000"/>
          </a:xfrm>
        </p:spPr>
        <p:txBody>
          <a:bodyPr anchor="ctr"/>
          <a:lstStyle>
            <a:lvl1pPr marL="0" indent="0" algn="r">
              <a:buNone/>
              <a:defRPr sz="1000" b="1" cap="all" spc="20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Modifier les styles du texte du masque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1E05C12A-6D66-4BD5-8AA3-E181C54F9E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38238" y="6174395"/>
            <a:ext cx="828017" cy="252000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4D9927BF-3057-4ED9-A027-6ED3E59441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52612" y="6174395"/>
            <a:ext cx="4320000" cy="252000"/>
          </a:xfrm>
        </p:spPr>
        <p:txBody>
          <a:bodyPr/>
          <a:lstStyle/>
          <a:p>
            <a:r>
              <a:rPr lang="pt-BR"/>
              <a:t>BPI - AAP</a:t>
            </a:r>
            <a:endParaRPr lang="fr-FR" dirty="0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7E748F74-A8DF-40EA-847A-446CF8437D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t>‹N›</a:t>
            </a:fld>
            <a:endParaRPr lang="fr-FR"/>
          </a:p>
        </p:txBody>
      </p:sp>
      <p:sp>
        <p:nvSpPr>
          <p:cNvPr id="13" name="Titre 1">
            <a:extLst>
              <a:ext uri="{FF2B5EF4-FFF2-40B4-BE49-F238E27FC236}">
                <a16:creationId xmlns:a16="http://schemas.microsoft.com/office/drawing/2014/main" id="{EB846008-EFE2-47B0-B7F8-92425D08C31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0000" y="462061"/>
            <a:ext cx="10980000" cy="2520000"/>
          </a:xfrm>
        </p:spPr>
        <p:txBody>
          <a:bodyPr anchor="b">
            <a:normAutofit/>
          </a:bodyPr>
          <a:lstStyle>
            <a:lvl1pPr algn="l" defTabSz="360000">
              <a:lnSpc>
                <a:spcPct val="85000"/>
              </a:lnSpc>
              <a:tabLst/>
              <a:defRPr sz="54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4" name="Sous-titre 2">
            <a:extLst>
              <a:ext uri="{FF2B5EF4-FFF2-40B4-BE49-F238E27FC236}">
                <a16:creationId xmlns:a16="http://schemas.microsoft.com/office/drawing/2014/main" id="{21BC1F89-C2D8-4D79-A074-D1E96076541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20000" y="2891731"/>
            <a:ext cx="10980000" cy="2340000"/>
          </a:xfrm>
        </p:spPr>
        <p:txBody>
          <a:bodyPr anchor="t">
            <a:noAutofit/>
          </a:bodyPr>
          <a:lstStyle>
            <a:lvl1pPr marL="0" indent="0" algn="l" defTabSz="360000">
              <a:lnSpc>
                <a:spcPct val="85000"/>
              </a:lnSpc>
              <a:buNone/>
              <a:tabLst/>
              <a:defRPr sz="54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r le style des sous-titres du mas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92135386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e zdjęcie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fld id="{C403FFB5-084A-4689-B252-64F0D1639601}" type="datetime1">
              <a:rPr lang="en-US" smtClean="0"/>
              <a:t>3/9/2026</a:t>
            </a:fld>
            <a:endParaRPr lang="fr-FR" dirty="0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 dirty="0"/>
          </a:p>
        </p:txBody>
      </p:sp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962384"/>
            <a:ext cx="4931013" cy="3746643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924311" y="1457657"/>
            <a:ext cx="4931687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  <p:sp>
        <p:nvSpPr>
          <p:cNvPr id="8" name="Symbol zastępczy obrazu 4"/>
          <p:cNvSpPr>
            <a:spLocks noGrp="1"/>
          </p:cNvSpPr>
          <p:nvPr>
            <p:ph type="pic" sz="quarter" idx="15" hasCustomPrompt="1"/>
          </p:nvPr>
        </p:nvSpPr>
        <p:spPr>
          <a:xfrm>
            <a:off x="6032501" y="1454151"/>
            <a:ext cx="5727700" cy="4254875"/>
          </a:xfrm>
        </p:spPr>
        <p:txBody>
          <a:bodyPr/>
          <a:lstStyle>
            <a:lvl1pPr marL="0" indent="0" algn="ctr">
              <a:buFontTx/>
              <a:buNone/>
              <a:defRPr b="0">
                <a:solidFill>
                  <a:schemeClr val="accent3"/>
                </a:solidFill>
              </a:defRPr>
            </a:lvl1pPr>
          </a:lstStyle>
          <a:p>
            <a:r>
              <a:rPr lang="pl-PL" dirty="0"/>
              <a:t>Wstaw obraz</a:t>
            </a:r>
          </a:p>
        </p:txBody>
      </p:sp>
    </p:spTree>
    <p:extLst>
      <p:ext uri="{BB962C8B-B14F-4D97-AF65-F5344CB8AC3E}">
        <p14:creationId xmlns:p14="http://schemas.microsoft.com/office/powerpoint/2010/main" val="2038198216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e zdjęci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fld id="{7A787004-5C6A-4240-8507-DF8859B9A571}" type="datetime1">
              <a:rPr lang="en-US" smtClean="0"/>
              <a:t>3/9/2026</a:t>
            </a:fld>
            <a:endParaRPr lang="fr-FR" dirty="0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 dirty="0"/>
          </a:p>
        </p:txBody>
      </p:sp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6829187" y="1962384"/>
            <a:ext cx="4931013" cy="3866643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6828514" y="1457657"/>
            <a:ext cx="4931687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  <p:sp>
        <p:nvSpPr>
          <p:cNvPr id="8" name="Symbol zastępczy obrazu 4"/>
          <p:cNvSpPr>
            <a:spLocks noGrp="1"/>
          </p:cNvSpPr>
          <p:nvPr>
            <p:ph type="pic" sz="quarter" idx="15" hasCustomPrompt="1"/>
          </p:nvPr>
        </p:nvSpPr>
        <p:spPr>
          <a:xfrm>
            <a:off x="944105" y="1454150"/>
            <a:ext cx="5511900" cy="4374876"/>
          </a:xfrm>
        </p:spPr>
        <p:txBody>
          <a:bodyPr/>
          <a:lstStyle>
            <a:lvl1pPr marL="0" indent="0" algn="ctr">
              <a:buFontTx/>
              <a:buNone/>
              <a:defRPr b="0">
                <a:solidFill>
                  <a:schemeClr val="accent3"/>
                </a:solidFill>
              </a:defRPr>
            </a:lvl1pPr>
          </a:lstStyle>
          <a:p>
            <a:r>
              <a:rPr lang="pl-PL" dirty="0"/>
              <a:t>Wstaw obraz</a:t>
            </a:r>
          </a:p>
        </p:txBody>
      </p:sp>
    </p:spTree>
    <p:extLst>
      <p:ext uri="{BB962C8B-B14F-4D97-AF65-F5344CB8AC3E}">
        <p14:creationId xmlns:p14="http://schemas.microsoft.com/office/powerpoint/2010/main" val="2602019887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Strona zamykająca 2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15127" y="5255491"/>
            <a:ext cx="7952509" cy="1089891"/>
          </a:xfrm>
          <a:prstGeom prst="rect">
            <a:avLst/>
          </a:prstGeom>
        </p:spPr>
      </p:pic>
      <p:sp>
        <p:nvSpPr>
          <p:cNvPr id="12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3656199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rona zamykając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24364" y="5273964"/>
            <a:ext cx="7961745" cy="1071419"/>
          </a:xfrm>
          <a:prstGeom prst="rect">
            <a:avLst/>
          </a:prstGeom>
        </p:spPr>
      </p:pic>
      <p:sp>
        <p:nvSpPr>
          <p:cNvPr id="13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71199269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ytuł z treścią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3" y="6480335"/>
            <a:ext cx="659188" cy="360000"/>
          </a:xfrm>
        </p:spPr>
        <p:txBody>
          <a:bodyPr/>
          <a:lstStyle/>
          <a:p>
            <a:fld id="{A49A1047-6F69-4122-A1D4-AD3EA02BA06D}" type="datetime1">
              <a:rPr lang="en-US" smtClean="0"/>
              <a:t>3/9/2026</a:t>
            </a:fld>
            <a:endParaRPr lang="fr-FR" dirty="0"/>
          </a:p>
        </p:txBody>
      </p:sp>
      <p:sp>
        <p:nvSpPr>
          <p:cNvPr id="12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41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99401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push dir="u"/>
      </p:transition>
    </mc:Choice>
    <mc:Fallback xmlns="">
      <p:transition spd="slow">
        <p:push dir="u"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ona tytułowa z motyw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Espace réservé pour une image  15"/>
          <p:cNvSpPr>
            <a:spLocks noGrp="1"/>
          </p:cNvSpPr>
          <p:nvPr>
            <p:ph type="pic" sz="quarter" idx="19" hasCustomPrompt="1"/>
          </p:nvPr>
        </p:nvSpPr>
        <p:spPr>
          <a:xfrm>
            <a:off x="340800" y="326400"/>
            <a:ext cx="11856000" cy="5856000"/>
          </a:xfrm>
          <a:custGeom>
            <a:avLst/>
            <a:gdLst>
              <a:gd name="connsiteX0" fmla="*/ 244898 w 8892000"/>
              <a:gd name="connsiteY0" fmla="*/ 0 h 4392000"/>
              <a:gd name="connsiteX1" fmla="*/ 3420000 w 8892000"/>
              <a:gd name="connsiteY1" fmla="*/ 0 h 4392000"/>
              <a:gd name="connsiteX2" fmla="*/ 8647102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4898 h 4392000"/>
              <a:gd name="connsiteX5" fmla="*/ 8892000 w 8892000"/>
              <a:gd name="connsiteY5" fmla="*/ 4147102 h 4392000"/>
              <a:gd name="connsiteX6" fmla="*/ 8892000 w 8892000"/>
              <a:gd name="connsiteY6" fmla="*/ 4392000 h 4392000"/>
              <a:gd name="connsiteX7" fmla="*/ 8647102 w 8892000"/>
              <a:gd name="connsiteY7" fmla="*/ 4392000 h 4392000"/>
              <a:gd name="connsiteX8" fmla="*/ 3420000 w 8892000"/>
              <a:gd name="connsiteY8" fmla="*/ 4392000 h 4392000"/>
              <a:gd name="connsiteX9" fmla="*/ 244898 w 8892000"/>
              <a:gd name="connsiteY9" fmla="*/ 4392000 h 4392000"/>
              <a:gd name="connsiteX10" fmla="*/ 0 w 8892000"/>
              <a:gd name="connsiteY10" fmla="*/ 4147102 h 4392000"/>
              <a:gd name="connsiteX11" fmla="*/ 0 w 8892000"/>
              <a:gd name="connsiteY11" fmla="*/ 244898 h 4392000"/>
              <a:gd name="connsiteX12" fmla="*/ 244898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4898" y="0"/>
                </a:moveTo>
                <a:lnTo>
                  <a:pt x="3420000" y="0"/>
                </a:lnTo>
                <a:lnTo>
                  <a:pt x="8647102" y="0"/>
                </a:lnTo>
                <a:lnTo>
                  <a:pt x="8892000" y="0"/>
                </a:lnTo>
                <a:lnTo>
                  <a:pt x="8892000" y="244898"/>
                </a:lnTo>
                <a:lnTo>
                  <a:pt x="8892000" y="4147102"/>
                </a:lnTo>
                <a:lnTo>
                  <a:pt x="8892000" y="4392000"/>
                </a:lnTo>
                <a:lnTo>
                  <a:pt x="8647102" y="4392000"/>
                </a:lnTo>
                <a:lnTo>
                  <a:pt x="3420000" y="4392000"/>
                </a:lnTo>
                <a:lnTo>
                  <a:pt x="244898" y="4392000"/>
                </a:lnTo>
                <a:cubicBezTo>
                  <a:pt x="109645" y="4392000"/>
                  <a:pt x="0" y="4282355"/>
                  <a:pt x="0" y="4147102"/>
                </a:cubicBezTo>
                <a:lnTo>
                  <a:pt x="0" y="244898"/>
                </a:lnTo>
                <a:cubicBezTo>
                  <a:pt x="0" y="109645"/>
                  <a:pt x="109645" y="0"/>
                  <a:pt x="244898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tIns="1260000" anchor="t">
            <a:noAutofit/>
          </a:bodyPr>
          <a:lstStyle>
            <a:lvl1pPr marL="0" indent="0" algn="ctr">
              <a:buFontTx/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r>
              <a:rPr lang="pl-PL" noProof="0"/>
              <a:t>Kliknij ikonę, aby dodać zdjęcie tła</a:t>
            </a:r>
            <a:br>
              <a:rPr lang="pl-PL" noProof="0"/>
            </a:br>
            <a:r>
              <a:rPr lang="pl-PL" noProof="0"/>
              <a:t>(Wybierz obraz prawym przyciskiem myszy / Ustaw jako tło)</a:t>
            </a:r>
          </a:p>
        </p:txBody>
      </p:sp>
      <p:sp>
        <p:nvSpPr>
          <p:cNvPr id="19" name="Espace réservé du texte 13"/>
          <p:cNvSpPr>
            <a:spLocks noGrp="1" noChangeAspect="1"/>
          </p:cNvSpPr>
          <p:nvPr>
            <p:ph type="body" sz="quarter" idx="17" hasCustomPrompt="1"/>
          </p:nvPr>
        </p:nvSpPr>
        <p:spPr bwMode="gray">
          <a:xfrm>
            <a:off x="5616000" y="1"/>
            <a:ext cx="960000" cy="823385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33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pic>
        <p:nvPicPr>
          <p:cNvPr id="25" name="Obraz 24" descr="CA_logo symetryczne 1L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8234" y="6281744"/>
            <a:ext cx="1519221" cy="480053"/>
          </a:xfrm>
          <a:prstGeom prst="rect">
            <a:avLst/>
          </a:prstGeom>
        </p:spPr>
      </p:pic>
      <p:sp>
        <p:nvSpPr>
          <p:cNvPr id="37" name="Rectangle 9"/>
          <p:cNvSpPr/>
          <p:nvPr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38" name="Espace réservé de la date 5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  <p:sp>
        <p:nvSpPr>
          <p:cNvPr id="39" name="Espace réservé du numéro de diapositive 6"/>
          <p:cNvSpPr>
            <a:spLocks noGrp="1"/>
          </p:cNvSpPr>
          <p:nvPr>
            <p:ph type="sldNum" sz="quarter" idx="11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40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2241577" y="3979549"/>
            <a:ext cx="9755320" cy="1440000"/>
          </a:xfrm>
        </p:spPr>
        <p:txBody>
          <a:bodyPr tIns="180000" anchor="ctr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733" b="0" cap="all" baseline="0">
                <a:solidFill>
                  <a:schemeClr val="bg1"/>
                </a:solidFill>
              </a:defRPr>
            </a:lvl1pPr>
          </a:lstStyle>
          <a:p>
            <a:r>
              <a:rPr lang="pl-PL" noProof="0" dirty="0"/>
              <a:t>TYTUŁ PREZENTACJI </a:t>
            </a:r>
            <a:br>
              <a:rPr lang="pl-PL" noProof="0" dirty="0"/>
            </a:br>
            <a:r>
              <a:rPr lang="pl-PL" noProof="0" dirty="0"/>
              <a:t>– Slajd ze zdjęciem</a:t>
            </a:r>
          </a:p>
        </p:txBody>
      </p:sp>
      <p:sp>
        <p:nvSpPr>
          <p:cNvPr id="45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877091" y="4293096"/>
            <a:ext cx="192000" cy="912000"/>
          </a:xfrm>
          <a:prstGeom prst="roundRect">
            <a:avLst>
              <a:gd name="adj" fmla="val 13081"/>
            </a:avLst>
          </a:prstGeom>
          <a:solidFill>
            <a:schemeClr val="bg2"/>
          </a:solid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33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1" name="Symbol zastępczy tekstu 2"/>
          <p:cNvSpPr>
            <a:spLocks noGrp="1"/>
          </p:cNvSpPr>
          <p:nvPr>
            <p:ph type="body" sz="quarter" idx="20" hasCustomPrompt="1"/>
          </p:nvPr>
        </p:nvSpPr>
        <p:spPr>
          <a:xfrm>
            <a:off x="2241577" y="5421687"/>
            <a:ext cx="9755320" cy="168000"/>
          </a:xfrm>
          <a:noFill/>
          <a:ln>
            <a:noFill/>
          </a:ln>
          <a:effectLst/>
        </p:spPr>
        <p:txBody>
          <a:bodyPr anchor="t"/>
          <a:lstStyle>
            <a:lvl1pPr marL="0" indent="0">
              <a:lnSpc>
                <a:spcPct val="80000"/>
              </a:lnSpc>
              <a:buFontTx/>
              <a:buNone/>
              <a:defRPr sz="1200" b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 marL="575986" indent="0">
              <a:buFontTx/>
              <a:buNone/>
              <a:defRPr sz="1600"/>
            </a:lvl2pPr>
            <a:lvl3pPr marL="1151971" indent="0">
              <a:buFontTx/>
              <a:buNone/>
              <a:defRPr sz="1600"/>
            </a:lvl3pPr>
            <a:lvl4pPr marL="1727957" indent="0">
              <a:buFontTx/>
              <a:buNone/>
              <a:defRPr sz="1600"/>
            </a:lvl4pPr>
            <a:lvl5pPr marL="2303942" indent="0">
              <a:buFontTx/>
              <a:buNone/>
              <a:defRPr sz="1600"/>
            </a:lvl5pPr>
          </a:lstStyle>
          <a:p>
            <a:pPr lvl="0"/>
            <a:r>
              <a:rPr lang="pl-PL" dirty="0"/>
              <a:t>Nazwa posiedzenia</a:t>
            </a:r>
          </a:p>
        </p:txBody>
      </p:sp>
      <p:sp>
        <p:nvSpPr>
          <p:cNvPr id="13" name="Symbol zastępczy tekstu 4"/>
          <p:cNvSpPr>
            <a:spLocks noGrp="1"/>
          </p:cNvSpPr>
          <p:nvPr>
            <p:ph type="body" sz="quarter" idx="18" hasCustomPrompt="1"/>
          </p:nvPr>
        </p:nvSpPr>
        <p:spPr>
          <a:xfrm>
            <a:off x="2241577" y="5598384"/>
            <a:ext cx="9755320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80000"/>
              </a:lnSpc>
              <a:buFontTx/>
              <a:buNone/>
              <a:defRPr lang="pl-PL" sz="1200" b="0" dirty="0" smtClean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>
              <a:defRPr lang="pl-PL" sz="1600" dirty="0" smtClean="0"/>
            </a:lvl2pPr>
            <a:lvl3pPr>
              <a:defRPr lang="pl-PL" sz="1600" dirty="0" smtClean="0"/>
            </a:lvl3pPr>
            <a:lvl4pPr>
              <a:defRPr lang="pl-PL" sz="1600" dirty="0" smtClean="0"/>
            </a:lvl4pPr>
            <a:lvl5pPr>
              <a:defRPr lang="pl-PL" sz="1600" dirty="0"/>
            </a:lvl5pPr>
          </a:lstStyle>
          <a:p>
            <a:pPr marL="0" lvl="0" indent="0">
              <a:buFontTx/>
              <a:buNone/>
            </a:pPr>
            <a:r>
              <a:rPr lang="pl-PL" dirty="0"/>
              <a:t>Data posiedzenia</a:t>
            </a:r>
          </a:p>
        </p:txBody>
      </p:sp>
      <p:sp>
        <p:nvSpPr>
          <p:cNvPr id="14" name="Symbol zastępczy tekstu 19"/>
          <p:cNvSpPr>
            <a:spLocks noGrp="1"/>
          </p:cNvSpPr>
          <p:nvPr>
            <p:ph type="body" sz="quarter" idx="21" hasCustomPrompt="1"/>
          </p:nvPr>
        </p:nvSpPr>
        <p:spPr>
          <a:xfrm>
            <a:off x="2241578" y="5774945"/>
            <a:ext cx="9755319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80000"/>
              </a:lnSpc>
              <a:buFontTx/>
              <a:buNone/>
              <a:defRPr lang="pl-PL" sz="1200" b="0" smtClean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>
              <a:defRPr lang="pl-PL" sz="1600" smtClean="0"/>
            </a:lvl2pPr>
            <a:lvl3pPr>
              <a:defRPr lang="pl-PL" sz="1600" smtClean="0"/>
            </a:lvl3pPr>
            <a:lvl4pPr>
              <a:defRPr lang="pl-PL" sz="1600" smtClean="0"/>
            </a:lvl4pPr>
            <a:lvl5pPr>
              <a:defRPr lang="pl-PL" sz="1600"/>
            </a:lvl5pPr>
          </a:lstStyle>
          <a:p>
            <a:pPr marL="0" lvl="0" indent="0">
              <a:buFontTx/>
              <a:buNone/>
            </a:pPr>
            <a:r>
              <a:rPr lang="pl-PL" dirty="0"/>
              <a:t>Imię i nazwisko osoby prezentującej</a:t>
            </a:r>
          </a:p>
        </p:txBody>
      </p:sp>
      <p:sp>
        <p:nvSpPr>
          <p:cNvPr id="15" name="Symbol zastępczy tekstu 21"/>
          <p:cNvSpPr>
            <a:spLocks noGrp="1"/>
          </p:cNvSpPr>
          <p:nvPr>
            <p:ph type="body" sz="quarter" idx="22" hasCustomPrompt="1"/>
          </p:nvPr>
        </p:nvSpPr>
        <p:spPr>
          <a:xfrm>
            <a:off x="2241577" y="5949427"/>
            <a:ext cx="9755320" cy="168000"/>
          </a:xfr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lang="pl-PL" sz="1200" b="0" cap="none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80000"/>
              </a:lnSpc>
              <a:buNone/>
            </a:pPr>
            <a:r>
              <a:rPr lang="pl-PL" dirty="0"/>
              <a:t>Nazwa jednostki organizacyjnej</a:t>
            </a:r>
          </a:p>
        </p:txBody>
      </p:sp>
      <p:sp>
        <p:nvSpPr>
          <p:cNvPr id="17" name="Rectangle 9"/>
          <p:cNvSpPr/>
          <p:nvPr userDrawn="1"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518448098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ona tytułowa z tłe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orme libre 11"/>
          <p:cNvSpPr/>
          <p:nvPr/>
        </p:nvSpPr>
        <p:spPr>
          <a:xfrm>
            <a:off x="340800" y="32640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5864 h 4392000"/>
              <a:gd name="connsiteX5" fmla="*/ 8892000 w 8892000"/>
              <a:gd name="connsiteY5" fmla="*/ 4146136 h 4392000"/>
              <a:gd name="connsiteX6" fmla="*/ 8892000 w 8892000"/>
              <a:gd name="connsiteY6" fmla="*/ 4392000 h 4392000"/>
              <a:gd name="connsiteX7" fmla="*/ 8646136 w 8892000"/>
              <a:gd name="connsiteY7" fmla="*/ 4392000 h 4392000"/>
              <a:gd name="connsiteX8" fmla="*/ 5292000 w 8892000"/>
              <a:gd name="connsiteY8" fmla="*/ 4392000 h 4392000"/>
              <a:gd name="connsiteX9" fmla="*/ 245864 w 8892000"/>
              <a:gd name="connsiteY9" fmla="*/ 4392000 h 4392000"/>
              <a:gd name="connsiteX10" fmla="*/ 0 w 8892000"/>
              <a:gd name="connsiteY10" fmla="*/ 4146136 h 4392000"/>
              <a:gd name="connsiteX11" fmla="*/ 0 w 8892000"/>
              <a:gd name="connsiteY11" fmla="*/ 245864 h 4392000"/>
              <a:gd name="connsiteX12" fmla="*/ 245864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45864"/>
                </a:lnTo>
                <a:lnTo>
                  <a:pt x="8892000" y="4146136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 noProof="0"/>
          </a:p>
        </p:txBody>
      </p:sp>
      <p:sp>
        <p:nvSpPr>
          <p:cNvPr id="15" name="Forme libre 16"/>
          <p:cNvSpPr/>
          <p:nvPr/>
        </p:nvSpPr>
        <p:spPr bwMode="gray">
          <a:xfrm>
            <a:off x="431802" y="333378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</p:spPr>
        <p:txBody>
          <a:bodyPr vert="horz" lIns="0" tIns="0" rIns="0" bIns="0" rtlCol="0" anchor="t" anchorCtr="0">
            <a:noAutofit/>
          </a:bodyPr>
          <a:lstStyle/>
          <a:p>
            <a:pPr lvl="0" defTabSz="91434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sz="3751" b="0" cap="all" baseline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0" name="Forme libre 16"/>
          <p:cNvSpPr/>
          <p:nvPr/>
        </p:nvSpPr>
        <p:spPr bwMode="gray">
          <a:xfrm>
            <a:off x="431802" y="333378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</p:spPr>
        <p:txBody>
          <a:bodyPr vert="horz" lIns="0" tIns="0" rIns="0" bIns="0" rtlCol="0" anchor="t" anchorCtr="0">
            <a:noAutofit/>
          </a:bodyPr>
          <a:lstStyle/>
          <a:p>
            <a:pPr lvl="0" defTabSz="91434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sz="3751" b="0" cap="all" baseline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6" name="Espace réservé du texte 13"/>
          <p:cNvSpPr>
            <a:spLocks noGrp="1" noChangeAspect="1"/>
          </p:cNvSpPr>
          <p:nvPr>
            <p:ph type="body" sz="quarter" idx="17" hasCustomPrompt="1"/>
          </p:nvPr>
        </p:nvSpPr>
        <p:spPr bwMode="gray">
          <a:xfrm>
            <a:off x="5616000" y="1"/>
            <a:ext cx="960000" cy="823385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33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9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2241576" y="3979549"/>
            <a:ext cx="9755320" cy="1439999"/>
          </a:xfrm>
        </p:spPr>
        <p:txBody>
          <a:bodyPr tIns="180000" anchor="ctr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733" b="0" cap="all" baseline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TYTUŁ PREZENTACJI </a:t>
            </a:r>
            <a:br>
              <a:rPr lang="fr-FR" noProof="0" dirty="0"/>
            </a:br>
            <a:r>
              <a:rPr lang="fr-FR" noProof="0" dirty="0"/>
              <a:t>– SLAJD BEZ ZDJĘCIA 1</a:t>
            </a:r>
          </a:p>
        </p:txBody>
      </p:sp>
      <p:sp>
        <p:nvSpPr>
          <p:cNvPr id="30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877091" y="4293096"/>
            <a:ext cx="192000" cy="912000"/>
          </a:xfrm>
          <a:prstGeom prst="roundRect">
            <a:avLst>
              <a:gd name="adj" fmla="val 13081"/>
            </a:avLst>
          </a:prstGeom>
          <a:solidFill>
            <a:schemeClr val="bg2"/>
          </a:solid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33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pic>
        <p:nvPicPr>
          <p:cNvPr id="31" name="Obraz 30" descr="CA_logo symetryczne 1L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8234" y="6281744"/>
            <a:ext cx="1519221" cy="480053"/>
          </a:xfrm>
          <a:prstGeom prst="rect">
            <a:avLst/>
          </a:prstGeom>
        </p:spPr>
      </p:pic>
      <p:sp>
        <p:nvSpPr>
          <p:cNvPr id="36" name="Rectangle 9"/>
          <p:cNvSpPr/>
          <p:nvPr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37" name="Espace réservé de la date 5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  <p:sp>
        <p:nvSpPr>
          <p:cNvPr id="38" name="Espace réservé du numéro de diapositive 6"/>
          <p:cNvSpPr>
            <a:spLocks noGrp="1"/>
          </p:cNvSpPr>
          <p:nvPr>
            <p:ph type="sldNum" sz="quarter" idx="11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39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13" name="Symbol zastępczy tekstu 2"/>
          <p:cNvSpPr>
            <a:spLocks noGrp="1"/>
          </p:cNvSpPr>
          <p:nvPr>
            <p:ph type="body" sz="quarter" idx="20" hasCustomPrompt="1"/>
          </p:nvPr>
        </p:nvSpPr>
        <p:spPr>
          <a:xfrm>
            <a:off x="2241577" y="5421687"/>
            <a:ext cx="9755320" cy="168000"/>
          </a:xfrm>
          <a:noFill/>
          <a:ln>
            <a:noFill/>
          </a:ln>
          <a:effectLst/>
        </p:spPr>
        <p:txBody>
          <a:bodyPr anchor="t"/>
          <a:lstStyle>
            <a:lvl1pPr marL="0" indent="0">
              <a:lnSpc>
                <a:spcPct val="80000"/>
              </a:lnSpc>
              <a:buFontTx/>
              <a:buNone/>
              <a:defRPr sz="1200" b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 marL="575986" indent="0">
              <a:buFontTx/>
              <a:buNone/>
              <a:defRPr sz="1600"/>
            </a:lvl2pPr>
            <a:lvl3pPr marL="1151971" indent="0">
              <a:buFontTx/>
              <a:buNone/>
              <a:defRPr sz="1600"/>
            </a:lvl3pPr>
            <a:lvl4pPr marL="1727957" indent="0">
              <a:buFontTx/>
              <a:buNone/>
              <a:defRPr sz="1600"/>
            </a:lvl4pPr>
            <a:lvl5pPr marL="2303942" indent="0">
              <a:buFontTx/>
              <a:buNone/>
              <a:defRPr sz="1600"/>
            </a:lvl5pPr>
          </a:lstStyle>
          <a:p>
            <a:pPr lvl="0"/>
            <a:r>
              <a:rPr lang="pl-PL" dirty="0"/>
              <a:t>Nazwa posiedzenia</a:t>
            </a:r>
          </a:p>
        </p:txBody>
      </p:sp>
      <p:sp>
        <p:nvSpPr>
          <p:cNvPr id="14" name="Symbol zastępczy tekstu 4"/>
          <p:cNvSpPr>
            <a:spLocks noGrp="1"/>
          </p:cNvSpPr>
          <p:nvPr>
            <p:ph type="body" sz="quarter" idx="18" hasCustomPrompt="1"/>
          </p:nvPr>
        </p:nvSpPr>
        <p:spPr>
          <a:xfrm>
            <a:off x="2241577" y="5598384"/>
            <a:ext cx="9755320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80000"/>
              </a:lnSpc>
              <a:buFontTx/>
              <a:buNone/>
              <a:defRPr lang="pl-PL" sz="1200" b="0" dirty="0" smtClean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>
              <a:defRPr lang="pl-PL" sz="1600" dirty="0" smtClean="0"/>
            </a:lvl2pPr>
            <a:lvl3pPr>
              <a:defRPr lang="pl-PL" sz="1600" dirty="0" smtClean="0"/>
            </a:lvl3pPr>
            <a:lvl4pPr>
              <a:defRPr lang="pl-PL" sz="1600" dirty="0" smtClean="0"/>
            </a:lvl4pPr>
            <a:lvl5pPr>
              <a:defRPr lang="pl-PL" sz="1600" dirty="0"/>
            </a:lvl5pPr>
          </a:lstStyle>
          <a:p>
            <a:pPr marL="0" lvl="0" indent="0">
              <a:buFontTx/>
              <a:buNone/>
            </a:pPr>
            <a:r>
              <a:rPr lang="pl-PL" dirty="0"/>
              <a:t>Data posiedzenia</a:t>
            </a:r>
          </a:p>
        </p:txBody>
      </p:sp>
      <p:sp>
        <p:nvSpPr>
          <p:cNvPr id="16" name="Symbol zastępczy tekstu 19"/>
          <p:cNvSpPr>
            <a:spLocks noGrp="1"/>
          </p:cNvSpPr>
          <p:nvPr>
            <p:ph type="body" sz="quarter" idx="21" hasCustomPrompt="1"/>
          </p:nvPr>
        </p:nvSpPr>
        <p:spPr>
          <a:xfrm>
            <a:off x="2241578" y="5774945"/>
            <a:ext cx="9755319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80000"/>
              </a:lnSpc>
              <a:buFontTx/>
              <a:buNone/>
              <a:defRPr lang="pl-PL" sz="1200" b="0" smtClean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>
              <a:defRPr lang="pl-PL" sz="1600" smtClean="0"/>
            </a:lvl2pPr>
            <a:lvl3pPr>
              <a:defRPr lang="pl-PL" sz="1600" smtClean="0"/>
            </a:lvl3pPr>
            <a:lvl4pPr>
              <a:defRPr lang="pl-PL" sz="1600" smtClean="0"/>
            </a:lvl4pPr>
            <a:lvl5pPr>
              <a:defRPr lang="pl-PL" sz="1600"/>
            </a:lvl5pPr>
          </a:lstStyle>
          <a:p>
            <a:pPr marL="0" lvl="0" indent="0">
              <a:buFontTx/>
              <a:buNone/>
            </a:pPr>
            <a:r>
              <a:rPr lang="pl-PL" dirty="0"/>
              <a:t>Imię i nazwisko osoby prezentującej</a:t>
            </a:r>
          </a:p>
        </p:txBody>
      </p:sp>
      <p:sp>
        <p:nvSpPr>
          <p:cNvPr id="17" name="Symbol zastępczy tekstu 21"/>
          <p:cNvSpPr>
            <a:spLocks noGrp="1"/>
          </p:cNvSpPr>
          <p:nvPr>
            <p:ph type="body" sz="quarter" idx="22" hasCustomPrompt="1"/>
          </p:nvPr>
        </p:nvSpPr>
        <p:spPr>
          <a:xfrm>
            <a:off x="2241577" y="5949427"/>
            <a:ext cx="9755320" cy="168000"/>
          </a:xfr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lang="pl-PL" sz="1200" b="0" cap="none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80000"/>
              </a:lnSpc>
              <a:buNone/>
            </a:pPr>
            <a:r>
              <a:rPr lang="pl-PL" dirty="0"/>
              <a:t>Nazwa jednostki organizacyjnej</a:t>
            </a:r>
          </a:p>
        </p:txBody>
      </p:sp>
      <p:sp>
        <p:nvSpPr>
          <p:cNvPr id="19" name="Forme libre 16"/>
          <p:cNvSpPr/>
          <p:nvPr userDrawn="1"/>
        </p:nvSpPr>
        <p:spPr bwMode="gray">
          <a:xfrm>
            <a:off x="431802" y="333378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</p:spPr>
        <p:txBody>
          <a:bodyPr vert="horz" lIns="0" tIns="0" rIns="0" bIns="0" rtlCol="0" anchor="t" anchorCtr="0">
            <a:noAutofit/>
          </a:bodyPr>
          <a:lstStyle/>
          <a:p>
            <a:pPr lvl="0" defTabSz="91434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sz="3751" b="0" cap="all" baseline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2" name="Rectangle 9"/>
          <p:cNvSpPr/>
          <p:nvPr userDrawn="1"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223575480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ona tytułowa z tł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orme libre 11"/>
          <p:cNvSpPr/>
          <p:nvPr/>
        </p:nvSpPr>
        <p:spPr>
          <a:xfrm>
            <a:off x="340800" y="32640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5864 h 4392000"/>
              <a:gd name="connsiteX5" fmla="*/ 8892000 w 8892000"/>
              <a:gd name="connsiteY5" fmla="*/ 4146136 h 4392000"/>
              <a:gd name="connsiteX6" fmla="*/ 8892000 w 8892000"/>
              <a:gd name="connsiteY6" fmla="*/ 4392000 h 4392000"/>
              <a:gd name="connsiteX7" fmla="*/ 8646136 w 8892000"/>
              <a:gd name="connsiteY7" fmla="*/ 4392000 h 4392000"/>
              <a:gd name="connsiteX8" fmla="*/ 5292000 w 8892000"/>
              <a:gd name="connsiteY8" fmla="*/ 4392000 h 4392000"/>
              <a:gd name="connsiteX9" fmla="*/ 245864 w 8892000"/>
              <a:gd name="connsiteY9" fmla="*/ 4392000 h 4392000"/>
              <a:gd name="connsiteX10" fmla="*/ 0 w 8892000"/>
              <a:gd name="connsiteY10" fmla="*/ 4146136 h 4392000"/>
              <a:gd name="connsiteX11" fmla="*/ 0 w 8892000"/>
              <a:gd name="connsiteY11" fmla="*/ 245864 h 4392000"/>
              <a:gd name="connsiteX12" fmla="*/ 245864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45864"/>
                </a:lnTo>
                <a:lnTo>
                  <a:pt x="8892000" y="4146136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rgbClr val="0095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 noProof="0"/>
          </a:p>
        </p:txBody>
      </p:sp>
      <p:sp>
        <p:nvSpPr>
          <p:cNvPr id="15" name="Forme libre 16"/>
          <p:cNvSpPr/>
          <p:nvPr/>
        </p:nvSpPr>
        <p:spPr bwMode="gray">
          <a:xfrm>
            <a:off x="431802" y="333378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</p:spPr>
        <p:txBody>
          <a:bodyPr vert="horz" lIns="0" tIns="0" rIns="0" bIns="0" rtlCol="0" anchor="t" anchorCtr="0">
            <a:noAutofit/>
          </a:bodyPr>
          <a:lstStyle/>
          <a:p>
            <a:pPr lvl="0" defTabSz="91434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sz="3751" b="0" cap="all" baseline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0" name="Forme libre 16"/>
          <p:cNvSpPr/>
          <p:nvPr/>
        </p:nvSpPr>
        <p:spPr bwMode="gray">
          <a:xfrm>
            <a:off x="431802" y="333378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</p:spPr>
        <p:txBody>
          <a:bodyPr vert="horz" lIns="0" tIns="0" rIns="0" bIns="0" rtlCol="0" anchor="t" anchorCtr="0">
            <a:noAutofit/>
          </a:bodyPr>
          <a:lstStyle/>
          <a:p>
            <a:pPr lvl="0" defTabSz="91434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sz="3751" b="0" cap="all" baseline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6" name="Espace réservé du texte 13"/>
          <p:cNvSpPr>
            <a:spLocks noGrp="1" noChangeAspect="1"/>
          </p:cNvSpPr>
          <p:nvPr>
            <p:ph type="body" sz="quarter" idx="17" hasCustomPrompt="1"/>
          </p:nvPr>
        </p:nvSpPr>
        <p:spPr bwMode="gray">
          <a:xfrm>
            <a:off x="5616000" y="1"/>
            <a:ext cx="960000" cy="823385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33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9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2241576" y="3979549"/>
            <a:ext cx="9755320" cy="1439999"/>
          </a:xfrm>
        </p:spPr>
        <p:txBody>
          <a:bodyPr tIns="180000" anchor="ctr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733" b="0" cap="all" baseline="0">
                <a:solidFill>
                  <a:schemeClr val="bg1"/>
                </a:solidFill>
              </a:defRPr>
            </a:lvl1pPr>
          </a:lstStyle>
          <a:p>
            <a:r>
              <a:rPr lang="pl-PL" noProof="0" dirty="0"/>
              <a:t>TYTUŁ PREZENTACJI</a:t>
            </a:r>
            <a:br>
              <a:rPr lang="pl-PL" noProof="0" dirty="0"/>
            </a:br>
            <a:r>
              <a:rPr lang="pl-PL" noProof="0" dirty="0"/>
              <a:t>– Slajd bez zdjęcia 2</a:t>
            </a:r>
          </a:p>
        </p:txBody>
      </p:sp>
      <p:sp>
        <p:nvSpPr>
          <p:cNvPr id="30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877091" y="4293096"/>
            <a:ext cx="192000" cy="912000"/>
          </a:xfrm>
          <a:prstGeom prst="roundRect">
            <a:avLst>
              <a:gd name="adj" fmla="val 13081"/>
            </a:avLst>
          </a:prstGeom>
          <a:solidFill>
            <a:schemeClr val="bg2"/>
          </a:solid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33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pic>
        <p:nvPicPr>
          <p:cNvPr id="17" name="Obraz 16" descr="CA_logo symetryczne 1L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8234" y="6281744"/>
            <a:ext cx="1519221" cy="480053"/>
          </a:xfrm>
          <a:prstGeom prst="rect">
            <a:avLst/>
          </a:prstGeom>
        </p:spPr>
      </p:pic>
      <p:sp>
        <p:nvSpPr>
          <p:cNvPr id="28" name="Rectangle 9"/>
          <p:cNvSpPr/>
          <p:nvPr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31" name="Espace réservé de la date 5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  <p:sp>
        <p:nvSpPr>
          <p:cNvPr id="32" name="Espace réservé du numéro de diapositive 6"/>
          <p:cNvSpPr>
            <a:spLocks noGrp="1"/>
          </p:cNvSpPr>
          <p:nvPr>
            <p:ph type="sldNum" sz="quarter" idx="11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33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13" name="Symbol zastępczy tekstu 2"/>
          <p:cNvSpPr>
            <a:spLocks noGrp="1"/>
          </p:cNvSpPr>
          <p:nvPr>
            <p:ph type="body" sz="quarter" idx="20" hasCustomPrompt="1"/>
          </p:nvPr>
        </p:nvSpPr>
        <p:spPr>
          <a:xfrm>
            <a:off x="2241577" y="5421687"/>
            <a:ext cx="9755320" cy="168000"/>
          </a:xfrm>
          <a:noFill/>
          <a:ln>
            <a:noFill/>
          </a:ln>
          <a:effectLst/>
        </p:spPr>
        <p:txBody>
          <a:bodyPr anchor="t"/>
          <a:lstStyle>
            <a:lvl1pPr marL="0" indent="0">
              <a:lnSpc>
                <a:spcPct val="80000"/>
              </a:lnSpc>
              <a:buFontTx/>
              <a:buNone/>
              <a:defRPr sz="1200" b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 marL="575986" indent="0">
              <a:buFontTx/>
              <a:buNone/>
              <a:defRPr sz="1600"/>
            </a:lvl2pPr>
            <a:lvl3pPr marL="1151971" indent="0">
              <a:buFontTx/>
              <a:buNone/>
              <a:defRPr sz="1600"/>
            </a:lvl3pPr>
            <a:lvl4pPr marL="1727957" indent="0">
              <a:buFontTx/>
              <a:buNone/>
              <a:defRPr sz="1600"/>
            </a:lvl4pPr>
            <a:lvl5pPr marL="2303942" indent="0">
              <a:buFontTx/>
              <a:buNone/>
              <a:defRPr sz="1600"/>
            </a:lvl5pPr>
          </a:lstStyle>
          <a:p>
            <a:pPr lvl="0"/>
            <a:r>
              <a:rPr lang="pl-PL" dirty="0"/>
              <a:t>Nazwa posiedzenia</a:t>
            </a:r>
          </a:p>
        </p:txBody>
      </p:sp>
      <p:sp>
        <p:nvSpPr>
          <p:cNvPr id="14" name="Symbol zastępczy tekstu 4"/>
          <p:cNvSpPr>
            <a:spLocks noGrp="1"/>
          </p:cNvSpPr>
          <p:nvPr>
            <p:ph type="body" sz="quarter" idx="18" hasCustomPrompt="1"/>
          </p:nvPr>
        </p:nvSpPr>
        <p:spPr>
          <a:xfrm>
            <a:off x="2241577" y="5598384"/>
            <a:ext cx="9755320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80000"/>
              </a:lnSpc>
              <a:buFontTx/>
              <a:buNone/>
              <a:defRPr lang="pl-PL" sz="1200" b="0" dirty="0" smtClean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>
              <a:defRPr lang="pl-PL" sz="1600" dirty="0" smtClean="0"/>
            </a:lvl2pPr>
            <a:lvl3pPr>
              <a:defRPr lang="pl-PL" sz="1600" dirty="0" smtClean="0"/>
            </a:lvl3pPr>
            <a:lvl4pPr>
              <a:defRPr lang="pl-PL" sz="1600" dirty="0" smtClean="0"/>
            </a:lvl4pPr>
            <a:lvl5pPr>
              <a:defRPr lang="pl-PL" sz="1600" dirty="0"/>
            </a:lvl5pPr>
          </a:lstStyle>
          <a:p>
            <a:pPr marL="0" lvl="0" indent="0">
              <a:buFontTx/>
              <a:buNone/>
            </a:pPr>
            <a:r>
              <a:rPr lang="pl-PL" dirty="0"/>
              <a:t>Data posiedzenia</a:t>
            </a:r>
          </a:p>
        </p:txBody>
      </p:sp>
      <p:sp>
        <p:nvSpPr>
          <p:cNvPr id="16" name="Symbol zastępczy tekstu 19"/>
          <p:cNvSpPr>
            <a:spLocks noGrp="1"/>
          </p:cNvSpPr>
          <p:nvPr>
            <p:ph type="body" sz="quarter" idx="21" hasCustomPrompt="1"/>
          </p:nvPr>
        </p:nvSpPr>
        <p:spPr>
          <a:xfrm>
            <a:off x="2241578" y="5774945"/>
            <a:ext cx="9755319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80000"/>
              </a:lnSpc>
              <a:buFontTx/>
              <a:buNone/>
              <a:defRPr lang="pl-PL" sz="1200" b="0" smtClean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>
              <a:defRPr lang="pl-PL" sz="1600" smtClean="0"/>
            </a:lvl2pPr>
            <a:lvl3pPr>
              <a:defRPr lang="pl-PL" sz="1600" smtClean="0"/>
            </a:lvl3pPr>
            <a:lvl4pPr>
              <a:defRPr lang="pl-PL" sz="1600" smtClean="0"/>
            </a:lvl4pPr>
            <a:lvl5pPr>
              <a:defRPr lang="pl-PL" sz="1600"/>
            </a:lvl5pPr>
          </a:lstStyle>
          <a:p>
            <a:pPr marL="0" lvl="0" indent="0">
              <a:buFontTx/>
              <a:buNone/>
            </a:pPr>
            <a:r>
              <a:rPr lang="pl-PL" dirty="0"/>
              <a:t>Imię i nazwisko osoby prezentującej</a:t>
            </a:r>
          </a:p>
        </p:txBody>
      </p:sp>
      <p:sp>
        <p:nvSpPr>
          <p:cNvPr id="18" name="Symbol zastępczy tekstu 21"/>
          <p:cNvSpPr>
            <a:spLocks noGrp="1"/>
          </p:cNvSpPr>
          <p:nvPr>
            <p:ph type="body" sz="quarter" idx="22" hasCustomPrompt="1"/>
          </p:nvPr>
        </p:nvSpPr>
        <p:spPr>
          <a:xfrm>
            <a:off x="2241577" y="5949427"/>
            <a:ext cx="9755320" cy="168000"/>
          </a:xfr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lang="pl-PL" sz="1200" b="0" cap="none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80000"/>
              </a:lnSpc>
              <a:buNone/>
            </a:pPr>
            <a:r>
              <a:rPr lang="pl-PL" dirty="0"/>
              <a:t>Nazwa jednostki organizacyjnej</a:t>
            </a:r>
          </a:p>
        </p:txBody>
      </p:sp>
      <p:sp>
        <p:nvSpPr>
          <p:cNvPr id="21" name="Forme libre 16"/>
          <p:cNvSpPr/>
          <p:nvPr userDrawn="1"/>
        </p:nvSpPr>
        <p:spPr bwMode="gray">
          <a:xfrm>
            <a:off x="431802" y="333378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</p:spPr>
        <p:txBody>
          <a:bodyPr vert="horz" lIns="0" tIns="0" rIns="0" bIns="0" rtlCol="0" anchor="t" anchorCtr="0">
            <a:noAutofit/>
          </a:bodyPr>
          <a:lstStyle/>
          <a:p>
            <a:pPr lvl="0" defTabSz="91434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sz="3751" b="0" cap="all" baseline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4" name="Rectangle 9"/>
          <p:cNvSpPr/>
          <p:nvPr userDrawn="1"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618773282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ona przekładkow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rme libre 6"/>
          <p:cNvSpPr/>
          <p:nvPr/>
        </p:nvSpPr>
        <p:spPr>
          <a:xfrm>
            <a:off x="340800" y="32640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5864 h 4392000"/>
              <a:gd name="connsiteX5" fmla="*/ 8892000 w 8892000"/>
              <a:gd name="connsiteY5" fmla="*/ 4146136 h 4392000"/>
              <a:gd name="connsiteX6" fmla="*/ 8892000 w 8892000"/>
              <a:gd name="connsiteY6" fmla="*/ 4392000 h 4392000"/>
              <a:gd name="connsiteX7" fmla="*/ 8646136 w 8892000"/>
              <a:gd name="connsiteY7" fmla="*/ 4392000 h 4392000"/>
              <a:gd name="connsiteX8" fmla="*/ 5292000 w 8892000"/>
              <a:gd name="connsiteY8" fmla="*/ 4392000 h 4392000"/>
              <a:gd name="connsiteX9" fmla="*/ 245864 w 8892000"/>
              <a:gd name="connsiteY9" fmla="*/ 4392000 h 4392000"/>
              <a:gd name="connsiteX10" fmla="*/ 0 w 8892000"/>
              <a:gd name="connsiteY10" fmla="*/ 4146136 h 4392000"/>
              <a:gd name="connsiteX11" fmla="*/ 0 w 8892000"/>
              <a:gd name="connsiteY11" fmla="*/ 245864 h 4392000"/>
              <a:gd name="connsiteX12" fmla="*/ 245864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45864"/>
                </a:lnTo>
                <a:lnTo>
                  <a:pt x="8892000" y="4146136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rgbClr val="0095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786911" y="514352"/>
            <a:ext cx="7816499" cy="5511800"/>
          </a:xfrm>
        </p:spPr>
        <p:txBody>
          <a:bodyPr anchor="ctr" anchorCtr="0"/>
          <a:lstStyle>
            <a:lvl1pPr>
              <a:defRPr sz="3733" b="0" cap="all" baseline="0">
                <a:solidFill>
                  <a:schemeClr val="bg1"/>
                </a:solidFill>
              </a:defRPr>
            </a:lvl1pPr>
          </a:lstStyle>
          <a:p>
            <a:r>
              <a:rPr lang="pl-PL" noProof="0" dirty="0"/>
              <a:t>Slajd przekładkowy</a:t>
            </a:r>
          </a:p>
        </p:txBody>
      </p:sp>
      <p:sp>
        <p:nvSpPr>
          <p:cNvPr id="11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r>
              <a:rPr lang="pl-PL"/>
              <a:t>29.09.2017</a:t>
            </a:r>
            <a:endParaRPr lang="fr-FR"/>
          </a:p>
        </p:txBody>
      </p:sp>
      <p:sp>
        <p:nvSpPr>
          <p:cNvPr id="12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76870438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r>
              <a:rPr lang="pl-PL"/>
              <a:t>29.09.2017</a:t>
            </a:r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7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3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rgbClr val="008789"/>
                </a:solidFill>
              </a:rPr>
              <a:t>Tytuł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629833"/>
            <a:ext cx="10835216" cy="4438651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</p:spTree>
    <p:extLst>
      <p:ext uri="{BB962C8B-B14F-4D97-AF65-F5344CB8AC3E}">
        <p14:creationId xmlns:p14="http://schemas.microsoft.com/office/powerpoint/2010/main" val="1253807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1BF3A9F-5739-4B40-A377-C403E92DB70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997" y="2124916"/>
            <a:ext cx="10800000" cy="432000"/>
          </a:xfrm>
        </p:spPr>
        <p:txBody>
          <a:bodyPr anchor="t"/>
          <a:lstStyle>
            <a:lvl1pPr marL="0" indent="0">
              <a:buNone/>
              <a:defRPr sz="2000" b="1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Modifier les styles du texte du masqu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480000" y="6174395"/>
            <a:ext cx="4320000" cy="252000"/>
          </a:xfrm>
        </p:spPr>
        <p:txBody>
          <a:bodyPr anchor="ctr"/>
          <a:lstStyle>
            <a:lvl1pPr marL="0" indent="0" algn="r">
              <a:buNone/>
              <a:defRPr sz="1000" b="1" cap="all" spc="20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Modifier les styles du texte du masque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1E05C12A-6D66-4BD5-8AA3-E181C54F9E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38238" y="6174395"/>
            <a:ext cx="828017" cy="252000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4D9927BF-3057-4ED9-A027-6ED3E59441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52612" y="6174395"/>
            <a:ext cx="4320000" cy="252000"/>
          </a:xfrm>
        </p:spPr>
        <p:txBody>
          <a:bodyPr/>
          <a:lstStyle/>
          <a:p>
            <a:r>
              <a:rPr lang="pt-BR"/>
              <a:t>BPI - AAP</a:t>
            </a:r>
            <a:endParaRPr lang="fr-FR" dirty="0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7E748F74-A8DF-40EA-847A-446CF8437D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t>‹N›</a:t>
            </a:fld>
            <a:endParaRPr lang="fr-FR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8C7A5F77-9A92-46CF-AF0E-296CA94F051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999" y="2657475"/>
            <a:ext cx="10800000" cy="3181350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4E7EC6F-59D9-4EE7-89BA-68CAF6A316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999" y="624956"/>
            <a:ext cx="10800000" cy="90000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32588028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ajd z tekstem 2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r>
              <a:rPr lang="pl-PL"/>
              <a:t>29.09.2017</a:t>
            </a:r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7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3582"/>
            <a:ext cx="10824633" cy="1295399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rgbClr val="008789"/>
                </a:solidFill>
              </a:rPr>
              <a:t>Tytuł </a:t>
            </a:r>
            <a:br>
              <a:rPr lang="pl-PL" dirty="0">
                <a:solidFill>
                  <a:srgbClr val="008789"/>
                </a:solidFill>
              </a:rPr>
            </a:br>
            <a:r>
              <a:rPr lang="pl-PL" dirty="0">
                <a:solidFill>
                  <a:srgbClr val="008789"/>
                </a:solidFill>
              </a:rPr>
              <a:t>na dwie linie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2108985"/>
            <a:ext cx="10835216" cy="3959499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</p:spTree>
    <p:extLst>
      <p:ext uri="{BB962C8B-B14F-4D97-AF65-F5344CB8AC3E}">
        <p14:creationId xmlns:p14="http://schemas.microsoft.com/office/powerpoint/2010/main" val="4280489518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r>
              <a:rPr lang="pl-PL"/>
              <a:t>29.09.2017</a:t>
            </a:r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962383"/>
            <a:ext cx="10835216" cy="4106100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924311" y="1457657"/>
            <a:ext cx="10801351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958812648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3 - dwie kolum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r>
              <a:rPr lang="pl-PL"/>
              <a:t>29.09.2017</a:t>
            </a:r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962383"/>
            <a:ext cx="10835216" cy="4106100"/>
          </a:xfrm>
        </p:spPr>
        <p:txBody>
          <a:bodyPr numCol="2" spcCol="180000"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924311" y="1457657"/>
            <a:ext cx="10801351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061137668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r>
              <a:rPr lang="pl-PL"/>
              <a:t>29.09.2017</a:t>
            </a:r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962383"/>
            <a:ext cx="5291019" cy="4106100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924312" y="1457657"/>
            <a:ext cx="5291691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 1</a:t>
            </a:r>
            <a:endParaRPr lang="pl-PL" dirty="0"/>
          </a:p>
        </p:txBody>
      </p:sp>
      <p:sp>
        <p:nvSpPr>
          <p:cNvPr id="8" name="Symbol zastępczy zawartości 2"/>
          <p:cNvSpPr>
            <a:spLocks noGrp="1"/>
          </p:cNvSpPr>
          <p:nvPr>
            <p:ph sz="quarter" idx="15" hasCustomPrompt="1"/>
          </p:nvPr>
        </p:nvSpPr>
        <p:spPr>
          <a:xfrm>
            <a:off x="6464429" y="1962383"/>
            <a:ext cx="5291019" cy="4106100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13" name="Symbol zastępczy zawartości 4"/>
          <p:cNvSpPr>
            <a:spLocks noGrp="1"/>
          </p:cNvSpPr>
          <p:nvPr>
            <p:ph sz="quarter" idx="16" hasCustomPrompt="1"/>
          </p:nvPr>
        </p:nvSpPr>
        <p:spPr>
          <a:xfrm>
            <a:off x="6463757" y="1457657"/>
            <a:ext cx="5291691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 1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450830534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y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r>
              <a:rPr lang="pl-PL"/>
              <a:t>29.09.2017</a:t>
            </a:r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18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3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Cytat</a:t>
            </a:r>
          </a:p>
        </p:txBody>
      </p:sp>
      <p:pic>
        <p:nvPicPr>
          <p:cNvPr id="21" name="Obraz 20">
            <a:extLst>
              <a:ext uri="{FF2B5EF4-FFF2-40B4-BE49-F238E27FC236}">
                <a16:creationId xmlns:a16="http://schemas.microsoft.com/office/drawing/2014/main" id="{51216647-0973-469E-890C-D049E1B0532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39343" y="2063798"/>
            <a:ext cx="390099" cy="1710429"/>
          </a:xfrm>
          <a:prstGeom prst="rect">
            <a:avLst/>
          </a:prstGeom>
        </p:spPr>
      </p:pic>
      <p:sp>
        <p:nvSpPr>
          <p:cNvPr id="3" name="Symbol zastępczy zawartości 2"/>
          <p:cNvSpPr>
            <a:spLocks noGrp="1"/>
          </p:cNvSpPr>
          <p:nvPr>
            <p:ph sz="quarter" idx="14" hasCustomPrompt="1"/>
          </p:nvPr>
        </p:nvSpPr>
        <p:spPr>
          <a:xfrm>
            <a:off x="2237317" y="2063751"/>
            <a:ext cx="9499600" cy="1710267"/>
          </a:xfrm>
        </p:spPr>
        <p:txBody>
          <a:bodyPr/>
          <a:lstStyle>
            <a:lvl1pPr marL="0" indent="0">
              <a:buNone/>
              <a:defRPr sz="3733" b="0" i="1">
                <a:solidFill>
                  <a:srgbClr val="009597"/>
                </a:solidFill>
              </a:defRPr>
            </a:lvl1pPr>
          </a:lstStyle>
          <a:p>
            <a:pPr lvl="0"/>
            <a:r>
              <a:rPr lang="pl-PL" dirty="0" err="1"/>
              <a:t>Lorem</a:t>
            </a:r>
            <a:r>
              <a:rPr lang="pl-PL" dirty="0"/>
              <a:t> </a:t>
            </a:r>
            <a:r>
              <a:rPr lang="pl-PL" dirty="0" err="1"/>
              <a:t>ipsum</a:t>
            </a:r>
            <a:r>
              <a:rPr lang="pl-PL" dirty="0"/>
              <a:t> </a:t>
            </a:r>
            <a:r>
              <a:rPr lang="pl-PL" dirty="0" err="1"/>
              <a:t>dolor</a:t>
            </a:r>
            <a:r>
              <a:rPr lang="pl-PL" dirty="0"/>
              <a:t> sit </a:t>
            </a:r>
            <a:r>
              <a:rPr lang="pl-PL" dirty="0" err="1"/>
              <a:t>amet</a:t>
            </a:r>
            <a:r>
              <a:rPr lang="pl-PL" dirty="0"/>
              <a:t>, </a:t>
            </a:r>
            <a:r>
              <a:rPr lang="pl-PL" dirty="0" err="1"/>
              <a:t>consectetur</a:t>
            </a:r>
            <a:r>
              <a:rPr lang="pl-PL" dirty="0"/>
              <a:t> </a:t>
            </a:r>
            <a:r>
              <a:rPr lang="pl-PL" dirty="0" err="1"/>
              <a:t>adipiscing</a:t>
            </a:r>
            <a:r>
              <a:rPr lang="pl-PL" dirty="0"/>
              <a:t> elit, </a:t>
            </a:r>
            <a:r>
              <a:rPr lang="pl-PL" dirty="0" err="1"/>
              <a:t>sed</a:t>
            </a:r>
            <a:r>
              <a:rPr lang="pl-PL" dirty="0"/>
              <a:t> do </a:t>
            </a:r>
            <a:r>
              <a:rPr lang="pl-PL" dirty="0" err="1"/>
              <a:t>eiusmod</a:t>
            </a:r>
            <a:r>
              <a:rPr lang="pl-PL" dirty="0"/>
              <a:t> </a:t>
            </a:r>
            <a:r>
              <a:rPr lang="pl-PL" dirty="0" err="1"/>
              <a:t>tempor</a:t>
            </a:r>
            <a:r>
              <a:rPr lang="pl-PL" dirty="0"/>
              <a:t> </a:t>
            </a:r>
            <a:r>
              <a:rPr lang="pl-PL" dirty="0" err="1"/>
              <a:t>incididunt</a:t>
            </a:r>
            <a:r>
              <a:rPr lang="pl-PL" dirty="0"/>
              <a:t> </a:t>
            </a:r>
            <a:r>
              <a:rPr lang="pl-PL" dirty="0" err="1"/>
              <a:t>ut</a:t>
            </a:r>
            <a:r>
              <a:rPr lang="pl-PL" dirty="0"/>
              <a:t> </a:t>
            </a:r>
            <a:r>
              <a:rPr lang="pl-PL" dirty="0" err="1"/>
              <a:t>labore</a:t>
            </a:r>
            <a:r>
              <a:rPr lang="pl-PL" dirty="0"/>
              <a:t> et </a:t>
            </a:r>
            <a:r>
              <a:rPr lang="pl-PL" dirty="0" err="1"/>
              <a:t>dolore</a:t>
            </a:r>
            <a:r>
              <a:rPr lang="pl-PL" dirty="0"/>
              <a:t> </a:t>
            </a:r>
            <a:r>
              <a:rPr lang="pl-PL" dirty="0" err="1"/>
              <a:t>magna</a:t>
            </a:r>
            <a:r>
              <a:rPr lang="pl-PL" dirty="0"/>
              <a:t> </a:t>
            </a:r>
            <a:r>
              <a:rPr lang="pl-PL" dirty="0" err="1"/>
              <a:t>aliqua</a:t>
            </a:r>
            <a:endParaRPr lang="pl-PL" dirty="0"/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5" hasCustomPrompt="1"/>
          </p:nvPr>
        </p:nvSpPr>
        <p:spPr>
          <a:xfrm>
            <a:off x="2236597" y="4411361"/>
            <a:ext cx="9457267" cy="1176867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 err="1"/>
              <a:t>Lorem</a:t>
            </a:r>
            <a:r>
              <a:rPr lang="pl-PL" dirty="0"/>
              <a:t> </a:t>
            </a:r>
            <a:r>
              <a:rPr lang="pl-PL" dirty="0" err="1"/>
              <a:t>ipsum</a:t>
            </a:r>
            <a:endParaRPr lang="pl-PL" dirty="0"/>
          </a:p>
          <a:p>
            <a:pPr lvl="0"/>
            <a:r>
              <a:rPr lang="pl-PL" dirty="0" err="1"/>
              <a:t>Lorem</a:t>
            </a:r>
            <a:r>
              <a:rPr lang="pl-PL" dirty="0"/>
              <a:t> </a:t>
            </a:r>
            <a:r>
              <a:rPr lang="pl-PL" dirty="0" err="1"/>
              <a:t>ipsum</a:t>
            </a:r>
            <a:r>
              <a:rPr lang="pl-PL" dirty="0"/>
              <a:t> </a:t>
            </a:r>
            <a:r>
              <a:rPr lang="pl-PL" dirty="0" err="1"/>
              <a:t>dolor</a:t>
            </a:r>
            <a:r>
              <a:rPr lang="pl-PL" dirty="0"/>
              <a:t> sit </a:t>
            </a:r>
            <a:r>
              <a:rPr lang="pl-PL" dirty="0" err="1"/>
              <a:t>amet</a:t>
            </a:r>
            <a:r>
              <a:rPr lang="pl-PL" dirty="0"/>
              <a:t>, </a:t>
            </a:r>
            <a:r>
              <a:rPr lang="pl-PL" dirty="0" err="1"/>
              <a:t>consectetur</a:t>
            </a:r>
            <a:r>
              <a:rPr lang="pl-PL" dirty="0"/>
              <a:t> </a:t>
            </a:r>
            <a:r>
              <a:rPr lang="pl-PL" dirty="0" err="1"/>
              <a:t>adipiscing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901609885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e zdjęcie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r>
              <a:rPr lang="pl-PL"/>
              <a:t>29.09.2017</a:t>
            </a:r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962384"/>
            <a:ext cx="4931013" cy="3746643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924311" y="1457657"/>
            <a:ext cx="4931687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  <p:sp>
        <p:nvSpPr>
          <p:cNvPr id="8" name="Symbol zastępczy obrazu 4"/>
          <p:cNvSpPr>
            <a:spLocks noGrp="1"/>
          </p:cNvSpPr>
          <p:nvPr>
            <p:ph type="pic" sz="quarter" idx="15" hasCustomPrompt="1"/>
          </p:nvPr>
        </p:nvSpPr>
        <p:spPr>
          <a:xfrm>
            <a:off x="6032501" y="1454151"/>
            <a:ext cx="5727700" cy="4254875"/>
          </a:xfrm>
        </p:spPr>
        <p:txBody>
          <a:bodyPr/>
          <a:lstStyle>
            <a:lvl1pPr marL="0" indent="0" algn="ctr">
              <a:buFontTx/>
              <a:buNone/>
              <a:defRPr b="0">
                <a:solidFill>
                  <a:schemeClr val="accent3"/>
                </a:solidFill>
              </a:defRPr>
            </a:lvl1pPr>
          </a:lstStyle>
          <a:p>
            <a:r>
              <a:rPr lang="pl-PL" dirty="0"/>
              <a:t>Wstaw obraz</a:t>
            </a:r>
          </a:p>
        </p:txBody>
      </p:sp>
    </p:spTree>
    <p:extLst>
      <p:ext uri="{BB962C8B-B14F-4D97-AF65-F5344CB8AC3E}">
        <p14:creationId xmlns:p14="http://schemas.microsoft.com/office/powerpoint/2010/main" val="175892339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e zdjęci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r>
              <a:rPr lang="pl-PL"/>
              <a:t>29.09.2017</a:t>
            </a:r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6829187" y="1962384"/>
            <a:ext cx="4931013" cy="3866643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6828514" y="1457657"/>
            <a:ext cx="4931687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  <p:sp>
        <p:nvSpPr>
          <p:cNvPr id="8" name="Symbol zastępczy obrazu 4"/>
          <p:cNvSpPr>
            <a:spLocks noGrp="1"/>
          </p:cNvSpPr>
          <p:nvPr>
            <p:ph type="pic" sz="quarter" idx="15" hasCustomPrompt="1"/>
          </p:nvPr>
        </p:nvSpPr>
        <p:spPr>
          <a:xfrm>
            <a:off x="944105" y="1454150"/>
            <a:ext cx="5511900" cy="4374876"/>
          </a:xfrm>
        </p:spPr>
        <p:txBody>
          <a:bodyPr/>
          <a:lstStyle>
            <a:lvl1pPr marL="0" indent="0" algn="ctr">
              <a:buFontTx/>
              <a:buNone/>
              <a:defRPr b="0">
                <a:solidFill>
                  <a:schemeClr val="accent3"/>
                </a:solidFill>
              </a:defRPr>
            </a:lvl1pPr>
          </a:lstStyle>
          <a:p>
            <a:r>
              <a:rPr lang="pl-PL" dirty="0"/>
              <a:t>Wstaw obraz</a:t>
            </a:r>
          </a:p>
        </p:txBody>
      </p:sp>
    </p:spTree>
    <p:extLst>
      <p:ext uri="{BB962C8B-B14F-4D97-AF65-F5344CB8AC3E}">
        <p14:creationId xmlns:p14="http://schemas.microsoft.com/office/powerpoint/2010/main" val="4181890780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Strona zamykająca 2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15127" y="5255491"/>
            <a:ext cx="7952509" cy="1089891"/>
          </a:xfrm>
          <a:prstGeom prst="rect">
            <a:avLst/>
          </a:prstGeom>
        </p:spPr>
      </p:pic>
      <p:sp>
        <p:nvSpPr>
          <p:cNvPr id="12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4656336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rona zamykając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24364" y="5273964"/>
            <a:ext cx="7961745" cy="1071419"/>
          </a:xfrm>
          <a:prstGeom prst="rect">
            <a:avLst/>
          </a:prstGeom>
        </p:spPr>
      </p:pic>
      <p:sp>
        <p:nvSpPr>
          <p:cNvPr id="13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89942551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813811-6505-47F0-8E89-D256D7D20AF9}" type="datetime1">
              <a:rPr lang="en-US" smtClean="0"/>
              <a:t>3/9/2026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17" b="0" i="0">
                <a:solidFill>
                  <a:schemeClr val="tx1"/>
                </a:solidFill>
                <a:latin typeface="Arial MT"/>
                <a:cs typeface="Arial MT"/>
              </a:defRPr>
            </a:lvl1pPr>
          </a:lstStyle>
          <a:p>
            <a:pPr marL="35731">
              <a:spcBef>
                <a:spcPts val="185"/>
              </a:spcBef>
            </a:pPr>
            <a:fld id="{81D60167-4931-47E6-BA6A-407CBD079E47}" type="slidenum">
              <a:rPr lang="fr-FR" smtClean="0"/>
              <a:pPr marL="35731">
                <a:spcBef>
                  <a:spcPts val="185"/>
                </a:spcBef>
              </a:pPr>
              <a:t>‹N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0444069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avec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1BF3A9F-5739-4B40-A377-C403E92DB70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997" y="2124916"/>
            <a:ext cx="6480000" cy="720000"/>
          </a:xfrm>
        </p:spPr>
        <p:txBody>
          <a:bodyPr anchor="t"/>
          <a:lstStyle>
            <a:lvl1pPr marL="0" indent="0">
              <a:buNone/>
              <a:defRPr sz="2000" b="1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Modifier les styles du texte du masqu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480000" y="6174395"/>
            <a:ext cx="4320000" cy="252000"/>
          </a:xfrm>
        </p:spPr>
        <p:txBody>
          <a:bodyPr anchor="ctr"/>
          <a:lstStyle>
            <a:lvl1pPr marL="0" indent="0" algn="r">
              <a:buNone/>
              <a:defRPr sz="1000" b="1" cap="all" spc="20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Modifier les styles du texte du masque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1E05C12A-6D66-4BD5-8AA3-E181C54F9E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38238" y="6174395"/>
            <a:ext cx="828017" cy="252000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4D9927BF-3057-4ED9-A027-6ED3E59441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52612" y="6174395"/>
            <a:ext cx="4320000" cy="252000"/>
          </a:xfrm>
        </p:spPr>
        <p:txBody>
          <a:bodyPr/>
          <a:lstStyle/>
          <a:p>
            <a:r>
              <a:rPr lang="pt-BR"/>
              <a:t>BPI - AAP</a:t>
            </a:r>
            <a:endParaRPr lang="fr-FR" dirty="0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7E748F74-A8DF-40EA-847A-446CF8437D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t>‹N›</a:t>
            </a:fld>
            <a:endParaRPr lang="fr-FR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8C7A5F77-9A92-46CF-AF0E-296CA94F051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999" y="2993652"/>
            <a:ext cx="6480000" cy="2880000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4E7EC6F-59D9-4EE7-89BA-68CAF6A316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999" y="624956"/>
            <a:ext cx="10800000" cy="90000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Espace réservé du graphique 5">
            <a:extLst>
              <a:ext uri="{FF2B5EF4-FFF2-40B4-BE49-F238E27FC236}">
                <a16:creationId xmlns:a16="http://schemas.microsoft.com/office/drawing/2014/main" id="{5B4A068C-20AD-4FFB-9C49-0DC3A94E5C56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389158" y="2125662"/>
            <a:ext cx="3998842" cy="3747989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1127082336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1BF3A9F-5739-4B40-A377-C403E92DB70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997" y="2124916"/>
            <a:ext cx="10800000" cy="432000"/>
          </a:xfrm>
        </p:spPr>
        <p:txBody>
          <a:bodyPr anchor="t"/>
          <a:lstStyle>
            <a:lvl1pPr marL="0" indent="0">
              <a:buNone/>
              <a:defRPr sz="2000" b="1" cap="all" baseline="0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fr-FR" dirty="0"/>
              <a:t>Modifier les styles du texte du masqu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480000" y="6174395"/>
            <a:ext cx="4320000" cy="252000"/>
          </a:xfrm>
        </p:spPr>
        <p:txBody>
          <a:bodyPr anchor="ctr"/>
          <a:lstStyle>
            <a:lvl1pPr marL="0" indent="0" algn="r">
              <a:buNone/>
              <a:defRPr sz="1000" b="1" cap="all" spc="200" baseline="0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fr-FR" dirty="0"/>
              <a:t>Modifier les styles du texte du masque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1E05C12A-6D66-4BD5-8AA3-E181C54F9E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38241" y="6174395"/>
            <a:ext cx="828017" cy="252000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4D9927BF-3057-4ED9-A027-6ED3E59441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52612" y="6174395"/>
            <a:ext cx="4320000" cy="252000"/>
          </a:xfrm>
        </p:spPr>
        <p:txBody>
          <a:bodyPr/>
          <a:lstStyle/>
          <a:p>
            <a:r>
              <a:rPr lang="fr-FR"/>
              <a:t>BPI - AAP</a:t>
            </a:r>
            <a:endParaRPr lang="fr-FR" dirty="0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7E748F74-A8DF-40EA-847A-446CF8437D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t>‹N›</a:t>
            </a:fld>
            <a:endParaRPr lang="fr-FR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8C7A5F77-9A92-46CF-AF0E-296CA94F051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999" y="2657477"/>
            <a:ext cx="10800000" cy="3181351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4E7EC6F-59D9-4EE7-89BA-68CAF6A316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999" y="624956"/>
            <a:ext cx="10800000" cy="90000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05448837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ona tytułowa ze zdjęciem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6280731" y="2361347"/>
            <a:ext cx="5575333" cy="1440000"/>
          </a:xfrm>
        </p:spPr>
        <p:txBody>
          <a:bodyPr tIns="180000" anchor="ctr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733" b="1" cap="all" baseline="0">
                <a:solidFill>
                  <a:srgbClr val="009597"/>
                </a:solidFill>
              </a:defRPr>
            </a:lvl1pPr>
          </a:lstStyle>
          <a:p>
            <a:r>
              <a:rPr lang="pl-PL" noProof="0" dirty="0"/>
              <a:t>TYTUŁ PREZENTACJI </a:t>
            </a:r>
            <a:br>
              <a:rPr lang="pl-PL" noProof="0" dirty="0"/>
            </a:br>
            <a:r>
              <a:rPr lang="pl-PL" noProof="0" dirty="0"/>
              <a:t>– Slajd ze zdjęciem</a:t>
            </a:r>
          </a:p>
        </p:txBody>
      </p:sp>
      <p:sp>
        <p:nvSpPr>
          <p:cNvPr id="11" name="Symbol zastępczy tekstu 2"/>
          <p:cNvSpPr>
            <a:spLocks noGrp="1"/>
          </p:cNvSpPr>
          <p:nvPr>
            <p:ph type="body" sz="quarter" idx="20" hasCustomPrompt="1"/>
          </p:nvPr>
        </p:nvSpPr>
        <p:spPr>
          <a:xfrm>
            <a:off x="6280731" y="4615519"/>
            <a:ext cx="4997672" cy="168000"/>
          </a:xfrm>
          <a:noFill/>
          <a:ln>
            <a:noFill/>
          </a:ln>
          <a:effectLst/>
        </p:spPr>
        <p:txBody>
          <a:bodyPr anchor="t"/>
          <a:lstStyle>
            <a:lvl1pPr marL="0" indent="0">
              <a:lnSpc>
                <a:spcPct val="80000"/>
              </a:lnSpc>
              <a:buFontTx/>
              <a:buNone/>
              <a:defRPr sz="1467" b="0">
                <a:ln>
                  <a:noFill/>
                </a:ln>
                <a:solidFill>
                  <a:srgbClr val="009597"/>
                </a:solidFill>
                <a:latin typeface="+mj-lt"/>
              </a:defRPr>
            </a:lvl1pPr>
            <a:lvl2pPr marL="575986" indent="0">
              <a:buFontTx/>
              <a:buNone/>
              <a:defRPr sz="1600"/>
            </a:lvl2pPr>
            <a:lvl3pPr marL="1151971" indent="0">
              <a:buFontTx/>
              <a:buNone/>
              <a:defRPr sz="1600"/>
            </a:lvl3pPr>
            <a:lvl4pPr marL="1727957" indent="0">
              <a:buFontTx/>
              <a:buNone/>
              <a:defRPr sz="1600"/>
            </a:lvl4pPr>
            <a:lvl5pPr marL="2303942" indent="0">
              <a:buFontTx/>
              <a:buNone/>
              <a:defRPr sz="1600"/>
            </a:lvl5pPr>
          </a:lstStyle>
          <a:p>
            <a:pPr lvl="0"/>
            <a:r>
              <a:rPr lang="pl-PL" dirty="0" err="1"/>
              <a:t>xxxxxxxxxxxxxxxxx</a:t>
            </a:r>
            <a:endParaRPr lang="pl-PL" dirty="0"/>
          </a:p>
        </p:txBody>
      </p:sp>
      <p:sp>
        <p:nvSpPr>
          <p:cNvPr id="10" name="Symbol zastępczy obrazu 9">
            <a:extLst>
              <a:ext uri="{FF2B5EF4-FFF2-40B4-BE49-F238E27FC236}">
                <a16:creationId xmlns:a16="http://schemas.microsoft.com/office/drawing/2014/main" id="{71BB64A8-5201-560B-036C-DD2C167D124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75939" y="788971"/>
            <a:ext cx="5216423" cy="517878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pl-PL" noProof="0" dirty="0"/>
          </a:p>
        </p:txBody>
      </p:sp>
      <p:sp>
        <p:nvSpPr>
          <p:cNvPr id="7" name="pole tekstowe 6">
            <a:extLst>
              <a:ext uri="{FF2B5EF4-FFF2-40B4-BE49-F238E27FC236}">
                <a16:creationId xmlns:a16="http://schemas.microsoft.com/office/drawing/2014/main" id="{619EA351-D5B5-7F01-11D2-2725DC11DB3F}"/>
              </a:ext>
            </a:extLst>
          </p:cNvPr>
          <p:cNvSpPr txBox="1"/>
          <p:nvPr userDrawn="1"/>
        </p:nvSpPr>
        <p:spPr>
          <a:xfrm>
            <a:off x="8616029" y="188869"/>
            <a:ext cx="3240036" cy="7217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anchor="ctr">
            <a:spAutoFit/>
          </a:bodyPr>
          <a:lstStyle/>
          <a:p>
            <a:pPr marL="0" marR="0" lvl="0" indent="0" algn="r" defTabSz="11006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>
                <a:solidFill>
                  <a:srgbClr val="199FA1"/>
                </a:solidFill>
              </a:defRPr>
            </a:pPr>
            <a:r>
              <a:rPr kumimoji="0" lang="pl-PL" sz="1267" b="1" i="0" u="none" strike="noStrike" kern="0" cap="none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+mj-lt"/>
                <a:sym typeface="Helvetica Neue Medium"/>
              </a:rPr>
              <a:t>Codziennie działamy na rzecz</a:t>
            </a:r>
            <a:br>
              <a:rPr kumimoji="0" lang="pl-PL" sz="1267" b="1" i="0" u="none" strike="noStrike" kern="0" cap="none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+mj-lt"/>
                <a:sym typeface="Helvetica Neue Medium"/>
              </a:rPr>
            </a:br>
            <a:r>
              <a:rPr kumimoji="0" lang="pl-PL" sz="1267" b="1" i="0" u="none" strike="noStrike" kern="0" cap="none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+mj-lt"/>
                <a:sym typeface="Helvetica Neue Medium"/>
              </a:rPr>
              <a:t>naszych Klientów oraz społeczeństwa</a:t>
            </a:r>
          </a:p>
          <a:p>
            <a:pPr marL="0" marR="0" indent="0" algn="r" defTabSz="110063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l-PL" sz="1267" b="1" i="0" u="none" strike="noStrike" cap="none" spc="0" normalizeH="0" baseline="0" dirty="0">
              <a:ln>
                <a:noFill/>
              </a:ln>
              <a:solidFill>
                <a:srgbClr val="009597"/>
              </a:solidFill>
              <a:effectLst/>
              <a:uFillTx/>
              <a:latin typeface="+mj-lt"/>
              <a:sym typeface="Helvetica Neue Medium"/>
            </a:endParaRPr>
          </a:p>
        </p:txBody>
      </p:sp>
      <p:pic>
        <p:nvPicPr>
          <p:cNvPr id="9" name="Obraz 8">
            <a:extLst>
              <a:ext uri="{FF2B5EF4-FFF2-40B4-BE49-F238E27FC236}">
                <a16:creationId xmlns:a16="http://schemas.microsoft.com/office/drawing/2014/main" id="{4E2A0DB4-C391-F51E-8244-4C5C553553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6041" y="5709026"/>
            <a:ext cx="2274847" cy="1137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2021046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rona tytułowa bez zdjęcia">
    <p:bg>
      <p:bgPr>
        <a:solidFill>
          <a:srgbClr val="00959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55938" y="2228987"/>
            <a:ext cx="6360071" cy="1440000"/>
          </a:xfrm>
        </p:spPr>
        <p:txBody>
          <a:bodyPr tIns="180000" anchor="ctr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733" b="1" cap="all" baseline="0">
                <a:solidFill>
                  <a:schemeClr val="bg1"/>
                </a:solidFill>
              </a:defRPr>
            </a:lvl1pPr>
          </a:lstStyle>
          <a:p>
            <a:r>
              <a:rPr lang="pl-PL" noProof="0" dirty="0"/>
              <a:t>TYTUŁ PREZENTACJI </a:t>
            </a:r>
            <a:br>
              <a:rPr lang="pl-PL" noProof="0" dirty="0"/>
            </a:br>
            <a:r>
              <a:rPr lang="pl-PL" noProof="0" dirty="0"/>
              <a:t>– Slajd bez zdjęcia</a:t>
            </a:r>
          </a:p>
        </p:txBody>
      </p:sp>
      <p:sp>
        <p:nvSpPr>
          <p:cNvPr id="11" name="Symbol zastępczy tekstu 2"/>
          <p:cNvSpPr>
            <a:spLocks noGrp="1"/>
          </p:cNvSpPr>
          <p:nvPr>
            <p:ph type="body" sz="quarter" idx="20" hasCustomPrompt="1"/>
          </p:nvPr>
        </p:nvSpPr>
        <p:spPr>
          <a:xfrm>
            <a:off x="455937" y="4869016"/>
            <a:ext cx="4997672" cy="168000"/>
          </a:xfrm>
          <a:noFill/>
          <a:ln>
            <a:noFill/>
          </a:ln>
          <a:effectLst/>
        </p:spPr>
        <p:txBody>
          <a:bodyPr anchor="t"/>
          <a:lstStyle>
            <a:lvl1pPr marL="0" indent="0">
              <a:lnSpc>
                <a:spcPct val="80000"/>
              </a:lnSpc>
              <a:buFontTx/>
              <a:buNone/>
              <a:defRPr sz="1467" b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 marL="575986" indent="0">
              <a:buFontTx/>
              <a:buNone/>
              <a:defRPr sz="1600"/>
            </a:lvl2pPr>
            <a:lvl3pPr marL="1151971" indent="0">
              <a:buFontTx/>
              <a:buNone/>
              <a:defRPr sz="1600"/>
            </a:lvl3pPr>
            <a:lvl4pPr marL="1727957" indent="0">
              <a:buFontTx/>
              <a:buNone/>
              <a:defRPr sz="1600"/>
            </a:lvl4pPr>
            <a:lvl5pPr marL="2303942" indent="0">
              <a:buFontTx/>
              <a:buNone/>
              <a:defRPr sz="1600"/>
            </a:lvl5pPr>
          </a:lstStyle>
          <a:p>
            <a:pPr lvl="0"/>
            <a:r>
              <a:rPr lang="pl-PL" dirty="0" err="1"/>
              <a:t>xxxxxxxxxxxxxxxxx</a:t>
            </a:r>
            <a:endParaRPr lang="pl-PL" dirty="0"/>
          </a:p>
        </p:txBody>
      </p:sp>
      <p:sp>
        <p:nvSpPr>
          <p:cNvPr id="4" name="Prostokąt 3">
            <a:extLst>
              <a:ext uri="{FF2B5EF4-FFF2-40B4-BE49-F238E27FC236}">
                <a16:creationId xmlns:a16="http://schemas.microsoft.com/office/drawing/2014/main" id="{F89DDC0A-C8A3-D16B-6C20-24F73F60C148}"/>
              </a:ext>
            </a:extLst>
          </p:cNvPr>
          <p:cNvSpPr/>
          <p:nvPr userDrawn="1"/>
        </p:nvSpPr>
        <p:spPr>
          <a:xfrm>
            <a:off x="11376059" y="6257116"/>
            <a:ext cx="720008" cy="54896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879354D9-10E9-75FC-A7C3-07B26F2F45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3339" y="5597691"/>
            <a:ext cx="2653335" cy="1327864"/>
          </a:xfrm>
          <a:prstGeom prst="rect">
            <a:avLst/>
          </a:prstGeom>
        </p:spPr>
      </p:pic>
      <p:sp>
        <p:nvSpPr>
          <p:cNvPr id="8" name="pole tekstowe 7">
            <a:extLst>
              <a:ext uri="{FF2B5EF4-FFF2-40B4-BE49-F238E27FC236}">
                <a16:creationId xmlns:a16="http://schemas.microsoft.com/office/drawing/2014/main" id="{8ACB1BDD-6445-8BEB-AF5D-6D12348970EE}"/>
              </a:ext>
            </a:extLst>
          </p:cNvPr>
          <p:cNvSpPr txBox="1"/>
          <p:nvPr userDrawn="1"/>
        </p:nvSpPr>
        <p:spPr>
          <a:xfrm>
            <a:off x="8736031" y="188869"/>
            <a:ext cx="3120035" cy="7217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anchor="ctr">
            <a:spAutoFit/>
          </a:bodyPr>
          <a:lstStyle/>
          <a:p>
            <a:pPr marL="0" marR="0" lvl="0" indent="0" algn="r" defTabSz="11006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>
                <a:solidFill>
                  <a:srgbClr val="199FA1"/>
                </a:solidFill>
              </a:defRPr>
            </a:pPr>
            <a:r>
              <a:rPr kumimoji="0" lang="pl-PL" sz="1267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sym typeface="Helvetica Neue Medium"/>
              </a:rPr>
              <a:t>Codziennie działamy na rzecz</a:t>
            </a:r>
            <a:br>
              <a:rPr kumimoji="0" lang="pl-PL" sz="1267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sym typeface="Helvetica Neue Medium"/>
              </a:rPr>
            </a:br>
            <a:r>
              <a:rPr kumimoji="0" lang="pl-PL" sz="1267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sym typeface="Helvetica Neue Medium"/>
              </a:rPr>
              <a:t>naszych Klientów oraz społeczeństwa</a:t>
            </a:r>
          </a:p>
          <a:p>
            <a:pPr marL="0" marR="0" indent="0" algn="r" defTabSz="110063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l-PL" sz="1267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+mj-lt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2033117564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ona przekładkowa 1">
    <p:bg>
      <p:bgPr>
        <a:solidFill>
          <a:srgbClr val="00959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695940" y="673100"/>
            <a:ext cx="7816499" cy="5511800"/>
          </a:xfrm>
        </p:spPr>
        <p:txBody>
          <a:bodyPr anchor="ctr" anchorCtr="0"/>
          <a:lstStyle>
            <a:lvl1pPr>
              <a:defRPr sz="3733" b="1" cap="all" baseline="0">
                <a:solidFill>
                  <a:schemeClr val="bg1"/>
                </a:solidFill>
              </a:defRPr>
            </a:lvl1pPr>
          </a:lstStyle>
          <a:p>
            <a:r>
              <a:rPr lang="pl-PL" noProof="0" dirty="0"/>
              <a:t>Slajd przekładkowy</a:t>
            </a:r>
          </a:p>
        </p:txBody>
      </p:sp>
      <p:sp>
        <p:nvSpPr>
          <p:cNvPr id="3" name="Prostokąt 2">
            <a:extLst>
              <a:ext uri="{FF2B5EF4-FFF2-40B4-BE49-F238E27FC236}">
                <a16:creationId xmlns:a16="http://schemas.microsoft.com/office/drawing/2014/main" id="{E1D126D6-0B64-6919-8837-ED74CA354962}"/>
              </a:ext>
            </a:extLst>
          </p:cNvPr>
          <p:cNvSpPr/>
          <p:nvPr userDrawn="1"/>
        </p:nvSpPr>
        <p:spPr>
          <a:xfrm>
            <a:off x="11376059" y="6309032"/>
            <a:ext cx="720008" cy="48000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</p:spTree>
    <p:extLst>
      <p:ext uri="{BB962C8B-B14F-4D97-AF65-F5344CB8AC3E}">
        <p14:creationId xmlns:p14="http://schemas.microsoft.com/office/powerpoint/2010/main" val="1115373966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3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rgbClr val="008789"/>
                </a:solidFill>
              </a:rPr>
              <a:t>Tytuł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629833"/>
            <a:ext cx="10835216" cy="4438651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62A1738F-BB0C-3D7B-C370-D2453226EFA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N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340669100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ajd z tekstem 2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3582"/>
            <a:ext cx="10824633" cy="1295399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rgbClr val="008789"/>
                </a:solidFill>
              </a:rPr>
              <a:t>Tytuł </a:t>
            </a:r>
            <a:br>
              <a:rPr lang="pl-PL" dirty="0">
                <a:solidFill>
                  <a:srgbClr val="008789"/>
                </a:solidFill>
              </a:rPr>
            </a:br>
            <a:r>
              <a:rPr lang="pl-PL" dirty="0">
                <a:solidFill>
                  <a:srgbClr val="008789"/>
                </a:solidFill>
              </a:rPr>
              <a:t>na dwie linie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2108985"/>
            <a:ext cx="10835216" cy="3959499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A89FAB4E-5FFF-5BF4-4C4D-D184B9D007B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N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986260073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962383"/>
            <a:ext cx="10835216" cy="4106100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924311" y="1457657"/>
            <a:ext cx="10801351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rgbClr val="81BC00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  <p:sp>
        <p:nvSpPr>
          <p:cNvPr id="7" name="Tytuł 1">
            <a:extLst>
              <a:ext uri="{FF2B5EF4-FFF2-40B4-BE49-F238E27FC236}">
                <a16:creationId xmlns:a16="http://schemas.microsoft.com/office/drawing/2014/main" id="{3CA16B62-741F-3138-CDB8-71B2887FB2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810D10B6-E01F-72B7-C0C1-C2876195995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N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843947143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3 - dwie kolum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962383"/>
            <a:ext cx="10835216" cy="4106100"/>
          </a:xfrm>
        </p:spPr>
        <p:txBody>
          <a:bodyPr numCol="2" spcCol="180000"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924311" y="1457657"/>
            <a:ext cx="10801351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C441EEDD-7CF9-9BDA-9361-3C8F32B1F91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N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926732377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962383"/>
            <a:ext cx="5291019" cy="4106100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924312" y="1457657"/>
            <a:ext cx="5291691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 1</a:t>
            </a:r>
            <a:endParaRPr lang="pl-PL" dirty="0"/>
          </a:p>
        </p:txBody>
      </p:sp>
      <p:sp>
        <p:nvSpPr>
          <p:cNvPr id="8" name="Symbol zastępczy zawartości 2"/>
          <p:cNvSpPr>
            <a:spLocks noGrp="1"/>
          </p:cNvSpPr>
          <p:nvPr>
            <p:ph sz="quarter" idx="15" hasCustomPrompt="1"/>
          </p:nvPr>
        </p:nvSpPr>
        <p:spPr>
          <a:xfrm>
            <a:off x="6464429" y="1962383"/>
            <a:ext cx="5291019" cy="4106100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13" name="Symbol zastępczy zawartości 4"/>
          <p:cNvSpPr>
            <a:spLocks noGrp="1"/>
          </p:cNvSpPr>
          <p:nvPr>
            <p:ph sz="quarter" idx="16" hasCustomPrompt="1"/>
          </p:nvPr>
        </p:nvSpPr>
        <p:spPr>
          <a:xfrm>
            <a:off x="6463757" y="1457657"/>
            <a:ext cx="5291691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 1</a:t>
            </a:r>
            <a:endParaRPr lang="pl-PL" dirty="0"/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7715A34D-679C-4AC9-9D2F-A4CE67AAB6C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N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077684324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y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3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Cytat</a:t>
            </a:r>
          </a:p>
        </p:txBody>
      </p:sp>
      <p:pic>
        <p:nvPicPr>
          <p:cNvPr id="21" name="Obraz 20">
            <a:extLst>
              <a:ext uri="{FF2B5EF4-FFF2-40B4-BE49-F238E27FC236}">
                <a16:creationId xmlns:a16="http://schemas.microsoft.com/office/drawing/2014/main" id="{51216647-0973-469E-890C-D049E1B0532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39343" y="2063798"/>
            <a:ext cx="390099" cy="1710429"/>
          </a:xfrm>
          <a:prstGeom prst="rect">
            <a:avLst/>
          </a:prstGeom>
        </p:spPr>
      </p:pic>
      <p:sp>
        <p:nvSpPr>
          <p:cNvPr id="3" name="Symbol zastępczy zawartości 2"/>
          <p:cNvSpPr>
            <a:spLocks noGrp="1"/>
          </p:cNvSpPr>
          <p:nvPr>
            <p:ph sz="quarter" idx="14" hasCustomPrompt="1"/>
          </p:nvPr>
        </p:nvSpPr>
        <p:spPr>
          <a:xfrm>
            <a:off x="2237317" y="2063751"/>
            <a:ext cx="9499600" cy="1710267"/>
          </a:xfrm>
        </p:spPr>
        <p:txBody>
          <a:bodyPr/>
          <a:lstStyle>
            <a:lvl1pPr marL="0" indent="0">
              <a:buNone/>
              <a:defRPr sz="3733" b="0" i="1">
                <a:solidFill>
                  <a:srgbClr val="009597"/>
                </a:solidFill>
              </a:defRPr>
            </a:lvl1pPr>
          </a:lstStyle>
          <a:p>
            <a:pPr lvl="0"/>
            <a:r>
              <a:rPr lang="pl-PL" dirty="0" err="1"/>
              <a:t>Lorem</a:t>
            </a:r>
            <a:r>
              <a:rPr lang="pl-PL" dirty="0"/>
              <a:t> </a:t>
            </a:r>
            <a:r>
              <a:rPr lang="pl-PL" dirty="0" err="1"/>
              <a:t>ipsum</a:t>
            </a:r>
            <a:r>
              <a:rPr lang="pl-PL" dirty="0"/>
              <a:t> </a:t>
            </a:r>
            <a:r>
              <a:rPr lang="pl-PL" dirty="0" err="1"/>
              <a:t>dolor</a:t>
            </a:r>
            <a:r>
              <a:rPr lang="pl-PL" dirty="0"/>
              <a:t> sit </a:t>
            </a:r>
            <a:r>
              <a:rPr lang="pl-PL" dirty="0" err="1"/>
              <a:t>amet</a:t>
            </a:r>
            <a:r>
              <a:rPr lang="pl-PL" dirty="0"/>
              <a:t>, </a:t>
            </a:r>
            <a:r>
              <a:rPr lang="pl-PL" dirty="0" err="1"/>
              <a:t>consectetur</a:t>
            </a:r>
            <a:r>
              <a:rPr lang="pl-PL" dirty="0"/>
              <a:t> </a:t>
            </a:r>
            <a:r>
              <a:rPr lang="pl-PL" dirty="0" err="1"/>
              <a:t>adipiscing</a:t>
            </a:r>
            <a:r>
              <a:rPr lang="pl-PL" dirty="0"/>
              <a:t> elit, </a:t>
            </a:r>
            <a:r>
              <a:rPr lang="pl-PL" dirty="0" err="1"/>
              <a:t>sed</a:t>
            </a:r>
            <a:r>
              <a:rPr lang="pl-PL" dirty="0"/>
              <a:t> do </a:t>
            </a:r>
            <a:r>
              <a:rPr lang="pl-PL" dirty="0" err="1"/>
              <a:t>eiusmod</a:t>
            </a:r>
            <a:r>
              <a:rPr lang="pl-PL" dirty="0"/>
              <a:t> </a:t>
            </a:r>
            <a:r>
              <a:rPr lang="pl-PL" dirty="0" err="1"/>
              <a:t>tempor</a:t>
            </a:r>
            <a:r>
              <a:rPr lang="pl-PL" dirty="0"/>
              <a:t> </a:t>
            </a:r>
            <a:r>
              <a:rPr lang="pl-PL" dirty="0" err="1"/>
              <a:t>incididunt</a:t>
            </a:r>
            <a:r>
              <a:rPr lang="pl-PL" dirty="0"/>
              <a:t> </a:t>
            </a:r>
            <a:r>
              <a:rPr lang="pl-PL" dirty="0" err="1"/>
              <a:t>ut</a:t>
            </a:r>
            <a:r>
              <a:rPr lang="pl-PL" dirty="0"/>
              <a:t> </a:t>
            </a:r>
            <a:r>
              <a:rPr lang="pl-PL" dirty="0" err="1"/>
              <a:t>labore</a:t>
            </a:r>
            <a:r>
              <a:rPr lang="pl-PL" dirty="0"/>
              <a:t> et </a:t>
            </a:r>
            <a:r>
              <a:rPr lang="pl-PL" dirty="0" err="1"/>
              <a:t>dolore</a:t>
            </a:r>
            <a:r>
              <a:rPr lang="pl-PL" dirty="0"/>
              <a:t> </a:t>
            </a:r>
            <a:r>
              <a:rPr lang="pl-PL" dirty="0" err="1"/>
              <a:t>magna</a:t>
            </a:r>
            <a:r>
              <a:rPr lang="pl-PL" dirty="0"/>
              <a:t> </a:t>
            </a:r>
            <a:r>
              <a:rPr lang="pl-PL" dirty="0" err="1"/>
              <a:t>aliqua</a:t>
            </a:r>
            <a:endParaRPr lang="pl-PL" dirty="0"/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5" hasCustomPrompt="1"/>
          </p:nvPr>
        </p:nvSpPr>
        <p:spPr>
          <a:xfrm>
            <a:off x="2236597" y="4411361"/>
            <a:ext cx="9457267" cy="1176867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 err="1"/>
              <a:t>Lorem</a:t>
            </a:r>
            <a:r>
              <a:rPr lang="pl-PL" dirty="0"/>
              <a:t> </a:t>
            </a:r>
            <a:r>
              <a:rPr lang="pl-PL" dirty="0" err="1"/>
              <a:t>ipsum</a:t>
            </a:r>
            <a:endParaRPr lang="pl-PL" dirty="0"/>
          </a:p>
          <a:p>
            <a:pPr lvl="0"/>
            <a:r>
              <a:rPr lang="pl-PL" dirty="0" err="1"/>
              <a:t>Lorem</a:t>
            </a:r>
            <a:r>
              <a:rPr lang="pl-PL" dirty="0"/>
              <a:t> </a:t>
            </a:r>
            <a:r>
              <a:rPr lang="pl-PL" dirty="0" err="1"/>
              <a:t>ipsum</a:t>
            </a:r>
            <a:r>
              <a:rPr lang="pl-PL" dirty="0"/>
              <a:t> </a:t>
            </a:r>
            <a:r>
              <a:rPr lang="pl-PL" dirty="0" err="1"/>
              <a:t>dolor</a:t>
            </a:r>
            <a:r>
              <a:rPr lang="pl-PL" dirty="0"/>
              <a:t> sit </a:t>
            </a:r>
            <a:r>
              <a:rPr lang="pl-PL" dirty="0" err="1"/>
              <a:t>amet</a:t>
            </a:r>
            <a:r>
              <a:rPr lang="pl-PL" dirty="0"/>
              <a:t>, </a:t>
            </a:r>
            <a:r>
              <a:rPr lang="pl-PL" dirty="0" err="1"/>
              <a:t>consectetur</a:t>
            </a:r>
            <a:r>
              <a:rPr lang="pl-PL" dirty="0"/>
              <a:t> </a:t>
            </a:r>
            <a:r>
              <a:rPr lang="pl-PL" dirty="0" err="1"/>
              <a:t>adipiscing</a:t>
            </a:r>
            <a:endParaRPr lang="pl-PL" dirty="0"/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867D99D1-2028-B6E8-E491-A5E301624B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N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10217967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avec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480000" y="6174395"/>
            <a:ext cx="4320000" cy="252000"/>
          </a:xfrm>
        </p:spPr>
        <p:txBody>
          <a:bodyPr anchor="ctr"/>
          <a:lstStyle>
            <a:lvl1pPr marL="0" indent="0" algn="r">
              <a:buNone/>
              <a:defRPr sz="1000" b="1" cap="all" spc="20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Modifier les styles du texte du masque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1E05C12A-6D66-4BD5-8AA3-E181C54F9E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38238" y="6174395"/>
            <a:ext cx="828017" cy="252000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4D9927BF-3057-4ED9-A027-6ED3E59441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52612" y="6174395"/>
            <a:ext cx="4320000" cy="252000"/>
          </a:xfrm>
        </p:spPr>
        <p:txBody>
          <a:bodyPr/>
          <a:lstStyle/>
          <a:p>
            <a:r>
              <a:rPr lang="pt-BR"/>
              <a:t>BPI - AAP</a:t>
            </a:r>
            <a:endParaRPr lang="fr-FR" dirty="0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7E748F74-A8DF-40EA-847A-446CF8437D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t>‹N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4E7EC6F-59D9-4EE7-89BA-68CAF6A316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999" y="624956"/>
            <a:ext cx="10800000" cy="90000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2" name="Espace réservé pour une image  2">
            <a:extLst>
              <a:ext uri="{FF2B5EF4-FFF2-40B4-BE49-F238E27FC236}">
                <a16:creationId xmlns:a16="http://schemas.microsoft.com/office/drawing/2014/main" id="{37D94D00-328F-462D-A767-108EAF86E589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828000" y="1728000"/>
            <a:ext cx="10535920" cy="4084479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Cliquez sur l'icône pour ajouter une image</a:t>
            </a:r>
          </a:p>
        </p:txBody>
      </p:sp>
    </p:spTree>
    <p:extLst>
      <p:ext uri="{BB962C8B-B14F-4D97-AF65-F5344CB8AC3E}">
        <p14:creationId xmlns:p14="http://schemas.microsoft.com/office/powerpoint/2010/main" val="2116716566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e zdjęcie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962384"/>
            <a:ext cx="4931013" cy="3746643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924311" y="1457657"/>
            <a:ext cx="4931687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  <p:sp>
        <p:nvSpPr>
          <p:cNvPr id="8" name="Symbol zastępczy obrazu 4"/>
          <p:cNvSpPr>
            <a:spLocks noGrp="1"/>
          </p:cNvSpPr>
          <p:nvPr>
            <p:ph type="pic" sz="quarter" idx="15" hasCustomPrompt="1"/>
          </p:nvPr>
        </p:nvSpPr>
        <p:spPr>
          <a:xfrm>
            <a:off x="6032501" y="1454151"/>
            <a:ext cx="5727700" cy="4254875"/>
          </a:xfrm>
        </p:spPr>
        <p:txBody>
          <a:bodyPr/>
          <a:lstStyle>
            <a:lvl1pPr marL="0" indent="0" algn="ctr">
              <a:buFontTx/>
              <a:buNone/>
              <a:defRPr b="0">
                <a:solidFill>
                  <a:schemeClr val="accent3"/>
                </a:solidFill>
              </a:defRPr>
            </a:lvl1pPr>
          </a:lstStyle>
          <a:p>
            <a:r>
              <a:rPr lang="pl-PL" dirty="0"/>
              <a:t>Wstaw obraz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7814CC9E-C65F-165E-0604-3A6392D28D7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N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065941748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e zdjęci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6829187" y="1962384"/>
            <a:ext cx="4931013" cy="3866643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6828514" y="1457657"/>
            <a:ext cx="4931687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  <p:sp>
        <p:nvSpPr>
          <p:cNvPr id="8" name="Symbol zastępczy obrazu 4"/>
          <p:cNvSpPr>
            <a:spLocks noGrp="1"/>
          </p:cNvSpPr>
          <p:nvPr>
            <p:ph type="pic" sz="quarter" idx="15" hasCustomPrompt="1"/>
          </p:nvPr>
        </p:nvSpPr>
        <p:spPr>
          <a:xfrm>
            <a:off x="944105" y="1454150"/>
            <a:ext cx="5511900" cy="4374876"/>
          </a:xfrm>
        </p:spPr>
        <p:txBody>
          <a:bodyPr/>
          <a:lstStyle>
            <a:lvl1pPr marL="0" indent="0" algn="ctr">
              <a:buFontTx/>
              <a:buNone/>
              <a:defRPr b="0">
                <a:solidFill>
                  <a:schemeClr val="accent3"/>
                </a:solidFill>
              </a:defRPr>
            </a:lvl1pPr>
          </a:lstStyle>
          <a:p>
            <a:r>
              <a:rPr lang="pl-PL" dirty="0"/>
              <a:t>Wstaw obraz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EBCA5C9C-CE6F-B4C4-7578-B6C3BC9C612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N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779727711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ajd z tytułem 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B7427E44-54E6-E838-7FF3-8BDA8E814DD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N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233263864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Strona zamykająca 2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15127" y="5255491"/>
            <a:ext cx="7952509" cy="1089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9947724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rona zamykając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24364" y="5273964"/>
            <a:ext cx="7961745" cy="1071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5163253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 avec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>
            <a:extLst>
              <a:ext uri="{FF2B5EF4-FFF2-40B4-BE49-F238E27FC236}">
                <a16:creationId xmlns:a16="http://schemas.microsoft.com/office/drawing/2014/main" id="{A65289CA-BB76-4367-A6E8-586A4465D41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637595" y="4822825"/>
            <a:ext cx="4907826" cy="1188114"/>
          </a:xfrm>
          <a:prstGeom prst="rect">
            <a:avLst/>
          </a:prstGeom>
        </p:spPr>
      </p:pic>
      <p:sp>
        <p:nvSpPr>
          <p:cNvPr id="12" name="Titre 1">
            <a:extLst>
              <a:ext uri="{FF2B5EF4-FFF2-40B4-BE49-F238E27FC236}">
                <a16:creationId xmlns:a16="http://schemas.microsoft.com/office/drawing/2014/main" id="{2930B45F-AEDD-411B-9BBC-1B13EFEDC0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30470" y="731743"/>
            <a:ext cx="5580000" cy="2414623"/>
          </a:xfrm>
        </p:spPr>
        <p:txBody>
          <a:bodyPr anchor="b">
            <a:normAutofit/>
          </a:bodyPr>
          <a:lstStyle>
            <a:lvl1pPr algn="l" defTabSz="360000">
              <a:lnSpc>
                <a:spcPct val="85000"/>
              </a:lnSpc>
              <a:tabLst/>
              <a:defRPr sz="44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9B55D30E-725C-43C0-B80E-301FBBB3B6E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30470" y="3056037"/>
            <a:ext cx="5580000" cy="2340000"/>
          </a:xfrm>
        </p:spPr>
        <p:txBody>
          <a:bodyPr anchor="t"/>
          <a:lstStyle>
            <a:lvl1pPr marL="0" indent="0" algn="l" defTabSz="360000">
              <a:lnSpc>
                <a:spcPct val="85000"/>
              </a:lnSpc>
              <a:buNone/>
              <a:tabLst/>
              <a:defRPr sz="44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r le style des sous-titres du masque</a:t>
            </a:r>
            <a:endParaRPr lang="fr-FR" dirty="0"/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88175086-68EB-4950-BC23-A9DFECDDDE2E}"/>
              </a:ext>
            </a:extLst>
          </p:cNvPr>
          <p:cNvCxnSpPr/>
          <p:nvPr userDrawn="1"/>
        </p:nvCxnSpPr>
        <p:spPr>
          <a:xfrm>
            <a:off x="804000" y="6120000"/>
            <a:ext cx="1058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901" y="731743"/>
            <a:ext cx="5162550" cy="5105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04670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6906575B-2AA7-42C0-AEF2-D9AD31526C9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637595" y="4822825"/>
            <a:ext cx="4907826" cy="1188114"/>
          </a:xfrm>
          <a:prstGeom prst="rect">
            <a:avLst/>
          </a:prstGeom>
        </p:spPr>
      </p:pic>
      <p:sp>
        <p:nvSpPr>
          <p:cNvPr id="12" name="Titre 1">
            <a:extLst>
              <a:ext uri="{FF2B5EF4-FFF2-40B4-BE49-F238E27FC236}">
                <a16:creationId xmlns:a16="http://schemas.microsoft.com/office/drawing/2014/main" id="{2930B45F-AEDD-411B-9BBC-1B13EFEDC0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0000" y="460800"/>
            <a:ext cx="10980000" cy="2520000"/>
          </a:xfrm>
        </p:spPr>
        <p:txBody>
          <a:bodyPr anchor="b">
            <a:normAutofit/>
          </a:bodyPr>
          <a:lstStyle>
            <a:lvl1pPr algn="l" defTabSz="360000">
              <a:lnSpc>
                <a:spcPct val="85000"/>
              </a:lnSpc>
              <a:tabLst/>
              <a:defRPr sz="54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9B55D30E-725C-43C0-B80E-301FBBB3B6E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20000" y="2890800"/>
            <a:ext cx="10980000" cy="2340000"/>
          </a:xfrm>
        </p:spPr>
        <p:txBody>
          <a:bodyPr anchor="t">
            <a:normAutofit/>
          </a:bodyPr>
          <a:lstStyle>
            <a:lvl1pPr marL="0" indent="0" algn="l" defTabSz="360000">
              <a:lnSpc>
                <a:spcPct val="85000"/>
              </a:lnSpc>
              <a:buNone/>
              <a:tabLst/>
              <a:defRPr sz="54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r le style des sous-titres du masque</a:t>
            </a:r>
            <a:endParaRPr lang="fr-FR" dirty="0"/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35F25D88-16F6-4D3B-8C17-BA11C25DC62C}"/>
              </a:ext>
            </a:extLst>
          </p:cNvPr>
          <p:cNvCxnSpPr/>
          <p:nvPr userDrawn="1"/>
        </p:nvCxnSpPr>
        <p:spPr>
          <a:xfrm>
            <a:off x="804000" y="6120000"/>
            <a:ext cx="1058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64327483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verture de 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1E05C12A-6D66-4BD5-8AA3-E181C54F9E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404008" y="6470856"/>
            <a:ext cx="828017" cy="252000"/>
          </a:xfrm>
          <a:prstGeom prst="rect">
            <a:avLst/>
          </a:prstGeom>
        </p:spPr>
        <p:txBody>
          <a:bodyPr/>
          <a:lstStyle/>
          <a:p>
            <a:fld id="{9F42C373-ED48-49D9-A3E7-74C5F8A1C44A}" type="datetime1">
              <a:rPr lang="fr-FR" smtClean="0"/>
              <a:t>09/03/2026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4D9927BF-3057-4ED9-A027-6ED3E59441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76033" y="6470856"/>
            <a:ext cx="4320000" cy="252000"/>
          </a:xfrm>
        </p:spPr>
        <p:txBody>
          <a:bodyPr/>
          <a:lstStyle/>
          <a:p>
            <a:r>
              <a:rPr lang="fr-FR" dirty="0"/>
              <a:t>-  -  Les banques de proximité à l’international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7E748F74-A8DF-40EA-847A-446CF8437D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20000" y="6470856"/>
            <a:ext cx="540000" cy="252000"/>
          </a:xfrm>
        </p:spPr>
        <p:txBody>
          <a:bodyPr/>
          <a:lstStyle/>
          <a:p>
            <a:fld id="{975A587B-5814-4D9B-9598-FE9CB954CB01}" type="slidenum">
              <a:rPr lang="fr-FR" smtClean="0"/>
              <a:t>‹N›</a:t>
            </a:fld>
            <a:endParaRPr lang="fr-FR"/>
          </a:p>
        </p:txBody>
      </p:sp>
      <p:sp>
        <p:nvSpPr>
          <p:cNvPr id="13" name="Titre 1">
            <a:extLst>
              <a:ext uri="{FF2B5EF4-FFF2-40B4-BE49-F238E27FC236}">
                <a16:creationId xmlns:a16="http://schemas.microsoft.com/office/drawing/2014/main" id="{EB846008-EFE2-47B0-B7F8-92425D08C31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0000" y="462061"/>
            <a:ext cx="10980000" cy="2520000"/>
          </a:xfrm>
        </p:spPr>
        <p:txBody>
          <a:bodyPr anchor="b">
            <a:normAutofit/>
          </a:bodyPr>
          <a:lstStyle>
            <a:lvl1pPr algn="l" defTabSz="360000">
              <a:lnSpc>
                <a:spcPct val="85000"/>
              </a:lnSpc>
              <a:tabLst/>
              <a:defRPr sz="54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4" name="Sous-titre 2">
            <a:extLst>
              <a:ext uri="{FF2B5EF4-FFF2-40B4-BE49-F238E27FC236}">
                <a16:creationId xmlns:a16="http://schemas.microsoft.com/office/drawing/2014/main" id="{21BC1F89-C2D8-4D79-A074-D1E96076541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20000" y="2891731"/>
            <a:ext cx="10980000" cy="2340000"/>
          </a:xfrm>
        </p:spPr>
        <p:txBody>
          <a:bodyPr anchor="t">
            <a:noAutofit/>
          </a:bodyPr>
          <a:lstStyle>
            <a:lvl1pPr marL="0" indent="0" algn="l" defTabSz="360000">
              <a:lnSpc>
                <a:spcPct val="85000"/>
              </a:lnSpc>
              <a:buNone/>
              <a:tabLst/>
              <a:defRPr sz="54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r le style des sous-titres du mas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93639347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1BF3A9F-5739-4B40-A377-C403E92DB70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997" y="2124916"/>
            <a:ext cx="10800000" cy="432000"/>
          </a:xfrm>
        </p:spPr>
        <p:txBody>
          <a:bodyPr anchor="t"/>
          <a:lstStyle>
            <a:lvl1pPr marL="0" indent="0">
              <a:buNone/>
              <a:defRPr sz="2000" b="1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Modifier les styles du texte du masque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1E05C12A-6D66-4BD5-8AA3-E181C54F9E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408238" y="6548736"/>
            <a:ext cx="828017" cy="252000"/>
          </a:xfrm>
          <a:prstGeom prst="rect">
            <a:avLst/>
          </a:prstGeom>
        </p:spPr>
        <p:txBody>
          <a:bodyPr/>
          <a:lstStyle/>
          <a:p>
            <a:fld id="{20B38CFD-3C70-474F-87FE-73F70D80645B}" type="datetime1">
              <a:rPr lang="fr-FR" smtClean="0"/>
              <a:t>09/03/2026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4D9927BF-3057-4ED9-A027-6ED3E59441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09228" y="6550931"/>
            <a:ext cx="4320000" cy="252000"/>
          </a:xfrm>
        </p:spPr>
        <p:txBody>
          <a:bodyPr/>
          <a:lstStyle/>
          <a:p>
            <a:r>
              <a:rPr lang="fr-FR" dirty="0"/>
              <a:t>-  Les banques de proximité à l’international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7E748F74-A8DF-40EA-847A-446CF8437D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8238" y="6548736"/>
            <a:ext cx="540000" cy="252000"/>
          </a:xfrm>
        </p:spPr>
        <p:txBody>
          <a:bodyPr/>
          <a:lstStyle/>
          <a:p>
            <a:fld id="{975A587B-5814-4D9B-9598-FE9CB954CB01}" type="slidenum">
              <a:rPr lang="fr-FR" smtClean="0"/>
              <a:t>‹N›</a:t>
            </a:fld>
            <a:endParaRPr lang="fr-FR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8C7A5F77-9A92-46CF-AF0E-296CA94F051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999" y="2657475"/>
            <a:ext cx="10800000" cy="3181350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4E7EC6F-59D9-4EE7-89BA-68CAF6A316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999" y="624956"/>
            <a:ext cx="10800000" cy="90000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9697667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avec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1BF3A9F-5739-4B40-A377-C403E92DB70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997" y="2124916"/>
            <a:ext cx="6480000" cy="720000"/>
          </a:xfrm>
        </p:spPr>
        <p:txBody>
          <a:bodyPr anchor="t"/>
          <a:lstStyle>
            <a:lvl1pPr marL="0" indent="0">
              <a:buNone/>
              <a:defRPr sz="2000" b="1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Modifier les styles du texte du masque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1E05C12A-6D66-4BD5-8AA3-E181C54F9E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45996" y="6508870"/>
            <a:ext cx="828017" cy="252000"/>
          </a:xfrm>
          <a:prstGeom prst="rect">
            <a:avLst/>
          </a:prstGeom>
        </p:spPr>
        <p:txBody>
          <a:bodyPr/>
          <a:lstStyle/>
          <a:p>
            <a:fld id="{74E6A647-4CCE-45A0-A1E4-593DF6E58788}" type="datetime1">
              <a:rPr lang="fr-FR" smtClean="0"/>
              <a:t>09/03/2026</a:t>
            </a:fld>
            <a:endParaRPr lang="fr-FR" dirty="0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4D9927BF-3057-4ED9-A027-6ED3E59441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160000" y="6510707"/>
            <a:ext cx="4320000" cy="252000"/>
          </a:xfrm>
        </p:spPr>
        <p:txBody>
          <a:bodyPr/>
          <a:lstStyle/>
          <a:p>
            <a:r>
              <a:rPr lang="fr-FR" dirty="0"/>
              <a:t>-  Les banques de proximité à l’international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7E748F74-A8DF-40EA-847A-446CF8437D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05996" y="6508870"/>
            <a:ext cx="540000" cy="252000"/>
          </a:xfrm>
        </p:spPr>
        <p:txBody>
          <a:bodyPr/>
          <a:lstStyle/>
          <a:p>
            <a:fld id="{975A587B-5814-4D9B-9598-FE9CB954CB01}" type="slidenum">
              <a:rPr lang="fr-FR" smtClean="0"/>
              <a:t>‹N›</a:t>
            </a:fld>
            <a:endParaRPr lang="fr-FR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8C7A5F77-9A92-46CF-AF0E-296CA94F051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999" y="2993652"/>
            <a:ext cx="6480000" cy="2880000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4E7EC6F-59D9-4EE7-89BA-68CAF6A316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999" y="624956"/>
            <a:ext cx="10800000" cy="90000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Espace réservé du graphique 5">
            <a:extLst>
              <a:ext uri="{FF2B5EF4-FFF2-40B4-BE49-F238E27FC236}">
                <a16:creationId xmlns:a16="http://schemas.microsoft.com/office/drawing/2014/main" id="{5B4A068C-20AD-4FFB-9C49-0DC3A94E5C56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389158" y="2125662"/>
            <a:ext cx="3998842" cy="3747989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206838737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6"/>
          <p:cNvSpPr>
            <a:spLocks noGrp="1"/>
          </p:cNvSpPr>
          <p:nvPr>
            <p:ph type="body" sz="quarter" idx="11" hasCustomPrompt="1"/>
          </p:nvPr>
        </p:nvSpPr>
        <p:spPr>
          <a:xfrm>
            <a:off x="853040" y="1638311"/>
            <a:ext cx="10534651" cy="3945072"/>
          </a:xfrm>
          <a:prstGeom prst="rect">
            <a:avLst/>
          </a:prstGeom>
          <a:solidFill>
            <a:schemeClr val="bg1"/>
          </a:solidFill>
        </p:spPr>
        <p:txBody>
          <a:bodyPr lIns="91416" tIns="45708" rIns="91416" bIns="45708"/>
          <a:lstStyle>
            <a:lvl1pPr marL="0" indent="0">
              <a:buNone/>
              <a:defRPr sz="1800">
                <a:solidFill>
                  <a:srgbClr val="485155"/>
                </a:solidFill>
                <a:latin typeface="Century Gothic" panose="020B0502020202020204" pitchFamily="34" charset="0"/>
              </a:defRPr>
            </a:lvl1pPr>
            <a:lvl2pPr marL="361857" indent="-180929">
              <a:buSzPct val="100000"/>
              <a:buFontTx/>
              <a:buBlip>
                <a:blip r:embed="rId2"/>
              </a:buBlip>
              <a:defRPr lang="fr-FR" sz="1800" kern="1200" baseline="0" smtClean="0">
                <a:solidFill>
                  <a:srgbClr val="485155"/>
                </a:solidFill>
                <a:latin typeface="+mn-lt"/>
                <a:ea typeface="ＭＳ Ｐゴシック" pitchFamily="34" charset="-128"/>
                <a:cs typeface="+mn-cs"/>
              </a:defRPr>
            </a:lvl2pPr>
            <a:lvl3pPr marL="523740" indent="-161884">
              <a:buSzPct val="60000"/>
              <a:buFont typeface="Wingdings 3" panose="05040102010807070707" pitchFamily="18" charset="2"/>
              <a:buChar char="u"/>
              <a:defRPr lang="fr-FR" sz="1600" kern="1200" baseline="0" smtClean="0">
                <a:solidFill>
                  <a:srgbClr val="485155"/>
                </a:solidFill>
                <a:latin typeface="+mn-lt"/>
                <a:ea typeface="ＭＳ Ｐゴシック" pitchFamily="34" charset="-128"/>
                <a:cs typeface="+mn-cs"/>
              </a:defRPr>
            </a:lvl3pPr>
            <a:lvl4pPr marL="714191" indent="-171405">
              <a:buFont typeface="Arial" panose="020B0604020202020204" pitchFamily="34" charset="0"/>
              <a:buChar char="•"/>
              <a:defRPr lang="fr-FR" sz="1400" kern="1200" baseline="0">
                <a:solidFill>
                  <a:srgbClr val="485155"/>
                </a:solidFill>
                <a:latin typeface="+mn-lt"/>
                <a:ea typeface="ＭＳ Ｐゴシック" pitchFamily="34" charset="-128"/>
                <a:cs typeface="+mn-cs"/>
              </a:defRPr>
            </a:lvl4pPr>
            <a:lvl5pPr marL="714191" indent="0">
              <a:buSzPct val="60000"/>
              <a:buFont typeface="Courier New" panose="02070309020205020404" pitchFamily="49" charset="0"/>
              <a:buNone/>
              <a:defRPr sz="1400">
                <a:solidFill>
                  <a:srgbClr val="485155"/>
                </a:solidFill>
              </a:defRPr>
            </a:lvl5pPr>
          </a:lstStyle>
          <a:p>
            <a:pPr lvl="0"/>
            <a:r>
              <a:rPr lang="fr-FR" dirty="0"/>
              <a:t>Texte</a:t>
            </a:r>
          </a:p>
          <a:p>
            <a:pPr lvl="0"/>
            <a:endParaRPr lang="fr-FR" dirty="0"/>
          </a:p>
          <a:p>
            <a:pPr lvl="1"/>
            <a:r>
              <a:rPr lang="fr-FR" dirty="0"/>
              <a:t>Puce de niveau 1</a:t>
            </a:r>
          </a:p>
          <a:p>
            <a:pPr lvl="2"/>
            <a:r>
              <a:rPr lang="fr-FR" dirty="0"/>
              <a:t>Puce de niveau 2</a:t>
            </a:r>
          </a:p>
          <a:p>
            <a:pPr lvl="3"/>
            <a:r>
              <a:rPr lang="fr-FR" dirty="0"/>
              <a:t>Puce de niveau 3</a:t>
            </a:r>
          </a:p>
          <a:p>
            <a:pPr lvl="4"/>
            <a:r>
              <a:rPr lang="fr-FR" dirty="0"/>
              <a:t>Puce de niveau 4</a:t>
            </a:r>
          </a:p>
          <a:p>
            <a:pPr lvl="4"/>
            <a:endParaRPr lang="fr-FR" dirty="0"/>
          </a:p>
          <a:p>
            <a:pPr lvl="4"/>
            <a:endParaRPr lang="fr-FR" dirty="0"/>
          </a:p>
          <a:p>
            <a:pPr lvl="4"/>
            <a:endParaRPr lang="fr-FR" dirty="0"/>
          </a:p>
        </p:txBody>
      </p:sp>
      <p:sp>
        <p:nvSpPr>
          <p:cNvPr id="5" name="Rectangle à coins arrondis 4"/>
          <p:cNvSpPr/>
          <p:nvPr userDrawn="1"/>
        </p:nvSpPr>
        <p:spPr>
          <a:xfrm>
            <a:off x="1738923" y="1129547"/>
            <a:ext cx="797627" cy="54000"/>
          </a:xfrm>
          <a:prstGeom prst="roundRect">
            <a:avLst/>
          </a:prstGeom>
          <a:solidFill>
            <a:srgbClr val="00962B"/>
          </a:solidFill>
          <a:ln>
            <a:solidFill>
              <a:srgbClr val="00962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9" tIns="45709" rIns="91419" bIns="45709" rtlCol="0" anchor="ctr"/>
          <a:lstStyle/>
          <a:p>
            <a:pPr algn="ctr" defTabSz="457082"/>
            <a:endParaRPr lang="fr-FR" sz="1800">
              <a:solidFill>
                <a:srgbClr val="2699D6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695275260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avec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480000" y="6174395"/>
            <a:ext cx="4320000" cy="252000"/>
          </a:xfrm>
        </p:spPr>
        <p:txBody>
          <a:bodyPr anchor="ctr"/>
          <a:lstStyle>
            <a:lvl1pPr marL="0" indent="0" algn="r">
              <a:buNone/>
              <a:defRPr sz="1000" b="1" cap="all" spc="20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Modifier les styles du texte du masque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1E05C12A-6D66-4BD5-8AA3-E181C54F9E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59999" y="6521110"/>
            <a:ext cx="828017" cy="252000"/>
          </a:xfrm>
          <a:prstGeom prst="rect">
            <a:avLst/>
          </a:prstGeom>
        </p:spPr>
        <p:txBody>
          <a:bodyPr/>
          <a:lstStyle/>
          <a:p>
            <a:fld id="{D67BF204-B52D-4221-9F94-875BD33580E6}" type="datetime1">
              <a:rPr lang="fr-FR" smtClean="0"/>
              <a:t>09/03/2026</a:t>
            </a:fld>
            <a:endParaRPr lang="fr-FR" dirty="0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4D9927BF-3057-4ED9-A027-6ED3E59441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160000" y="6510707"/>
            <a:ext cx="4320000" cy="252000"/>
          </a:xfrm>
        </p:spPr>
        <p:txBody>
          <a:bodyPr/>
          <a:lstStyle/>
          <a:p>
            <a:r>
              <a:rPr lang="fr-FR" dirty="0"/>
              <a:t>-  Les banques de proximité à l’international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7E748F74-A8DF-40EA-847A-446CF8437D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19999" y="6510707"/>
            <a:ext cx="540000" cy="252000"/>
          </a:xfrm>
        </p:spPr>
        <p:txBody>
          <a:bodyPr/>
          <a:lstStyle/>
          <a:p>
            <a:fld id="{975A587B-5814-4D9B-9598-FE9CB954CB01}" type="slidenum">
              <a:rPr lang="fr-FR" smtClean="0"/>
              <a:t>‹N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4E7EC6F-59D9-4EE7-89BA-68CAF6A316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999" y="624956"/>
            <a:ext cx="10800000" cy="90000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2" name="Espace réservé pour une image  2">
            <a:extLst>
              <a:ext uri="{FF2B5EF4-FFF2-40B4-BE49-F238E27FC236}">
                <a16:creationId xmlns:a16="http://schemas.microsoft.com/office/drawing/2014/main" id="{37D94D00-328F-462D-A767-108EAF86E589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828000" y="1728000"/>
            <a:ext cx="10535920" cy="4084479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Cliquez sur l'icône pour ajouter une image</a:t>
            </a:r>
          </a:p>
        </p:txBody>
      </p:sp>
    </p:spTree>
    <p:extLst>
      <p:ext uri="{BB962C8B-B14F-4D97-AF65-F5344CB8AC3E}">
        <p14:creationId xmlns:p14="http://schemas.microsoft.com/office/powerpoint/2010/main" val="2734121022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Couverture avec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>
            <a:extLst>
              <a:ext uri="{FF2B5EF4-FFF2-40B4-BE49-F238E27FC236}">
                <a16:creationId xmlns:a16="http://schemas.microsoft.com/office/drawing/2014/main" id="{A65289CA-BB76-4367-A6E8-586A4465D41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6637595" y="4822825"/>
            <a:ext cx="4907826" cy="1188114"/>
          </a:xfrm>
          <a:prstGeom prst="rect">
            <a:avLst/>
          </a:prstGeom>
        </p:spPr>
      </p:pic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7194207" y="6174395"/>
            <a:ext cx="4320000" cy="252000"/>
          </a:xfrm>
        </p:spPr>
        <p:txBody>
          <a:bodyPr anchor="ctr"/>
          <a:lstStyle>
            <a:lvl1pPr marL="0" indent="0" algn="r">
              <a:buNone/>
              <a:defRPr sz="1000" b="1" cap="all" spc="20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Modifier les styles du texte du masque</a:t>
            </a:r>
          </a:p>
        </p:txBody>
      </p:sp>
      <p:sp>
        <p:nvSpPr>
          <p:cNvPr id="12" name="Titre 1">
            <a:extLst>
              <a:ext uri="{FF2B5EF4-FFF2-40B4-BE49-F238E27FC236}">
                <a16:creationId xmlns:a16="http://schemas.microsoft.com/office/drawing/2014/main" id="{2930B45F-AEDD-411B-9BBC-1B13EFEDC0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30470" y="731743"/>
            <a:ext cx="5580000" cy="2414623"/>
          </a:xfrm>
        </p:spPr>
        <p:txBody>
          <a:bodyPr anchor="b">
            <a:normAutofit/>
          </a:bodyPr>
          <a:lstStyle>
            <a:lvl1pPr algn="l" defTabSz="360000">
              <a:lnSpc>
                <a:spcPct val="85000"/>
              </a:lnSpc>
              <a:tabLst/>
              <a:defRPr sz="44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9B55D30E-725C-43C0-B80E-301FBBB3B6E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30470" y="3056037"/>
            <a:ext cx="5580000" cy="2340000"/>
          </a:xfrm>
        </p:spPr>
        <p:txBody>
          <a:bodyPr anchor="t"/>
          <a:lstStyle>
            <a:lvl1pPr marL="0" indent="0" algn="l" defTabSz="360000">
              <a:lnSpc>
                <a:spcPct val="85000"/>
              </a:lnSpc>
              <a:buNone/>
              <a:tabLst/>
              <a:defRPr sz="44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r le style des sous-titres du masque</a:t>
            </a:r>
            <a:endParaRPr lang="fr-FR" dirty="0"/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88175086-68EB-4950-BC23-A9DFECDDDE2E}"/>
              </a:ext>
            </a:extLst>
          </p:cNvPr>
          <p:cNvCxnSpPr/>
          <p:nvPr/>
        </p:nvCxnSpPr>
        <p:spPr>
          <a:xfrm>
            <a:off x="795762" y="6132492"/>
            <a:ext cx="1058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16613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ajd z tytułem 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B7427E44-54E6-E838-7FF3-8BDA8E814DD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N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625243351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Fare clic per modificare lo stile del titolo</a:t>
            </a:r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5ABC3C-103B-4086-8D3F-569824F59C7E}" type="slidenum">
              <a:rPr lang="it-IT" smtClean="0"/>
              <a:pPr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611911505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8" name="Titolo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5ABC3C-103B-4086-8D3F-569824F59C7E}" type="slidenum">
              <a:rPr lang="it-IT" smtClean="0"/>
              <a:pPr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644857916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2" name="Oggetto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21252617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ona tytułowa ze zdjęciem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6280731" y="2361347"/>
            <a:ext cx="5575333" cy="1440000"/>
          </a:xfrm>
        </p:spPr>
        <p:txBody>
          <a:bodyPr tIns="180000" anchor="ctr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733" b="1" cap="all" baseline="0">
                <a:solidFill>
                  <a:srgbClr val="009597"/>
                </a:solidFill>
              </a:defRPr>
            </a:lvl1pPr>
          </a:lstStyle>
          <a:p>
            <a:r>
              <a:rPr lang="pl-PL" noProof="0" dirty="0"/>
              <a:t>TYTUŁ PREZENTACJI </a:t>
            </a:r>
            <a:br>
              <a:rPr lang="pl-PL" noProof="0" dirty="0"/>
            </a:br>
            <a:r>
              <a:rPr lang="pl-PL" noProof="0" dirty="0"/>
              <a:t>– Slajd ze zdjęciem</a:t>
            </a:r>
          </a:p>
        </p:txBody>
      </p:sp>
      <p:sp>
        <p:nvSpPr>
          <p:cNvPr id="11" name="Symbol zastępczy tekstu 2"/>
          <p:cNvSpPr>
            <a:spLocks noGrp="1"/>
          </p:cNvSpPr>
          <p:nvPr>
            <p:ph type="body" sz="quarter" idx="20" hasCustomPrompt="1"/>
          </p:nvPr>
        </p:nvSpPr>
        <p:spPr>
          <a:xfrm>
            <a:off x="6280731" y="4615519"/>
            <a:ext cx="4997672" cy="168000"/>
          </a:xfrm>
          <a:noFill/>
          <a:ln>
            <a:noFill/>
          </a:ln>
          <a:effectLst/>
        </p:spPr>
        <p:txBody>
          <a:bodyPr anchor="t"/>
          <a:lstStyle>
            <a:lvl1pPr marL="0" indent="0">
              <a:lnSpc>
                <a:spcPct val="80000"/>
              </a:lnSpc>
              <a:buFontTx/>
              <a:buNone/>
              <a:defRPr sz="1467" b="0">
                <a:ln>
                  <a:noFill/>
                </a:ln>
                <a:solidFill>
                  <a:srgbClr val="009597"/>
                </a:solidFill>
                <a:latin typeface="+mj-lt"/>
              </a:defRPr>
            </a:lvl1pPr>
            <a:lvl2pPr marL="575986" indent="0">
              <a:buFontTx/>
              <a:buNone/>
              <a:defRPr sz="1600"/>
            </a:lvl2pPr>
            <a:lvl3pPr marL="1151971" indent="0">
              <a:buFontTx/>
              <a:buNone/>
              <a:defRPr sz="1600"/>
            </a:lvl3pPr>
            <a:lvl4pPr marL="1727957" indent="0">
              <a:buFontTx/>
              <a:buNone/>
              <a:defRPr sz="1600"/>
            </a:lvl4pPr>
            <a:lvl5pPr marL="2303942" indent="0">
              <a:buFontTx/>
              <a:buNone/>
              <a:defRPr sz="1600"/>
            </a:lvl5pPr>
          </a:lstStyle>
          <a:p>
            <a:pPr lvl="0"/>
            <a:r>
              <a:rPr lang="pl-PL" dirty="0" err="1"/>
              <a:t>xxxxxxxxxxxxxxxxx</a:t>
            </a:r>
            <a:endParaRPr lang="pl-PL" dirty="0"/>
          </a:p>
        </p:txBody>
      </p:sp>
      <p:sp>
        <p:nvSpPr>
          <p:cNvPr id="10" name="Symbol zastępczy obrazu 9">
            <a:extLst>
              <a:ext uri="{FF2B5EF4-FFF2-40B4-BE49-F238E27FC236}">
                <a16:creationId xmlns:a16="http://schemas.microsoft.com/office/drawing/2014/main" id="{71BB64A8-5201-560B-036C-DD2C167D124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75939" y="788971"/>
            <a:ext cx="5216423" cy="517878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pl-PL" noProof="0" dirty="0"/>
          </a:p>
        </p:txBody>
      </p:sp>
      <p:sp>
        <p:nvSpPr>
          <p:cNvPr id="7" name="pole tekstowe 6">
            <a:extLst>
              <a:ext uri="{FF2B5EF4-FFF2-40B4-BE49-F238E27FC236}">
                <a16:creationId xmlns:a16="http://schemas.microsoft.com/office/drawing/2014/main" id="{619EA351-D5B5-7F01-11D2-2725DC11DB3F}"/>
              </a:ext>
            </a:extLst>
          </p:cNvPr>
          <p:cNvSpPr txBox="1"/>
          <p:nvPr userDrawn="1"/>
        </p:nvSpPr>
        <p:spPr>
          <a:xfrm>
            <a:off x="8616029" y="188869"/>
            <a:ext cx="3240036" cy="7217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anchor="ctr">
            <a:spAutoFit/>
          </a:bodyPr>
          <a:lstStyle/>
          <a:p>
            <a:pPr marL="0" marR="0" lvl="0" indent="0" algn="r" defTabSz="11006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>
                <a:solidFill>
                  <a:srgbClr val="199FA1"/>
                </a:solidFill>
              </a:defRPr>
            </a:pPr>
            <a:r>
              <a:rPr kumimoji="0" lang="pl-PL" sz="1267" b="1" i="0" u="none" strike="noStrike" kern="0" cap="none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+mj-lt"/>
                <a:sym typeface="Helvetica Neue Medium"/>
              </a:rPr>
              <a:t>Codziennie działamy na rzecz</a:t>
            </a:r>
            <a:br>
              <a:rPr kumimoji="0" lang="pl-PL" sz="1267" b="1" i="0" u="none" strike="noStrike" kern="0" cap="none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+mj-lt"/>
                <a:sym typeface="Helvetica Neue Medium"/>
              </a:rPr>
            </a:br>
            <a:r>
              <a:rPr kumimoji="0" lang="pl-PL" sz="1267" b="1" i="0" u="none" strike="noStrike" kern="0" cap="none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+mj-lt"/>
                <a:sym typeface="Helvetica Neue Medium"/>
              </a:rPr>
              <a:t>naszych klientów i społeczeństwa</a:t>
            </a:r>
          </a:p>
          <a:p>
            <a:pPr marL="0" marR="0" indent="0" algn="r" defTabSz="110063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l-PL" sz="1267" b="1" i="0" u="none" strike="noStrike" cap="none" spc="0" normalizeH="0" baseline="0" dirty="0">
              <a:ln>
                <a:noFill/>
              </a:ln>
              <a:solidFill>
                <a:srgbClr val="009597"/>
              </a:solidFill>
              <a:effectLst/>
              <a:uFillTx/>
              <a:latin typeface="+mj-lt"/>
              <a:sym typeface="Helvetica Neue Medium"/>
            </a:endParaRPr>
          </a:p>
        </p:txBody>
      </p:sp>
      <p:pic>
        <p:nvPicPr>
          <p:cNvPr id="9" name="Obraz 8">
            <a:extLst>
              <a:ext uri="{FF2B5EF4-FFF2-40B4-BE49-F238E27FC236}">
                <a16:creationId xmlns:a16="http://schemas.microsoft.com/office/drawing/2014/main" id="{4E2A0DB4-C391-F51E-8244-4C5C553553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6041" y="5709026"/>
            <a:ext cx="2274847" cy="1137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5219312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rona tytułowa bez zdjęcia">
    <p:bg>
      <p:bgPr>
        <a:solidFill>
          <a:srgbClr val="00959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55938" y="2228987"/>
            <a:ext cx="6360071" cy="1440000"/>
          </a:xfrm>
        </p:spPr>
        <p:txBody>
          <a:bodyPr tIns="180000" anchor="ctr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733" b="1" cap="all" baseline="0">
                <a:solidFill>
                  <a:schemeClr val="bg1"/>
                </a:solidFill>
              </a:defRPr>
            </a:lvl1pPr>
          </a:lstStyle>
          <a:p>
            <a:r>
              <a:rPr lang="pl-PL" noProof="0" dirty="0"/>
              <a:t>TYTUŁ PREZENTACJI </a:t>
            </a:r>
            <a:br>
              <a:rPr lang="pl-PL" noProof="0" dirty="0"/>
            </a:br>
            <a:r>
              <a:rPr lang="pl-PL" noProof="0" dirty="0"/>
              <a:t>– Slajd bez zdjęcia</a:t>
            </a:r>
          </a:p>
        </p:txBody>
      </p:sp>
      <p:sp>
        <p:nvSpPr>
          <p:cNvPr id="11" name="Symbol zastępczy tekstu 2"/>
          <p:cNvSpPr>
            <a:spLocks noGrp="1"/>
          </p:cNvSpPr>
          <p:nvPr>
            <p:ph type="body" sz="quarter" idx="20" hasCustomPrompt="1"/>
          </p:nvPr>
        </p:nvSpPr>
        <p:spPr>
          <a:xfrm>
            <a:off x="455937" y="4869016"/>
            <a:ext cx="4997672" cy="168000"/>
          </a:xfrm>
          <a:noFill/>
          <a:ln>
            <a:noFill/>
          </a:ln>
          <a:effectLst/>
        </p:spPr>
        <p:txBody>
          <a:bodyPr anchor="t"/>
          <a:lstStyle>
            <a:lvl1pPr marL="0" indent="0">
              <a:lnSpc>
                <a:spcPct val="80000"/>
              </a:lnSpc>
              <a:buFontTx/>
              <a:buNone/>
              <a:defRPr sz="1467" b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 marL="575986" indent="0">
              <a:buFontTx/>
              <a:buNone/>
              <a:defRPr sz="1600"/>
            </a:lvl2pPr>
            <a:lvl3pPr marL="1151971" indent="0">
              <a:buFontTx/>
              <a:buNone/>
              <a:defRPr sz="1600"/>
            </a:lvl3pPr>
            <a:lvl4pPr marL="1727957" indent="0">
              <a:buFontTx/>
              <a:buNone/>
              <a:defRPr sz="1600"/>
            </a:lvl4pPr>
            <a:lvl5pPr marL="2303942" indent="0">
              <a:buFontTx/>
              <a:buNone/>
              <a:defRPr sz="1600"/>
            </a:lvl5pPr>
          </a:lstStyle>
          <a:p>
            <a:pPr lvl="0"/>
            <a:r>
              <a:rPr lang="pl-PL" dirty="0" err="1"/>
              <a:t>xxxxxxxxxxxxxxxxx</a:t>
            </a:r>
            <a:endParaRPr lang="pl-PL" dirty="0"/>
          </a:p>
        </p:txBody>
      </p:sp>
      <p:sp>
        <p:nvSpPr>
          <p:cNvPr id="4" name="Prostokąt 3">
            <a:extLst>
              <a:ext uri="{FF2B5EF4-FFF2-40B4-BE49-F238E27FC236}">
                <a16:creationId xmlns:a16="http://schemas.microsoft.com/office/drawing/2014/main" id="{F89DDC0A-C8A3-D16B-6C20-24F73F60C148}"/>
              </a:ext>
            </a:extLst>
          </p:cNvPr>
          <p:cNvSpPr/>
          <p:nvPr userDrawn="1"/>
        </p:nvSpPr>
        <p:spPr>
          <a:xfrm>
            <a:off x="11376059" y="6257116"/>
            <a:ext cx="720008" cy="54896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 dirty="0"/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879354D9-10E9-75FC-A7C3-07B26F2F45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3339" y="5597691"/>
            <a:ext cx="2653335" cy="1327864"/>
          </a:xfrm>
          <a:prstGeom prst="rect">
            <a:avLst/>
          </a:prstGeom>
        </p:spPr>
      </p:pic>
      <p:sp>
        <p:nvSpPr>
          <p:cNvPr id="8" name="pole tekstowe 7">
            <a:extLst>
              <a:ext uri="{FF2B5EF4-FFF2-40B4-BE49-F238E27FC236}">
                <a16:creationId xmlns:a16="http://schemas.microsoft.com/office/drawing/2014/main" id="{8ACB1BDD-6445-8BEB-AF5D-6D12348970EE}"/>
              </a:ext>
            </a:extLst>
          </p:cNvPr>
          <p:cNvSpPr txBox="1"/>
          <p:nvPr userDrawn="1"/>
        </p:nvSpPr>
        <p:spPr>
          <a:xfrm>
            <a:off x="8736031" y="188869"/>
            <a:ext cx="3120035" cy="7217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anchor="ctr">
            <a:spAutoFit/>
          </a:bodyPr>
          <a:lstStyle/>
          <a:p>
            <a:pPr marL="0" marR="0" lvl="0" indent="0" algn="r" defTabSz="11006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>
                <a:solidFill>
                  <a:srgbClr val="199FA1"/>
                </a:solidFill>
              </a:defRPr>
            </a:pPr>
            <a:r>
              <a:rPr kumimoji="0" lang="pl-PL" sz="1267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sym typeface="Helvetica Neue Medium"/>
              </a:rPr>
              <a:t>Codziennie działamy na rzecz</a:t>
            </a:r>
            <a:br>
              <a:rPr kumimoji="0" lang="pl-PL" sz="1267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sym typeface="Helvetica Neue Medium"/>
              </a:rPr>
            </a:br>
            <a:r>
              <a:rPr kumimoji="0" lang="pl-PL" sz="1267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sym typeface="Helvetica Neue Medium"/>
              </a:rPr>
              <a:t>naszych klientów i społeczeństwa</a:t>
            </a:r>
          </a:p>
          <a:p>
            <a:pPr marL="0" marR="0" indent="0" algn="r" defTabSz="110063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l-PL" sz="1267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+mj-lt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3277953519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ona przekładkowa 1">
    <p:bg>
      <p:bgPr>
        <a:solidFill>
          <a:srgbClr val="00959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695940" y="673100"/>
            <a:ext cx="7816499" cy="5511800"/>
          </a:xfrm>
        </p:spPr>
        <p:txBody>
          <a:bodyPr anchor="ctr" anchorCtr="0"/>
          <a:lstStyle>
            <a:lvl1pPr>
              <a:defRPr sz="3733" b="1" cap="all" baseline="0">
                <a:solidFill>
                  <a:schemeClr val="bg1"/>
                </a:solidFill>
              </a:defRPr>
            </a:lvl1pPr>
          </a:lstStyle>
          <a:p>
            <a:r>
              <a:rPr lang="pl-PL" noProof="0" dirty="0"/>
              <a:t>Slajd przekładkowy</a:t>
            </a:r>
          </a:p>
        </p:txBody>
      </p:sp>
      <p:sp>
        <p:nvSpPr>
          <p:cNvPr id="3" name="Prostokąt 2">
            <a:extLst>
              <a:ext uri="{FF2B5EF4-FFF2-40B4-BE49-F238E27FC236}">
                <a16:creationId xmlns:a16="http://schemas.microsoft.com/office/drawing/2014/main" id="{E1D126D6-0B64-6919-8837-ED74CA354962}"/>
              </a:ext>
            </a:extLst>
          </p:cNvPr>
          <p:cNvSpPr/>
          <p:nvPr userDrawn="1"/>
        </p:nvSpPr>
        <p:spPr>
          <a:xfrm>
            <a:off x="11376059" y="6309032"/>
            <a:ext cx="720008" cy="48000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 dirty="0"/>
          </a:p>
        </p:txBody>
      </p:sp>
    </p:spTree>
    <p:extLst>
      <p:ext uri="{BB962C8B-B14F-4D97-AF65-F5344CB8AC3E}">
        <p14:creationId xmlns:p14="http://schemas.microsoft.com/office/powerpoint/2010/main" val="1849353099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3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rgbClr val="008789"/>
                </a:solidFill>
              </a:rPr>
              <a:t>Tytuł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629833"/>
            <a:ext cx="10835216" cy="4438651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62A1738F-BB0C-3D7B-C370-D2453226EFA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N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05483229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6901" y="370813"/>
            <a:ext cx="570400" cy="332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8482803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ajd z tekstem 2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3582"/>
            <a:ext cx="10824633" cy="1295399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rgbClr val="008789"/>
                </a:solidFill>
              </a:rPr>
              <a:t>Tytuł </a:t>
            </a:r>
            <a:br>
              <a:rPr lang="pl-PL" dirty="0">
                <a:solidFill>
                  <a:srgbClr val="008789"/>
                </a:solidFill>
              </a:rPr>
            </a:br>
            <a:r>
              <a:rPr lang="pl-PL" dirty="0">
                <a:solidFill>
                  <a:srgbClr val="008789"/>
                </a:solidFill>
              </a:rPr>
              <a:t>na dwie linie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2108985"/>
            <a:ext cx="10835216" cy="3959499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A89FAB4E-5FFF-5BF4-4C4D-D184B9D007B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N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670874446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962383"/>
            <a:ext cx="10835216" cy="4106100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924311" y="1457657"/>
            <a:ext cx="10801351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rgbClr val="81BC00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  <p:sp>
        <p:nvSpPr>
          <p:cNvPr id="7" name="Tytuł 1">
            <a:extLst>
              <a:ext uri="{FF2B5EF4-FFF2-40B4-BE49-F238E27FC236}">
                <a16:creationId xmlns:a16="http://schemas.microsoft.com/office/drawing/2014/main" id="{3CA16B62-741F-3138-CDB8-71B2887FB2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810D10B6-E01F-72B7-C0C1-C2876195995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N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308786279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3 - dwie kolum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962383"/>
            <a:ext cx="10835216" cy="4106100"/>
          </a:xfrm>
        </p:spPr>
        <p:txBody>
          <a:bodyPr numCol="2" spcCol="180000"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924311" y="1457657"/>
            <a:ext cx="10801351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C441EEDD-7CF9-9BDA-9361-3C8F32B1F91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N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236453890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962383"/>
            <a:ext cx="5291019" cy="4106100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924312" y="1457657"/>
            <a:ext cx="5291691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 1</a:t>
            </a:r>
            <a:endParaRPr lang="pl-PL" dirty="0"/>
          </a:p>
        </p:txBody>
      </p:sp>
      <p:sp>
        <p:nvSpPr>
          <p:cNvPr id="8" name="Symbol zastępczy zawartości 2"/>
          <p:cNvSpPr>
            <a:spLocks noGrp="1"/>
          </p:cNvSpPr>
          <p:nvPr>
            <p:ph sz="quarter" idx="15" hasCustomPrompt="1"/>
          </p:nvPr>
        </p:nvSpPr>
        <p:spPr>
          <a:xfrm>
            <a:off x="6464429" y="1962383"/>
            <a:ext cx="5291019" cy="4106100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13" name="Symbol zastępczy zawartości 4"/>
          <p:cNvSpPr>
            <a:spLocks noGrp="1"/>
          </p:cNvSpPr>
          <p:nvPr>
            <p:ph sz="quarter" idx="16" hasCustomPrompt="1"/>
          </p:nvPr>
        </p:nvSpPr>
        <p:spPr>
          <a:xfrm>
            <a:off x="6463757" y="1457657"/>
            <a:ext cx="5291691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 1</a:t>
            </a:r>
            <a:endParaRPr lang="pl-PL" dirty="0"/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7715A34D-679C-4AC9-9D2F-A4CE67AAB6C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N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132406804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y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3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Cytat</a:t>
            </a:r>
          </a:p>
        </p:txBody>
      </p:sp>
      <p:pic>
        <p:nvPicPr>
          <p:cNvPr id="21" name="Obraz 20">
            <a:extLst>
              <a:ext uri="{FF2B5EF4-FFF2-40B4-BE49-F238E27FC236}">
                <a16:creationId xmlns:a16="http://schemas.microsoft.com/office/drawing/2014/main" id="{51216647-0973-469E-890C-D049E1B0532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39343" y="2063798"/>
            <a:ext cx="390099" cy="1710429"/>
          </a:xfrm>
          <a:prstGeom prst="rect">
            <a:avLst/>
          </a:prstGeom>
        </p:spPr>
      </p:pic>
      <p:sp>
        <p:nvSpPr>
          <p:cNvPr id="3" name="Symbol zastępczy zawartości 2"/>
          <p:cNvSpPr>
            <a:spLocks noGrp="1"/>
          </p:cNvSpPr>
          <p:nvPr>
            <p:ph sz="quarter" idx="14" hasCustomPrompt="1"/>
          </p:nvPr>
        </p:nvSpPr>
        <p:spPr>
          <a:xfrm>
            <a:off x="2237317" y="2063751"/>
            <a:ext cx="9499600" cy="1710267"/>
          </a:xfrm>
        </p:spPr>
        <p:txBody>
          <a:bodyPr/>
          <a:lstStyle>
            <a:lvl1pPr marL="0" indent="0">
              <a:buNone/>
              <a:defRPr sz="3733" b="0" i="1">
                <a:solidFill>
                  <a:srgbClr val="009597"/>
                </a:solidFill>
              </a:defRPr>
            </a:lvl1pPr>
          </a:lstStyle>
          <a:p>
            <a:pPr lvl="0"/>
            <a:r>
              <a:rPr lang="pl-PL" dirty="0" err="1"/>
              <a:t>Lorem</a:t>
            </a:r>
            <a:r>
              <a:rPr lang="pl-PL" dirty="0"/>
              <a:t> </a:t>
            </a:r>
            <a:r>
              <a:rPr lang="pl-PL" dirty="0" err="1"/>
              <a:t>ipsum</a:t>
            </a:r>
            <a:r>
              <a:rPr lang="pl-PL" dirty="0"/>
              <a:t> </a:t>
            </a:r>
            <a:r>
              <a:rPr lang="pl-PL" dirty="0" err="1"/>
              <a:t>dolor</a:t>
            </a:r>
            <a:r>
              <a:rPr lang="pl-PL" dirty="0"/>
              <a:t> sit </a:t>
            </a:r>
            <a:r>
              <a:rPr lang="pl-PL" dirty="0" err="1"/>
              <a:t>amet</a:t>
            </a:r>
            <a:r>
              <a:rPr lang="pl-PL" dirty="0"/>
              <a:t>, </a:t>
            </a:r>
            <a:r>
              <a:rPr lang="pl-PL" dirty="0" err="1"/>
              <a:t>consectetur</a:t>
            </a:r>
            <a:r>
              <a:rPr lang="pl-PL" dirty="0"/>
              <a:t> </a:t>
            </a:r>
            <a:r>
              <a:rPr lang="pl-PL" dirty="0" err="1"/>
              <a:t>adipiscing</a:t>
            </a:r>
            <a:r>
              <a:rPr lang="pl-PL" dirty="0"/>
              <a:t> elit, </a:t>
            </a:r>
            <a:r>
              <a:rPr lang="pl-PL" dirty="0" err="1"/>
              <a:t>sed</a:t>
            </a:r>
            <a:r>
              <a:rPr lang="pl-PL" dirty="0"/>
              <a:t> do </a:t>
            </a:r>
            <a:r>
              <a:rPr lang="pl-PL" dirty="0" err="1"/>
              <a:t>eiusmod</a:t>
            </a:r>
            <a:r>
              <a:rPr lang="pl-PL" dirty="0"/>
              <a:t> </a:t>
            </a:r>
            <a:r>
              <a:rPr lang="pl-PL" dirty="0" err="1"/>
              <a:t>tempor</a:t>
            </a:r>
            <a:r>
              <a:rPr lang="pl-PL" dirty="0"/>
              <a:t> </a:t>
            </a:r>
            <a:r>
              <a:rPr lang="pl-PL" dirty="0" err="1"/>
              <a:t>incididunt</a:t>
            </a:r>
            <a:r>
              <a:rPr lang="pl-PL" dirty="0"/>
              <a:t> </a:t>
            </a:r>
            <a:r>
              <a:rPr lang="pl-PL" dirty="0" err="1"/>
              <a:t>ut</a:t>
            </a:r>
            <a:r>
              <a:rPr lang="pl-PL" dirty="0"/>
              <a:t> </a:t>
            </a:r>
            <a:r>
              <a:rPr lang="pl-PL" dirty="0" err="1"/>
              <a:t>labore</a:t>
            </a:r>
            <a:r>
              <a:rPr lang="pl-PL" dirty="0"/>
              <a:t> et </a:t>
            </a:r>
            <a:r>
              <a:rPr lang="pl-PL" dirty="0" err="1"/>
              <a:t>dolore</a:t>
            </a:r>
            <a:r>
              <a:rPr lang="pl-PL" dirty="0"/>
              <a:t> </a:t>
            </a:r>
            <a:r>
              <a:rPr lang="pl-PL" dirty="0" err="1"/>
              <a:t>magna</a:t>
            </a:r>
            <a:r>
              <a:rPr lang="pl-PL" dirty="0"/>
              <a:t> </a:t>
            </a:r>
            <a:r>
              <a:rPr lang="pl-PL" dirty="0" err="1"/>
              <a:t>aliqua</a:t>
            </a:r>
            <a:endParaRPr lang="pl-PL" dirty="0"/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5" hasCustomPrompt="1"/>
          </p:nvPr>
        </p:nvSpPr>
        <p:spPr>
          <a:xfrm>
            <a:off x="2236597" y="4411361"/>
            <a:ext cx="9457267" cy="1176867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 err="1"/>
              <a:t>Lorem</a:t>
            </a:r>
            <a:r>
              <a:rPr lang="pl-PL" dirty="0"/>
              <a:t> </a:t>
            </a:r>
            <a:r>
              <a:rPr lang="pl-PL" dirty="0" err="1"/>
              <a:t>ipsum</a:t>
            </a:r>
            <a:endParaRPr lang="pl-PL" dirty="0"/>
          </a:p>
          <a:p>
            <a:pPr lvl="0"/>
            <a:r>
              <a:rPr lang="pl-PL" dirty="0" err="1"/>
              <a:t>Lorem</a:t>
            </a:r>
            <a:r>
              <a:rPr lang="pl-PL" dirty="0"/>
              <a:t> </a:t>
            </a:r>
            <a:r>
              <a:rPr lang="pl-PL" dirty="0" err="1"/>
              <a:t>ipsum</a:t>
            </a:r>
            <a:r>
              <a:rPr lang="pl-PL" dirty="0"/>
              <a:t> </a:t>
            </a:r>
            <a:r>
              <a:rPr lang="pl-PL" dirty="0" err="1"/>
              <a:t>dolor</a:t>
            </a:r>
            <a:r>
              <a:rPr lang="pl-PL" dirty="0"/>
              <a:t> sit </a:t>
            </a:r>
            <a:r>
              <a:rPr lang="pl-PL" dirty="0" err="1"/>
              <a:t>amet</a:t>
            </a:r>
            <a:r>
              <a:rPr lang="pl-PL" dirty="0"/>
              <a:t>, </a:t>
            </a:r>
            <a:r>
              <a:rPr lang="pl-PL" dirty="0" err="1"/>
              <a:t>consectetur</a:t>
            </a:r>
            <a:r>
              <a:rPr lang="pl-PL" dirty="0"/>
              <a:t> </a:t>
            </a:r>
            <a:r>
              <a:rPr lang="pl-PL" dirty="0" err="1"/>
              <a:t>adipiscing</a:t>
            </a:r>
            <a:endParaRPr lang="pl-PL" dirty="0"/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867D99D1-2028-B6E8-E491-A5E301624B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N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773203422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e zdjęcie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962384"/>
            <a:ext cx="4931013" cy="3746643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924311" y="1457657"/>
            <a:ext cx="4931687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  <p:sp>
        <p:nvSpPr>
          <p:cNvPr id="8" name="Symbol zastępczy obrazu 4"/>
          <p:cNvSpPr>
            <a:spLocks noGrp="1"/>
          </p:cNvSpPr>
          <p:nvPr>
            <p:ph type="pic" sz="quarter" idx="15" hasCustomPrompt="1"/>
          </p:nvPr>
        </p:nvSpPr>
        <p:spPr>
          <a:xfrm>
            <a:off x="6032501" y="1454151"/>
            <a:ext cx="5727700" cy="4254875"/>
          </a:xfrm>
        </p:spPr>
        <p:txBody>
          <a:bodyPr/>
          <a:lstStyle>
            <a:lvl1pPr marL="0" indent="0" algn="ctr">
              <a:buFontTx/>
              <a:buNone/>
              <a:defRPr b="0">
                <a:solidFill>
                  <a:schemeClr val="accent3"/>
                </a:solidFill>
              </a:defRPr>
            </a:lvl1pPr>
          </a:lstStyle>
          <a:p>
            <a:r>
              <a:rPr lang="pl-PL" dirty="0"/>
              <a:t>Wstaw obraz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7814CC9E-C65F-165E-0604-3A6392D28D7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N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720095858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e zdjęci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6829187" y="1962384"/>
            <a:ext cx="4931013" cy="3866643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6828514" y="1457657"/>
            <a:ext cx="4931687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  <p:sp>
        <p:nvSpPr>
          <p:cNvPr id="8" name="Symbol zastępczy obrazu 4"/>
          <p:cNvSpPr>
            <a:spLocks noGrp="1"/>
          </p:cNvSpPr>
          <p:nvPr>
            <p:ph type="pic" sz="quarter" idx="15" hasCustomPrompt="1"/>
          </p:nvPr>
        </p:nvSpPr>
        <p:spPr>
          <a:xfrm>
            <a:off x="944105" y="1454150"/>
            <a:ext cx="5511900" cy="4374876"/>
          </a:xfrm>
        </p:spPr>
        <p:txBody>
          <a:bodyPr/>
          <a:lstStyle>
            <a:lvl1pPr marL="0" indent="0" algn="ctr">
              <a:buFontTx/>
              <a:buNone/>
              <a:defRPr b="0">
                <a:solidFill>
                  <a:schemeClr val="accent3"/>
                </a:solidFill>
              </a:defRPr>
            </a:lvl1pPr>
          </a:lstStyle>
          <a:p>
            <a:r>
              <a:rPr lang="pl-PL" dirty="0"/>
              <a:t>Wstaw obraz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EBCA5C9C-CE6F-B4C4-7578-B6C3BC9C612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N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816865101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ajd z tytułem 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B7427E44-54E6-E838-7FF3-8BDA8E814DD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N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998304761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Strona zamykająca 2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az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1405" y="5229020"/>
            <a:ext cx="8160091" cy="1198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7553515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rona zamykając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az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8904" y="5177367"/>
            <a:ext cx="7998736" cy="1174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6318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>
          <a:xfrm>
            <a:off x="0" y="5279186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31" t="8741" r="102" b="27"/>
          <a:stretch/>
        </p:blipFill>
        <p:spPr>
          <a:xfrm rot="16200000" flipH="1">
            <a:off x="8471923" y="1973272"/>
            <a:ext cx="580573" cy="6858000"/>
          </a:xfrm>
          <a:prstGeom prst="rect">
            <a:avLst/>
          </a:prstGeom>
        </p:spPr>
      </p:pic>
      <p:pic>
        <p:nvPicPr>
          <p:cNvPr id="15" name="TitleAndEndImages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895" b="26003"/>
          <a:stretch/>
        </p:blipFill>
        <p:spPr>
          <a:xfrm>
            <a:off x="0" y="1"/>
            <a:ext cx="12192000" cy="5276851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 bwMode="black">
          <a:xfrm>
            <a:off x="630938" y="626200"/>
            <a:ext cx="6742321" cy="5529600"/>
          </a:xfrm>
          <a:prstGeom prst="rect">
            <a:avLst/>
          </a:prstGeom>
          <a:gradFill flip="none" rotWithShape="1">
            <a:gsLst>
              <a:gs pos="0">
                <a:srgbClr val="009999"/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8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5"/>
            <a:ext cx="6868800" cy="313842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</p:spTree>
    <p:extLst>
      <p:ext uri="{BB962C8B-B14F-4D97-AF65-F5344CB8AC3E}">
        <p14:creationId xmlns:p14="http://schemas.microsoft.com/office/powerpoint/2010/main" val="1034424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push dir="u"/>
      </p:transition>
    </mc:Choice>
    <mc:Fallback xmlns="">
      <p:transition spd="slow">
        <p:push dir="u"/>
      </p:transition>
    </mc:Fallback>
  </mc:AlternateConten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ajd z tekste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696384" y="1706467"/>
            <a:ext cx="11063816" cy="4002560"/>
          </a:xfrm>
        </p:spPr>
        <p:txBody>
          <a:bodyPr/>
          <a:lstStyle>
            <a:lvl1pPr marL="0" indent="0">
              <a:buClr>
                <a:srgbClr val="009597"/>
              </a:buClr>
              <a:buSzPct val="100000"/>
              <a:buFont typeface="Wingdings" panose="05000000000000000000" pitchFamily="2" charset="2"/>
              <a:buNone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15" name="Symbol zastępczy tekstu 14">
            <a:extLst>
              <a:ext uri="{FF2B5EF4-FFF2-40B4-BE49-F238E27FC236}">
                <a16:creationId xmlns:a16="http://schemas.microsoft.com/office/drawing/2014/main" id="{75958753-1E7F-4CDB-BEF2-23E9D805CF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6384" y="426427"/>
            <a:ext cx="11063816" cy="778933"/>
          </a:xfrm>
        </p:spPr>
        <p:txBody>
          <a:bodyPr anchor="ctr"/>
          <a:lstStyle>
            <a:lvl1pPr marL="0" indent="0">
              <a:buNone/>
              <a:defRPr sz="2667">
                <a:solidFill>
                  <a:schemeClr val="accent1"/>
                </a:solidFill>
              </a:defRPr>
            </a:lvl1pPr>
          </a:lstStyle>
          <a:p>
            <a:pPr lvl="0"/>
            <a:r>
              <a:rPr lang="pl-PL" dirty="0"/>
              <a:t>KLIKNIJ, ABY EDYTOWAĆ</a:t>
            </a:r>
            <a:endParaRPr lang="en-US" dirty="0"/>
          </a:p>
        </p:txBody>
      </p:sp>
      <p:sp>
        <p:nvSpPr>
          <p:cNvPr id="5" name="pole tekstowe 4">
            <a:extLst>
              <a:ext uri="{FF2B5EF4-FFF2-40B4-BE49-F238E27FC236}">
                <a16:creationId xmlns:a16="http://schemas.microsoft.com/office/drawing/2014/main" id="{778FF4C5-C9B4-45BB-A4B9-F29C6A642C26}"/>
              </a:ext>
            </a:extLst>
          </p:cNvPr>
          <p:cNvSpPr txBox="1"/>
          <p:nvPr userDrawn="1"/>
        </p:nvSpPr>
        <p:spPr>
          <a:xfrm>
            <a:off x="11040550" y="6377039"/>
            <a:ext cx="719393" cy="218496"/>
          </a:xfrm>
          <a:prstGeom prst="rect">
            <a:avLst/>
          </a:prstGeom>
          <a:noFill/>
        </p:spPr>
        <p:txBody>
          <a:bodyPr wrap="square" r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68C236-A9E6-4715-A6FB-E5B3966AF073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en-US" sz="1333" b="0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Dowolny kształt: kształt 7">
            <a:extLst>
              <a:ext uri="{FF2B5EF4-FFF2-40B4-BE49-F238E27FC236}">
                <a16:creationId xmlns:a16="http://schemas.microsoft.com/office/drawing/2014/main" id="{F5D26FF7-222C-49D3-A138-CC671D6FFF8F}"/>
              </a:ext>
            </a:extLst>
          </p:cNvPr>
          <p:cNvSpPr/>
          <p:nvPr userDrawn="1"/>
        </p:nvSpPr>
        <p:spPr>
          <a:xfrm>
            <a:off x="239184" y="262466"/>
            <a:ext cx="11952819" cy="5926668"/>
          </a:xfrm>
          <a:custGeom>
            <a:avLst/>
            <a:gdLst>
              <a:gd name="connsiteX0" fmla="*/ 214185 w 8891587"/>
              <a:gd name="connsiteY0" fmla="*/ 0 h 4319997"/>
              <a:gd name="connsiteX1" fmla="*/ 8875455 w 8891587"/>
              <a:gd name="connsiteY1" fmla="*/ 0 h 4319997"/>
              <a:gd name="connsiteX2" fmla="*/ 8891587 w 8891587"/>
              <a:gd name="connsiteY2" fmla="*/ 1626 h 4319997"/>
              <a:gd name="connsiteX3" fmla="*/ 8891587 w 8891587"/>
              <a:gd name="connsiteY3" fmla="*/ 4318371 h 4319997"/>
              <a:gd name="connsiteX4" fmla="*/ 8875455 w 8891587"/>
              <a:gd name="connsiteY4" fmla="*/ 4319997 h 4319997"/>
              <a:gd name="connsiteX5" fmla="*/ 214185 w 8891587"/>
              <a:gd name="connsiteY5" fmla="*/ 4319997 h 4319997"/>
              <a:gd name="connsiteX6" fmla="*/ 0 w 8891587"/>
              <a:gd name="connsiteY6" fmla="*/ 4105812 h 4319997"/>
              <a:gd name="connsiteX7" fmla="*/ 0 w 8891587"/>
              <a:gd name="connsiteY7" fmla="*/ 214185 h 4319997"/>
              <a:gd name="connsiteX8" fmla="*/ 214185 w 8891587"/>
              <a:gd name="connsiteY8" fmla="*/ 0 h 4319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91587" h="4319997">
                <a:moveTo>
                  <a:pt x="214185" y="0"/>
                </a:moveTo>
                <a:lnTo>
                  <a:pt x="8875455" y="0"/>
                </a:lnTo>
                <a:lnTo>
                  <a:pt x="8891587" y="1626"/>
                </a:lnTo>
                <a:lnTo>
                  <a:pt x="8891587" y="4318371"/>
                </a:lnTo>
                <a:lnTo>
                  <a:pt x="8875455" y="4319997"/>
                </a:lnTo>
                <a:lnTo>
                  <a:pt x="214185" y="4319997"/>
                </a:lnTo>
                <a:cubicBezTo>
                  <a:pt x="95894" y="4319997"/>
                  <a:pt x="0" y="4224103"/>
                  <a:pt x="0" y="4105812"/>
                </a:cubicBezTo>
                <a:lnTo>
                  <a:pt x="0" y="214185"/>
                </a:lnTo>
                <a:cubicBezTo>
                  <a:pt x="0" y="95894"/>
                  <a:pt x="95894" y="0"/>
                  <a:pt x="214185" y="0"/>
                </a:cubicBezTo>
                <a:close/>
              </a:path>
            </a:pathLst>
          </a:cu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626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411F28D-3D7E-44A5-94F6-6A806E47A34B}"/>
              </a:ext>
            </a:extLst>
          </p:cNvPr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>
            <a:off x="239185" y="6377039"/>
            <a:ext cx="1737783" cy="222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6307687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trona tytułowa z motyw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Espace réservé pour une image  15"/>
          <p:cNvSpPr>
            <a:spLocks noGrp="1"/>
          </p:cNvSpPr>
          <p:nvPr>
            <p:ph type="pic" sz="quarter" idx="19" hasCustomPrompt="1"/>
          </p:nvPr>
        </p:nvSpPr>
        <p:spPr>
          <a:xfrm>
            <a:off x="340800" y="326400"/>
            <a:ext cx="11856000" cy="5856000"/>
          </a:xfrm>
          <a:custGeom>
            <a:avLst/>
            <a:gdLst>
              <a:gd name="connsiteX0" fmla="*/ 244898 w 8892000"/>
              <a:gd name="connsiteY0" fmla="*/ 0 h 4392000"/>
              <a:gd name="connsiteX1" fmla="*/ 3420000 w 8892000"/>
              <a:gd name="connsiteY1" fmla="*/ 0 h 4392000"/>
              <a:gd name="connsiteX2" fmla="*/ 8647102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4898 h 4392000"/>
              <a:gd name="connsiteX5" fmla="*/ 8892000 w 8892000"/>
              <a:gd name="connsiteY5" fmla="*/ 4147102 h 4392000"/>
              <a:gd name="connsiteX6" fmla="*/ 8892000 w 8892000"/>
              <a:gd name="connsiteY6" fmla="*/ 4392000 h 4392000"/>
              <a:gd name="connsiteX7" fmla="*/ 8647102 w 8892000"/>
              <a:gd name="connsiteY7" fmla="*/ 4392000 h 4392000"/>
              <a:gd name="connsiteX8" fmla="*/ 3420000 w 8892000"/>
              <a:gd name="connsiteY8" fmla="*/ 4392000 h 4392000"/>
              <a:gd name="connsiteX9" fmla="*/ 244898 w 8892000"/>
              <a:gd name="connsiteY9" fmla="*/ 4392000 h 4392000"/>
              <a:gd name="connsiteX10" fmla="*/ 0 w 8892000"/>
              <a:gd name="connsiteY10" fmla="*/ 4147102 h 4392000"/>
              <a:gd name="connsiteX11" fmla="*/ 0 w 8892000"/>
              <a:gd name="connsiteY11" fmla="*/ 244898 h 4392000"/>
              <a:gd name="connsiteX12" fmla="*/ 244898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4898" y="0"/>
                </a:moveTo>
                <a:lnTo>
                  <a:pt x="3420000" y="0"/>
                </a:lnTo>
                <a:lnTo>
                  <a:pt x="8647102" y="0"/>
                </a:lnTo>
                <a:lnTo>
                  <a:pt x="8892000" y="0"/>
                </a:lnTo>
                <a:lnTo>
                  <a:pt x="8892000" y="244898"/>
                </a:lnTo>
                <a:lnTo>
                  <a:pt x="8892000" y="4147102"/>
                </a:lnTo>
                <a:lnTo>
                  <a:pt x="8892000" y="4392000"/>
                </a:lnTo>
                <a:lnTo>
                  <a:pt x="8647102" y="4392000"/>
                </a:lnTo>
                <a:lnTo>
                  <a:pt x="3420000" y="4392000"/>
                </a:lnTo>
                <a:lnTo>
                  <a:pt x="244898" y="4392000"/>
                </a:lnTo>
                <a:cubicBezTo>
                  <a:pt x="109645" y="4392000"/>
                  <a:pt x="0" y="4282355"/>
                  <a:pt x="0" y="4147102"/>
                </a:cubicBezTo>
                <a:lnTo>
                  <a:pt x="0" y="244898"/>
                </a:lnTo>
                <a:cubicBezTo>
                  <a:pt x="0" y="109645"/>
                  <a:pt x="109645" y="0"/>
                  <a:pt x="244898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tIns="1260000" anchor="t">
            <a:noAutofit/>
          </a:bodyPr>
          <a:lstStyle>
            <a:lvl1pPr marL="0" indent="0" algn="ctr">
              <a:buFontTx/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r>
              <a:rPr lang="pl-PL" noProof="0"/>
              <a:t>Kliknij ikonę, aby dodać zdjęcie tła</a:t>
            </a:r>
            <a:br>
              <a:rPr lang="pl-PL" noProof="0"/>
            </a:br>
            <a:r>
              <a:rPr lang="pl-PL" noProof="0"/>
              <a:t>(Wybierz obraz prawym przyciskiem myszy / Ustaw jako tło)</a:t>
            </a:r>
          </a:p>
        </p:txBody>
      </p:sp>
      <p:sp>
        <p:nvSpPr>
          <p:cNvPr id="19" name="Espace réservé du texte 13"/>
          <p:cNvSpPr>
            <a:spLocks noGrp="1" noChangeAspect="1"/>
          </p:cNvSpPr>
          <p:nvPr>
            <p:ph type="body" sz="quarter" idx="17" hasCustomPrompt="1"/>
          </p:nvPr>
        </p:nvSpPr>
        <p:spPr bwMode="gray">
          <a:xfrm>
            <a:off x="5616000" y="1"/>
            <a:ext cx="960000" cy="823385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33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pic>
        <p:nvPicPr>
          <p:cNvPr id="25" name="Obraz 24" descr="CA_logo symetryczne 1L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8234" y="6281744"/>
            <a:ext cx="1519221" cy="480053"/>
          </a:xfrm>
          <a:prstGeom prst="rect">
            <a:avLst/>
          </a:prstGeom>
        </p:spPr>
      </p:pic>
      <p:sp>
        <p:nvSpPr>
          <p:cNvPr id="37" name="Rectangle 9"/>
          <p:cNvSpPr/>
          <p:nvPr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7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Espace réservé de la date 5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defTabSz="467539"/>
            <a:fld id="{CC44E193-3D74-4D8F-88EB-6A0476FD7274}" type="datetime5">
              <a:rPr lang="en-US" smtClean="0">
                <a:solidFill>
                  <a:srgbClr val="009597">
                    <a:alpha val="0"/>
                  </a:srgbClr>
                </a:solidFill>
              </a:rPr>
              <a:pPr defTabSz="467539"/>
              <a:t>9-Mar-26</a:t>
            </a:fld>
            <a:endParaRPr lang="fr-FR" dirty="0">
              <a:solidFill>
                <a:srgbClr val="009597">
                  <a:alpha val="0"/>
                </a:srgbClr>
              </a:solidFill>
            </a:endParaRPr>
          </a:p>
        </p:txBody>
      </p:sp>
      <p:sp>
        <p:nvSpPr>
          <p:cNvPr id="39" name="Espace réservé du numéro de diapositive 6"/>
          <p:cNvSpPr>
            <a:spLocks noGrp="1"/>
          </p:cNvSpPr>
          <p:nvPr>
            <p:ph type="sldNum" sz="quarter" idx="11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defTabSz="467539"/>
            <a:fld id="{10C140CD-8AED-46FF-A9A2-77308F3F39AE}" type="slidenum">
              <a:rPr lang="fr-FR" smtClean="0">
                <a:solidFill>
                  <a:srgbClr val="009597">
                    <a:alpha val="0"/>
                  </a:srgbClr>
                </a:solidFill>
              </a:rPr>
              <a:pPr defTabSz="467539"/>
              <a:t>‹N›</a:t>
            </a:fld>
            <a:endParaRPr lang="fr-FR" dirty="0">
              <a:solidFill>
                <a:srgbClr val="009597">
                  <a:alpha val="0"/>
                </a:srgbClr>
              </a:solidFill>
            </a:endParaRPr>
          </a:p>
        </p:txBody>
      </p:sp>
      <p:sp>
        <p:nvSpPr>
          <p:cNvPr id="40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defTabSz="467539"/>
            <a:endParaRPr lang="fr-FR" dirty="0">
              <a:solidFill>
                <a:srgbClr val="009597">
                  <a:alpha val="0"/>
                </a:srgbClr>
              </a:solidFill>
            </a:endParaRPr>
          </a:p>
        </p:txBody>
      </p:sp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2241577" y="3979549"/>
            <a:ext cx="9755320" cy="1440000"/>
          </a:xfrm>
        </p:spPr>
        <p:txBody>
          <a:bodyPr tIns="180000" anchor="ctr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733" b="0" cap="all" baseline="0">
                <a:solidFill>
                  <a:schemeClr val="bg1"/>
                </a:solidFill>
              </a:defRPr>
            </a:lvl1pPr>
          </a:lstStyle>
          <a:p>
            <a:r>
              <a:rPr lang="pl-PL" noProof="0" dirty="0"/>
              <a:t>TYTUŁ PREZENTACJI </a:t>
            </a:r>
            <a:br>
              <a:rPr lang="pl-PL" noProof="0" dirty="0"/>
            </a:br>
            <a:r>
              <a:rPr lang="pl-PL" noProof="0" dirty="0"/>
              <a:t>– Slajd ze zdjęciem</a:t>
            </a:r>
          </a:p>
        </p:txBody>
      </p:sp>
      <p:sp>
        <p:nvSpPr>
          <p:cNvPr id="45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877091" y="4293096"/>
            <a:ext cx="192000" cy="912000"/>
          </a:xfrm>
          <a:prstGeom prst="roundRect">
            <a:avLst>
              <a:gd name="adj" fmla="val 13081"/>
            </a:avLst>
          </a:prstGeom>
          <a:solidFill>
            <a:schemeClr val="bg2"/>
          </a:solid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33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1" name="Symbol zastępczy tekstu 2"/>
          <p:cNvSpPr>
            <a:spLocks noGrp="1"/>
          </p:cNvSpPr>
          <p:nvPr>
            <p:ph type="body" sz="quarter" idx="20" hasCustomPrompt="1"/>
          </p:nvPr>
        </p:nvSpPr>
        <p:spPr>
          <a:xfrm>
            <a:off x="2241577" y="5421687"/>
            <a:ext cx="9755320" cy="168000"/>
          </a:xfrm>
          <a:noFill/>
          <a:ln>
            <a:noFill/>
          </a:ln>
          <a:effectLst/>
        </p:spPr>
        <p:txBody>
          <a:bodyPr anchor="t"/>
          <a:lstStyle>
            <a:lvl1pPr marL="0" indent="0">
              <a:lnSpc>
                <a:spcPct val="80000"/>
              </a:lnSpc>
              <a:buFontTx/>
              <a:buNone/>
              <a:defRPr sz="1200" b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 marL="575986" indent="0">
              <a:buFontTx/>
              <a:buNone/>
              <a:defRPr sz="1600"/>
            </a:lvl2pPr>
            <a:lvl3pPr marL="1151971" indent="0">
              <a:buFontTx/>
              <a:buNone/>
              <a:defRPr sz="1600"/>
            </a:lvl3pPr>
            <a:lvl4pPr marL="1727957" indent="0">
              <a:buFontTx/>
              <a:buNone/>
              <a:defRPr sz="1600"/>
            </a:lvl4pPr>
            <a:lvl5pPr marL="2303942" indent="0">
              <a:buFontTx/>
              <a:buNone/>
              <a:defRPr sz="1600"/>
            </a:lvl5pPr>
          </a:lstStyle>
          <a:p>
            <a:pPr lvl="0"/>
            <a:r>
              <a:rPr lang="pl-PL" dirty="0"/>
              <a:t>Nazwa posiedzenia</a:t>
            </a:r>
          </a:p>
        </p:txBody>
      </p:sp>
      <p:sp>
        <p:nvSpPr>
          <p:cNvPr id="13" name="Symbol zastępczy tekstu 4"/>
          <p:cNvSpPr>
            <a:spLocks noGrp="1"/>
          </p:cNvSpPr>
          <p:nvPr>
            <p:ph type="body" sz="quarter" idx="18" hasCustomPrompt="1"/>
          </p:nvPr>
        </p:nvSpPr>
        <p:spPr>
          <a:xfrm>
            <a:off x="2241577" y="5598384"/>
            <a:ext cx="9755320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80000"/>
              </a:lnSpc>
              <a:buFontTx/>
              <a:buNone/>
              <a:defRPr lang="pl-PL" sz="1200" b="0" dirty="0" smtClean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>
              <a:defRPr lang="pl-PL" sz="1600" dirty="0" smtClean="0"/>
            </a:lvl2pPr>
            <a:lvl3pPr>
              <a:defRPr lang="pl-PL" sz="1600" dirty="0" smtClean="0"/>
            </a:lvl3pPr>
            <a:lvl4pPr>
              <a:defRPr lang="pl-PL" sz="1600" dirty="0" smtClean="0"/>
            </a:lvl4pPr>
            <a:lvl5pPr>
              <a:defRPr lang="pl-PL" sz="1600" dirty="0"/>
            </a:lvl5pPr>
          </a:lstStyle>
          <a:p>
            <a:pPr marL="0" lvl="0" indent="0">
              <a:buFontTx/>
              <a:buNone/>
            </a:pPr>
            <a:r>
              <a:rPr lang="pl-PL" dirty="0"/>
              <a:t>Data posiedzenia</a:t>
            </a:r>
          </a:p>
        </p:txBody>
      </p:sp>
      <p:sp>
        <p:nvSpPr>
          <p:cNvPr id="14" name="Symbol zastępczy tekstu 19"/>
          <p:cNvSpPr>
            <a:spLocks noGrp="1"/>
          </p:cNvSpPr>
          <p:nvPr>
            <p:ph type="body" sz="quarter" idx="21" hasCustomPrompt="1"/>
          </p:nvPr>
        </p:nvSpPr>
        <p:spPr>
          <a:xfrm>
            <a:off x="2241578" y="5774945"/>
            <a:ext cx="9755319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80000"/>
              </a:lnSpc>
              <a:buFontTx/>
              <a:buNone/>
              <a:defRPr lang="pl-PL" sz="1200" b="0" smtClean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>
              <a:defRPr lang="pl-PL" sz="1600" smtClean="0"/>
            </a:lvl2pPr>
            <a:lvl3pPr>
              <a:defRPr lang="pl-PL" sz="1600" smtClean="0"/>
            </a:lvl3pPr>
            <a:lvl4pPr>
              <a:defRPr lang="pl-PL" sz="1600" smtClean="0"/>
            </a:lvl4pPr>
            <a:lvl5pPr>
              <a:defRPr lang="pl-PL" sz="1600"/>
            </a:lvl5pPr>
          </a:lstStyle>
          <a:p>
            <a:pPr marL="0" lvl="0" indent="0">
              <a:buFontTx/>
              <a:buNone/>
            </a:pPr>
            <a:r>
              <a:rPr lang="pl-PL" dirty="0"/>
              <a:t>Imię i nazwisko osoby prezentującej</a:t>
            </a:r>
          </a:p>
        </p:txBody>
      </p:sp>
      <p:sp>
        <p:nvSpPr>
          <p:cNvPr id="15" name="Symbol zastępczy tekstu 21"/>
          <p:cNvSpPr>
            <a:spLocks noGrp="1"/>
          </p:cNvSpPr>
          <p:nvPr>
            <p:ph type="body" sz="quarter" idx="22" hasCustomPrompt="1"/>
          </p:nvPr>
        </p:nvSpPr>
        <p:spPr>
          <a:xfrm>
            <a:off x="2241577" y="5949427"/>
            <a:ext cx="9755320" cy="168000"/>
          </a:xfr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lang="pl-PL" sz="1200" b="0" cap="none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80000"/>
              </a:lnSpc>
              <a:buNone/>
            </a:pPr>
            <a:r>
              <a:rPr lang="pl-PL" dirty="0"/>
              <a:t>Nazwa jednostki organizacyjnej</a:t>
            </a:r>
          </a:p>
        </p:txBody>
      </p:sp>
      <p:sp>
        <p:nvSpPr>
          <p:cNvPr id="17" name="Rectangle 9"/>
          <p:cNvSpPr/>
          <p:nvPr userDrawn="1"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7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pole tekstowe 1">
            <a:extLst>
              <a:ext uri="{FF2B5EF4-FFF2-40B4-BE49-F238E27FC236}">
                <a16:creationId xmlns:a16="http://schemas.microsoft.com/office/drawing/2014/main" id="{7D5D1585-42F7-4A86-AF51-AE239A6F8E8A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5000186" y="6515556"/>
            <a:ext cx="2191627" cy="215444"/>
          </a:xfrm>
          <a:prstGeom prst="rect">
            <a:avLst/>
          </a:prstGeom>
          <a:noFill/>
          <a:ln cmpd="sng">
            <a:noFill/>
          </a:ln>
          <a:extLst>
            <a:ext uri="{91240B29-F687-4F45-9708-019B960494DF}">
              <a14:hiddenLine xmlns:a14="http://schemas.microsoft.com/office/drawing/2010/main" cmpd="sng">
                <a:solidFill>
                  <a:schemeClr val="tx1"/>
                </a:solidFill>
              </a14:hiddenLine>
            </a:ext>
          </a:extLst>
        </p:spPr>
        <p:txBody>
          <a:bodyPr vert="horz" wrap="none" rtlCol="0" anchor="b">
            <a:spAutoFit/>
          </a:bodyPr>
          <a:lstStyle/>
          <a:p>
            <a:pPr marL="0" algn="ctr" defTabSz="914400" rtl="0" eaLnBrk="1" latinLnBrk="0" hangingPunct="1">
              <a:buNone/>
            </a:pPr>
            <a:r>
              <a:rPr lang="pl-PL" sz="800" b="0" i="0" u="none" dirty="0">
                <a:solidFill>
                  <a:srgbClr val="7E93A5"/>
                </a:solidFill>
              </a:rPr>
              <a:t>Do użytku wewnętrznego / </a:t>
            </a:r>
            <a:r>
              <a:rPr lang="pl-PL" sz="800" b="0" i="0" u="none" dirty="0" err="1">
                <a:solidFill>
                  <a:srgbClr val="7E93A5"/>
                </a:solidFill>
              </a:rPr>
              <a:t>Internal</a:t>
            </a:r>
            <a:r>
              <a:rPr lang="pl-PL" sz="800" b="0" i="0" u="none" dirty="0">
                <a:solidFill>
                  <a:srgbClr val="7E93A5"/>
                </a:solidFill>
              </a:rPr>
              <a:t> use (C2)</a:t>
            </a:r>
          </a:p>
        </p:txBody>
      </p:sp>
    </p:spTree>
    <p:extLst>
      <p:ext uri="{BB962C8B-B14F-4D97-AF65-F5344CB8AC3E}">
        <p14:creationId xmlns:p14="http://schemas.microsoft.com/office/powerpoint/2010/main" val="2558248165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ona tytułowa ze zdjęciem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6280731" y="2361347"/>
            <a:ext cx="5575333" cy="1440000"/>
          </a:xfrm>
        </p:spPr>
        <p:txBody>
          <a:bodyPr tIns="180000" anchor="ctr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733" b="1" cap="all" baseline="0">
                <a:solidFill>
                  <a:srgbClr val="009597"/>
                </a:solidFill>
              </a:defRPr>
            </a:lvl1pPr>
          </a:lstStyle>
          <a:p>
            <a:r>
              <a:rPr lang="pl-PL" noProof="0" dirty="0"/>
              <a:t>TYTUŁ PREZENTACJI </a:t>
            </a:r>
            <a:br>
              <a:rPr lang="pl-PL" noProof="0" dirty="0"/>
            </a:br>
            <a:r>
              <a:rPr lang="pl-PL" noProof="0" dirty="0"/>
              <a:t>– Slajd ze zdjęciem</a:t>
            </a:r>
          </a:p>
        </p:txBody>
      </p:sp>
      <p:sp>
        <p:nvSpPr>
          <p:cNvPr id="11" name="Symbol zastępczy tekstu 2"/>
          <p:cNvSpPr>
            <a:spLocks noGrp="1"/>
          </p:cNvSpPr>
          <p:nvPr>
            <p:ph type="body" sz="quarter" idx="20" hasCustomPrompt="1"/>
          </p:nvPr>
        </p:nvSpPr>
        <p:spPr>
          <a:xfrm>
            <a:off x="6280731" y="4615519"/>
            <a:ext cx="4997672" cy="168000"/>
          </a:xfrm>
          <a:noFill/>
          <a:ln>
            <a:noFill/>
          </a:ln>
          <a:effectLst/>
        </p:spPr>
        <p:txBody>
          <a:bodyPr anchor="t"/>
          <a:lstStyle>
            <a:lvl1pPr marL="0" indent="0">
              <a:lnSpc>
                <a:spcPct val="80000"/>
              </a:lnSpc>
              <a:buFontTx/>
              <a:buNone/>
              <a:defRPr sz="1467" b="0">
                <a:ln>
                  <a:noFill/>
                </a:ln>
                <a:solidFill>
                  <a:srgbClr val="009597"/>
                </a:solidFill>
                <a:latin typeface="+mj-lt"/>
              </a:defRPr>
            </a:lvl1pPr>
            <a:lvl2pPr marL="575986" indent="0">
              <a:buFontTx/>
              <a:buNone/>
              <a:defRPr sz="1600"/>
            </a:lvl2pPr>
            <a:lvl3pPr marL="1151971" indent="0">
              <a:buFontTx/>
              <a:buNone/>
              <a:defRPr sz="1600"/>
            </a:lvl3pPr>
            <a:lvl4pPr marL="1727957" indent="0">
              <a:buFontTx/>
              <a:buNone/>
              <a:defRPr sz="1600"/>
            </a:lvl4pPr>
            <a:lvl5pPr marL="2303942" indent="0">
              <a:buFontTx/>
              <a:buNone/>
              <a:defRPr sz="1600"/>
            </a:lvl5pPr>
          </a:lstStyle>
          <a:p>
            <a:pPr lvl="0"/>
            <a:r>
              <a:rPr lang="pl-PL" dirty="0" err="1"/>
              <a:t>xxxxxxxxxxxxxxxxx</a:t>
            </a:r>
            <a:endParaRPr lang="pl-PL" dirty="0"/>
          </a:p>
        </p:txBody>
      </p:sp>
      <p:sp>
        <p:nvSpPr>
          <p:cNvPr id="10" name="Symbol zastępczy obrazu 9">
            <a:extLst>
              <a:ext uri="{FF2B5EF4-FFF2-40B4-BE49-F238E27FC236}">
                <a16:creationId xmlns:a16="http://schemas.microsoft.com/office/drawing/2014/main" id="{71BB64A8-5201-560B-036C-DD2C167D124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75939" y="788971"/>
            <a:ext cx="5216423" cy="517878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pl-PL" noProof="0" dirty="0"/>
          </a:p>
        </p:txBody>
      </p:sp>
      <p:sp>
        <p:nvSpPr>
          <p:cNvPr id="7" name="pole tekstowe 6">
            <a:extLst>
              <a:ext uri="{FF2B5EF4-FFF2-40B4-BE49-F238E27FC236}">
                <a16:creationId xmlns:a16="http://schemas.microsoft.com/office/drawing/2014/main" id="{619EA351-D5B5-7F01-11D2-2725DC11DB3F}"/>
              </a:ext>
            </a:extLst>
          </p:cNvPr>
          <p:cNvSpPr txBox="1"/>
          <p:nvPr userDrawn="1"/>
        </p:nvSpPr>
        <p:spPr>
          <a:xfrm>
            <a:off x="8616029" y="188869"/>
            <a:ext cx="3240036" cy="7217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anchor="ctr">
            <a:spAutoFit/>
          </a:bodyPr>
          <a:lstStyle/>
          <a:p>
            <a:pPr marL="0" marR="0" lvl="0" indent="0" algn="r" defTabSz="11006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>
                <a:solidFill>
                  <a:srgbClr val="199FA1"/>
                </a:solidFill>
              </a:defRPr>
            </a:pPr>
            <a:r>
              <a:rPr kumimoji="0" lang="pl-PL" sz="1267" b="1" i="0" u="none" strike="noStrike" kern="0" cap="none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+mj-lt"/>
                <a:sym typeface="Helvetica Neue Medium"/>
              </a:rPr>
              <a:t>Codziennie działamy na rzecz</a:t>
            </a:r>
            <a:br>
              <a:rPr kumimoji="0" lang="pl-PL" sz="1267" b="1" i="0" u="none" strike="noStrike" kern="0" cap="none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+mj-lt"/>
                <a:sym typeface="Helvetica Neue Medium"/>
              </a:rPr>
            </a:br>
            <a:r>
              <a:rPr kumimoji="0" lang="pl-PL" sz="1267" b="1" i="0" u="none" strike="noStrike" kern="0" cap="none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+mj-lt"/>
                <a:sym typeface="Helvetica Neue Medium"/>
              </a:rPr>
              <a:t>naszych Klientów oraz społeczeństwa</a:t>
            </a:r>
          </a:p>
          <a:p>
            <a:pPr marL="0" marR="0" indent="0" algn="r" defTabSz="110063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l-PL" sz="1267" b="1" i="0" u="none" strike="noStrike" cap="none" spc="0" normalizeH="0" baseline="0" dirty="0">
              <a:ln>
                <a:noFill/>
              </a:ln>
              <a:solidFill>
                <a:srgbClr val="009597"/>
              </a:solidFill>
              <a:effectLst/>
              <a:uFillTx/>
              <a:latin typeface="+mj-lt"/>
              <a:sym typeface="Helvetica Neue Medium"/>
            </a:endParaRPr>
          </a:p>
        </p:txBody>
      </p:sp>
      <p:pic>
        <p:nvPicPr>
          <p:cNvPr id="9" name="Obraz 8">
            <a:extLst>
              <a:ext uri="{FF2B5EF4-FFF2-40B4-BE49-F238E27FC236}">
                <a16:creationId xmlns:a16="http://schemas.microsoft.com/office/drawing/2014/main" id="{4E2A0DB4-C391-F51E-8244-4C5C553553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6041" y="5709026"/>
            <a:ext cx="2274847" cy="1137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821713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rona tytułowa bez zdjęcia">
    <p:bg>
      <p:bgPr>
        <a:solidFill>
          <a:srgbClr val="00959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55938" y="2228987"/>
            <a:ext cx="6360071" cy="1440000"/>
          </a:xfrm>
        </p:spPr>
        <p:txBody>
          <a:bodyPr tIns="180000" anchor="ctr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733" b="1" cap="all" baseline="0">
                <a:solidFill>
                  <a:schemeClr val="bg1"/>
                </a:solidFill>
              </a:defRPr>
            </a:lvl1pPr>
          </a:lstStyle>
          <a:p>
            <a:r>
              <a:rPr lang="pl-PL" noProof="0" dirty="0"/>
              <a:t>TYTUŁ PREZENTACJI </a:t>
            </a:r>
            <a:br>
              <a:rPr lang="pl-PL" noProof="0" dirty="0"/>
            </a:br>
            <a:r>
              <a:rPr lang="pl-PL" noProof="0" dirty="0"/>
              <a:t>– Slajd bez zdjęcia</a:t>
            </a:r>
          </a:p>
        </p:txBody>
      </p:sp>
      <p:sp>
        <p:nvSpPr>
          <p:cNvPr id="11" name="Symbol zastępczy tekstu 2"/>
          <p:cNvSpPr>
            <a:spLocks noGrp="1"/>
          </p:cNvSpPr>
          <p:nvPr>
            <p:ph type="body" sz="quarter" idx="20" hasCustomPrompt="1"/>
          </p:nvPr>
        </p:nvSpPr>
        <p:spPr>
          <a:xfrm>
            <a:off x="455937" y="4869016"/>
            <a:ext cx="4997672" cy="168000"/>
          </a:xfrm>
          <a:noFill/>
          <a:ln>
            <a:noFill/>
          </a:ln>
          <a:effectLst/>
        </p:spPr>
        <p:txBody>
          <a:bodyPr anchor="t"/>
          <a:lstStyle>
            <a:lvl1pPr marL="0" indent="0">
              <a:lnSpc>
                <a:spcPct val="80000"/>
              </a:lnSpc>
              <a:buFontTx/>
              <a:buNone/>
              <a:defRPr sz="1467" b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 marL="575986" indent="0">
              <a:buFontTx/>
              <a:buNone/>
              <a:defRPr sz="1600"/>
            </a:lvl2pPr>
            <a:lvl3pPr marL="1151971" indent="0">
              <a:buFontTx/>
              <a:buNone/>
              <a:defRPr sz="1600"/>
            </a:lvl3pPr>
            <a:lvl4pPr marL="1727957" indent="0">
              <a:buFontTx/>
              <a:buNone/>
              <a:defRPr sz="1600"/>
            </a:lvl4pPr>
            <a:lvl5pPr marL="2303942" indent="0">
              <a:buFontTx/>
              <a:buNone/>
              <a:defRPr sz="1600"/>
            </a:lvl5pPr>
          </a:lstStyle>
          <a:p>
            <a:pPr lvl="0"/>
            <a:r>
              <a:rPr lang="pl-PL" dirty="0" err="1"/>
              <a:t>xxxxxxxxxxxxxxxxx</a:t>
            </a:r>
            <a:endParaRPr lang="pl-PL" dirty="0"/>
          </a:p>
        </p:txBody>
      </p:sp>
      <p:sp>
        <p:nvSpPr>
          <p:cNvPr id="4" name="Prostokąt 3">
            <a:extLst>
              <a:ext uri="{FF2B5EF4-FFF2-40B4-BE49-F238E27FC236}">
                <a16:creationId xmlns:a16="http://schemas.microsoft.com/office/drawing/2014/main" id="{F89DDC0A-C8A3-D16B-6C20-24F73F60C148}"/>
              </a:ext>
            </a:extLst>
          </p:cNvPr>
          <p:cNvSpPr/>
          <p:nvPr userDrawn="1"/>
        </p:nvSpPr>
        <p:spPr>
          <a:xfrm>
            <a:off x="11376059" y="6257116"/>
            <a:ext cx="720008" cy="54896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879354D9-10E9-75FC-A7C3-07B26F2F45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3339" y="5597691"/>
            <a:ext cx="2653335" cy="1327864"/>
          </a:xfrm>
          <a:prstGeom prst="rect">
            <a:avLst/>
          </a:prstGeom>
        </p:spPr>
      </p:pic>
      <p:sp>
        <p:nvSpPr>
          <p:cNvPr id="8" name="pole tekstowe 7">
            <a:extLst>
              <a:ext uri="{FF2B5EF4-FFF2-40B4-BE49-F238E27FC236}">
                <a16:creationId xmlns:a16="http://schemas.microsoft.com/office/drawing/2014/main" id="{8ACB1BDD-6445-8BEB-AF5D-6D12348970EE}"/>
              </a:ext>
            </a:extLst>
          </p:cNvPr>
          <p:cNvSpPr txBox="1"/>
          <p:nvPr userDrawn="1"/>
        </p:nvSpPr>
        <p:spPr>
          <a:xfrm>
            <a:off x="8736031" y="188869"/>
            <a:ext cx="3120035" cy="7217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anchor="ctr">
            <a:spAutoFit/>
          </a:bodyPr>
          <a:lstStyle/>
          <a:p>
            <a:pPr marL="0" marR="0" lvl="0" indent="0" algn="r" defTabSz="11006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>
                <a:solidFill>
                  <a:srgbClr val="199FA1"/>
                </a:solidFill>
              </a:defRPr>
            </a:pPr>
            <a:r>
              <a:rPr kumimoji="0" lang="pl-PL" sz="1267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sym typeface="Helvetica Neue Medium"/>
              </a:rPr>
              <a:t>Codziennie działamy na rzecz</a:t>
            </a:r>
            <a:br>
              <a:rPr kumimoji="0" lang="pl-PL" sz="1267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sym typeface="Helvetica Neue Medium"/>
              </a:rPr>
            </a:br>
            <a:r>
              <a:rPr kumimoji="0" lang="pl-PL" sz="1267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sym typeface="Helvetica Neue Medium"/>
              </a:rPr>
              <a:t>naszych Klientów oraz społeczeństwa</a:t>
            </a:r>
          </a:p>
          <a:p>
            <a:pPr marL="0" marR="0" indent="0" algn="r" defTabSz="110063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l-PL" sz="1267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+mj-lt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1433648247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ona przekładkowa 1">
    <p:bg>
      <p:bgPr>
        <a:solidFill>
          <a:srgbClr val="00959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695940" y="673100"/>
            <a:ext cx="7816499" cy="5511800"/>
          </a:xfrm>
        </p:spPr>
        <p:txBody>
          <a:bodyPr anchor="ctr" anchorCtr="0"/>
          <a:lstStyle>
            <a:lvl1pPr>
              <a:defRPr sz="3733" b="1" cap="all" baseline="0">
                <a:solidFill>
                  <a:schemeClr val="bg1"/>
                </a:solidFill>
              </a:defRPr>
            </a:lvl1pPr>
          </a:lstStyle>
          <a:p>
            <a:r>
              <a:rPr lang="pl-PL" noProof="0" dirty="0"/>
              <a:t>Slajd przekładkowy</a:t>
            </a:r>
          </a:p>
        </p:txBody>
      </p:sp>
      <p:sp>
        <p:nvSpPr>
          <p:cNvPr id="3" name="Prostokąt 2">
            <a:extLst>
              <a:ext uri="{FF2B5EF4-FFF2-40B4-BE49-F238E27FC236}">
                <a16:creationId xmlns:a16="http://schemas.microsoft.com/office/drawing/2014/main" id="{E1D126D6-0B64-6919-8837-ED74CA354962}"/>
              </a:ext>
            </a:extLst>
          </p:cNvPr>
          <p:cNvSpPr/>
          <p:nvPr userDrawn="1"/>
        </p:nvSpPr>
        <p:spPr>
          <a:xfrm>
            <a:off x="11376059" y="6309032"/>
            <a:ext cx="720008" cy="48000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</p:spTree>
    <p:extLst>
      <p:ext uri="{BB962C8B-B14F-4D97-AF65-F5344CB8AC3E}">
        <p14:creationId xmlns:p14="http://schemas.microsoft.com/office/powerpoint/2010/main" val="3282822384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3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rgbClr val="008789"/>
                </a:solidFill>
              </a:rPr>
              <a:t>Tytuł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629833"/>
            <a:ext cx="10835216" cy="4438651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62A1738F-BB0C-3D7B-C370-D2453226EFA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N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923993778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ajd z tekstem 2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3582"/>
            <a:ext cx="10824633" cy="1295399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rgbClr val="008789"/>
                </a:solidFill>
              </a:rPr>
              <a:t>Tytuł </a:t>
            </a:r>
            <a:br>
              <a:rPr lang="pl-PL" dirty="0">
                <a:solidFill>
                  <a:srgbClr val="008789"/>
                </a:solidFill>
              </a:rPr>
            </a:br>
            <a:r>
              <a:rPr lang="pl-PL" dirty="0">
                <a:solidFill>
                  <a:srgbClr val="008789"/>
                </a:solidFill>
              </a:rPr>
              <a:t>na dwie linie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2108985"/>
            <a:ext cx="10835216" cy="3959499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A89FAB4E-5FFF-5BF4-4C4D-D184B9D007B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N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172416397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962383"/>
            <a:ext cx="10835216" cy="4106100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924311" y="1457657"/>
            <a:ext cx="10801351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rgbClr val="81BC00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  <p:sp>
        <p:nvSpPr>
          <p:cNvPr id="7" name="Tytuł 1">
            <a:extLst>
              <a:ext uri="{FF2B5EF4-FFF2-40B4-BE49-F238E27FC236}">
                <a16:creationId xmlns:a16="http://schemas.microsoft.com/office/drawing/2014/main" id="{3CA16B62-741F-3138-CDB8-71B2887FB2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810D10B6-E01F-72B7-C0C1-C2876195995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N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738448677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3 - dwie kolum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962383"/>
            <a:ext cx="10835216" cy="4106100"/>
          </a:xfrm>
        </p:spPr>
        <p:txBody>
          <a:bodyPr numCol="2" spcCol="180000"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924311" y="1457657"/>
            <a:ext cx="10801351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C441EEDD-7CF9-9BDA-9361-3C8F32B1F91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N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949400694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962383"/>
            <a:ext cx="5291019" cy="4106100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924312" y="1457657"/>
            <a:ext cx="5291691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 1</a:t>
            </a:r>
            <a:endParaRPr lang="pl-PL" dirty="0"/>
          </a:p>
        </p:txBody>
      </p:sp>
      <p:sp>
        <p:nvSpPr>
          <p:cNvPr id="8" name="Symbol zastępczy zawartości 2"/>
          <p:cNvSpPr>
            <a:spLocks noGrp="1"/>
          </p:cNvSpPr>
          <p:nvPr>
            <p:ph sz="quarter" idx="15" hasCustomPrompt="1"/>
          </p:nvPr>
        </p:nvSpPr>
        <p:spPr>
          <a:xfrm>
            <a:off x="6464429" y="1962383"/>
            <a:ext cx="5291019" cy="4106100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13" name="Symbol zastępczy zawartości 4"/>
          <p:cNvSpPr>
            <a:spLocks noGrp="1"/>
          </p:cNvSpPr>
          <p:nvPr>
            <p:ph sz="quarter" idx="16" hasCustomPrompt="1"/>
          </p:nvPr>
        </p:nvSpPr>
        <p:spPr>
          <a:xfrm>
            <a:off x="6463757" y="1457657"/>
            <a:ext cx="5291691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 1</a:t>
            </a:r>
            <a:endParaRPr lang="pl-PL" dirty="0"/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7715A34D-679C-4AC9-9D2F-A4CE67AAB6C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N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16404807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>
          <a:xfrm>
            <a:off x="0" y="5279186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31" t="8741" r="102" b="27"/>
          <a:stretch/>
        </p:blipFill>
        <p:spPr>
          <a:xfrm rot="16200000" flipH="1">
            <a:off x="8471923" y="1973272"/>
            <a:ext cx="580573" cy="6858000"/>
          </a:xfrm>
          <a:prstGeom prst="rect">
            <a:avLst/>
          </a:prstGeom>
        </p:spPr>
      </p:pic>
      <p:pic>
        <p:nvPicPr>
          <p:cNvPr id="15" name="TitleAndEndImages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5276851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rgbClr val="009999"/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3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589" indent="0" algn="ctr">
              <a:buNone/>
              <a:defRPr/>
            </a:lvl4pPr>
            <a:lvl5pPr marL="457178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8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5"/>
            <a:ext cx="6868800" cy="313842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16" name="Picture 55" descr="credit-agricole-logo-png-2 | Ignitium Consulting">
            <a:extLst>
              <a:ext uri="{FF2B5EF4-FFF2-40B4-BE49-F238E27FC236}">
                <a16:creationId xmlns:a16="http://schemas.microsoft.com/office/drawing/2014/main" id="{CF5F0279-9EC3-4020-B779-303CBB1A425D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96" t="31369" r="3281" b="33807"/>
          <a:stretch/>
        </p:blipFill>
        <p:spPr bwMode="auto">
          <a:xfrm>
            <a:off x="1117416" y="1045031"/>
            <a:ext cx="2651453" cy="5539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72A2DB07-2A33-41F7-9AD3-927F858A209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366563" y="5570645"/>
            <a:ext cx="186793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436783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push dir="u"/>
      </p:transition>
    </mc:Choice>
    <mc:Fallback xmlns="">
      <p:transition spd="slow">
        <p:push dir="u"/>
      </p:transition>
    </mc:Fallback>
  </mc:AlternateConten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y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3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Cytat</a:t>
            </a:r>
          </a:p>
        </p:txBody>
      </p:sp>
      <p:pic>
        <p:nvPicPr>
          <p:cNvPr id="21" name="Obraz 20">
            <a:extLst>
              <a:ext uri="{FF2B5EF4-FFF2-40B4-BE49-F238E27FC236}">
                <a16:creationId xmlns:a16="http://schemas.microsoft.com/office/drawing/2014/main" id="{51216647-0973-469E-890C-D049E1B0532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39343" y="2063798"/>
            <a:ext cx="390099" cy="1710429"/>
          </a:xfrm>
          <a:prstGeom prst="rect">
            <a:avLst/>
          </a:prstGeom>
        </p:spPr>
      </p:pic>
      <p:sp>
        <p:nvSpPr>
          <p:cNvPr id="3" name="Symbol zastępczy zawartości 2"/>
          <p:cNvSpPr>
            <a:spLocks noGrp="1"/>
          </p:cNvSpPr>
          <p:nvPr>
            <p:ph sz="quarter" idx="14" hasCustomPrompt="1"/>
          </p:nvPr>
        </p:nvSpPr>
        <p:spPr>
          <a:xfrm>
            <a:off x="2237317" y="2063751"/>
            <a:ext cx="9499600" cy="1710267"/>
          </a:xfrm>
        </p:spPr>
        <p:txBody>
          <a:bodyPr/>
          <a:lstStyle>
            <a:lvl1pPr marL="0" indent="0">
              <a:buNone/>
              <a:defRPr sz="3733" b="0" i="1">
                <a:solidFill>
                  <a:srgbClr val="009597"/>
                </a:solidFill>
              </a:defRPr>
            </a:lvl1pPr>
          </a:lstStyle>
          <a:p>
            <a:pPr lvl="0"/>
            <a:r>
              <a:rPr lang="pl-PL" dirty="0" err="1"/>
              <a:t>Lorem</a:t>
            </a:r>
            <a:r>
              <a:rPr lang="pl-PL" dirty="0"/>
              <a:t> </a:t>
            </a:r>
            <a:r>
              <a:rPr lang="pl-PL" dirty="0" err="1"/>
              <a:t>ipsum</a:t>
            </a:r>
            <a:r>
              <a:rPr lang="pl-PL" dirty="0"/>
              <a:t> </a:t>
            </a:r>
            <a:r>
              <a:rPr lang="pl-PL" dirty="0" err="1"/>
              <a:t>dolor</a:t>
            </a:r>
            <a:r>
              <a:rPr lang="pl-PL" dirty="0"/>
              <a:t> sit </a:t>
            </a:r>
            <a:r>
              <a:rPr lang="pl-PL" dirty="0" err="1"/>
              <a:t>amet</a:t>
            </a:r>
            <a:r>
              <a:rPr lang="pl-PL" dirty="0"/>
              <a:t>, </a:t>
            </a:r>
            <a:r>
              <a:rPr lang="pl-PL" dirty="0" err="1"/>
              <a:t>consectetur</a:t>
            </a:r>
            <a:r>
              <a:rPr lang="pl-PL" dirty="0"/>
              <a:t> </a:t>
            </a:r>
            <a:r>
              <a:rPr lang="pl-PL" dirty="0" err="1"/>
              <a:t>adipiscing</a:t>
            </a:r>
            <a:r>
              <a:rPr lang="pl-PL" dirty="0"/>
              <a:t> elit, </a:t>
            </a:r>
            <a:r>
              <a:rPr lang="pl-PL" dirty="0" err="1"/>
              <a:t>sed</a:t>
            </a:r>
            <a:r>
              <a:rPr lang="pl-PL" dirty="0"/>
              <a:t> do </a:t>
            </a:r>
            <a:r>
              <a:rPr lang="pl-PL" dirty="0" err="1"/>
              <a:t>eiusmod</a:t>
            </a:r>
            <a:r>
              <a:rPr lang="pl-PL" dirty="0"/>
              <a:t> </a:t>
            </a:r>
            <a:r>
              <a:rPr lang="pl-PL" dirty="0" err="1"/>
              <a:t>tempor</a:t>
            </a:r>
            <a:r>
              <a:rPr lang="pl-PL" dirty="0"/>
              <a:t> </a:t>
            </a:r>
            <a:r>
              <a:rPr lang="pl-PL" dirty="0" err="1"/>
              <a:t>incididunt</a:t>
            </a:r>
            <a:r>
              <a:rPr lang="pl-PL" dirty="0"/>
              <a:t> </a:t>
            </a:r>
            <a:r>
              <a:rPr lang="pl-PL" dirty="0" err="1"/>
              <a:t>ut</a:t>
            </a:r>
            <a:r>
              <a:rPr lang="pl-PL" dirty="0"/>
              <a:t> </a:t>
            </a:r>
            <a:r>
              <a:rPr lang="pl-PL" dirty="0" err="1"/>
              <a:t>labore</a:t>
            </a:r>
            <a:r>
              <a:rPr lang="pl-PL" dirty="0"/>
              <a:t> et </a:t>
            </a:r>
            <a:r>
              <a:rPr lang="pl-PL" dirty="0" err="1"/>
              <a:t>dolore</a:t>
            </a:r>
            <a:r>
              <a:rPr lang="pl-PL" dirty="0"/>
              <a:t> </a:t>
            </a:r>
            <a:r>
              <a:rPr lang="pl-PL" dirty="0" err="1"/>
              <a:t>magna</a:t>
            </a:r>
            <a:r>
              <a:rPr lang="pl-PL" dirty="0"/>
              <a:t> </a:t>
            </a:r>
            <a:r>
              <a:rPr lang="pl-PL" dirty="0" err="1"/>
              <a:t>aliqua</a:t>
            </a:r>
            <a:endParaRPr lang="pl-PL" dirty="0"/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5" hasCustomPrompt="1"/>
          </p:nvPr>
        </p:nvSpPr>
        <p:spPr>
          <a:xfrm>
            <a:off x="2236597" y="4411361"/>
            <a:ext cx="9457267" cy="1176867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 err="1"/>
              <a:t>Lorem</a:t>
            </a:r>
            <a:r>
              <a:rPr lang="pl-PL" dirty="0"/>
              <a:t> </a:t>
            </a:r>
            <a:r>
              <a:rPr lang="pl-PL" dirty="0" err="1"/>
              <a:t>ipsum</a:t>
            </a:r>
            <a:endParaRPr lang="pl-PL" dirty="0"/>
          </a:p>
          <a:p>
            <a:pPr lvl="0"/>
            <a:r>
              <a:rPr lang="pl-PL" dirty="0" err="1"/>
              <a:t>Lorem</a:t>
            </a:r>
            <a:r>
              <a:rPr lang="pl-PL" dirty="0"/>
              <a:t> </a:t>
            </a:r>
            <a:r>
              <a:rPr lang="pl-PL" dirty="0" err="1"/>
              <a:t>ipsum</a:t>
            </a:r>
            <a:r>
              <a:rPr lang="pl-PL" dirty="0"/>
              <a:t> </a:t>
            </a:r>
            <a:r>
              <a:rPr lang="pl-PL" dirty="0" err="1"/>
              <a:t>dolor</a:t>
            </a:r>
            <a:r>
              <a:rPr lang="pl-PL" dirty="0"/>
              <a:t> sit </a:t>
            </a:r>
            <a:r>
              <a:rPr lang="pl-PL" dirty="0" err="1"/>
              <a:t>amet</a:t>
            </a:r>
            <a:r>
              <a:rPr lang="pl-PL" dirty="0"/>
              <a:t>, </a:t>
            </a:r>
            <a:r>
              <a:rPr lang="pl-PL" dirty="0" err="1"/>
              <a:t>consectetur</a:t>
            </a:r>
            <a:r>
              <a:rPr lang="pl-PL" dirty="0"/>
              <a:t> </a:t>
            </a:r>
            <a:r>
              <a:rPr lang="pl-PL" dirty="0" err="1"/>
              <a:t>adipiscing</a:t>
            </a:r>
            <a:endParaRPr lang="pl-PL" dirty="0"/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867D99D1-2028-B6E8-E491-A5E301624B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N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047122685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e zdjęcie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962384"/>
            <a:ext cx="4931013" cy="3746643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924311" y="1457657"/>
            <a:ext cx="4931687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  <p:sp>
        <p:nvSpPr>
          <p:cNvPr id="8" name="Symbol zastępczy obrazu 4"/>
          <p:cNvSpPr>
            <a:spLocks noGrp="1"/>
          </p:cNvSpPr>
          <p:nvPr>
            <p:ph type="pic" sz="quarter" idx="15" hasCustomPrompt="1"/>
          </p:nvPr>
        </p:nvSpPr>
        <p:spPr>
          <a:xfrm>
            <a:off x="6032501" y="1454151"/>
            <a:ext cx="5727700" cy="4254875"/>
          </a:xfrm>
        </p:spPr>
        <p:txBody>
          <a:bodyPr/>
          <a:lstStyle>
            <a:lvl1pPr marL="0" indent="0" algn="ctr">
              <a:buFontTx/>
              <a:buNone/>
              <a:defRPr b="0">
                <a:solidFill>
                  <a:schemeClr val="accent3"/>
                </a:solidFill>
              </a:defRPr>
            </a:lvl1pPr>
          </a:lstStyle>
          <a:p>
            <a:r>
              <a:rPr lang="pl-PL" dirty="0"/>
              <a:t>Wstaw obraz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7814CC9E-C65F-165E-0604-3A6392D28D7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N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717212075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e zdjęci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6829187" y="1962384"/>
            <a:ext cx="4931013" cy="3866643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6828514" y="1457657"/>
            <a:ext cx="4931687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  <p:sp>
        <p:nvSpPr>
          <p:cNvPr id="8" name="Symbol zastępczy obrazu 4"/>
          <p:cNvSpPr>
            <a:spLocks noGrp="1"/>
          </p:cNvSpPr>
          <p:nvPr>
            <p:ph type="pic" sz="quarter" idx="15" hasCustomPrompt="1"/>
          </p:nvPr>
        </p:nvSpPr>
        <p:spPr>
          <a:xfrm>
            <a:off x="944105" y="1454150"/>
            <a:ext cx="5511900" cy="4374876"/>
          </a:xfrm>
        </p:spPr>
        <p:txBody>
          <a:bodyPr/>
          <a:lstStyle>
            <a:lvl1pPr marL="0" indent="0" algn="ctr">
              <a:buFontTx/>
              <a:buNone/>
              <a:defRPr b="0">
                <a:solidFill>
                  <a:schemeClr val="accent3"/>
                </a:solidFill>
              </a:defRPr>
            </a:lvl1pPr>
          </a:lstStyle>
          <a:p>
            <a:r>
              <a:rPr lang="pl-PL" dirty="0"/>
              <a:t>Wstaw obraz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EBCA5C9C-CE6F-B4C4-7578-B6C3BC9C612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N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695289977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ajd z tytułem 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B7427E44-54E6-E838-7FF3-8BDA8E814DD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N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145677538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Strona zamykająca 2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15127" y="5255491"/>
            <a:ext cx="7952509" cy="1089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014992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rona zamykając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24364" y="5273964"/>
            <a:ext cx="7961745" cy="1071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28188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ona tytułowa ze zdjęciem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6280733" y="2361347"/>
            <a:ext cx="5575335" cy="1440000"/>
          </a:xfrm>
        </p:spPr>
        <p:txBody>
          <a:bodyPr tIns="180000" anchor="ctr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735" b="1" cap="all" baseline="0">
                <a:solidFill>
                  <a:srgbClr val="009597"/>
                </a:solidFill>
              </a:defRPr>
            </a:lvl1pPr>
          </a:lstStyle>
          <a:p>
            <a:r>
              <a:rPr lang="pl-PL" noProof="0" dirty="0"/>
              <a:t>TYTUŁ PREZENTACJI </a:t>
            </a:r>
            <a:br>
              <a:rPr lang="pl-PL" noProof="0" dirty="0"/>
            </a:br>
            <a:r>
              <a:rPr lang="pl-PL" noProof="0" dirty="0"/>
              <a:t>– Slajd ze zdjęciem</a:t>
            </a:r>
          </a:p>
        </p:txBody>
      </p:sp>
      <p:sp>
        <p:nvSpPr>
          <p:cNvPr id="11" name="Symbol zastępczy tekstu 2"/>
          <p:cNvSpPr>
            <a:spLocks noGrp="1"/>
          </p:cNvSpPr>
          <p:nvPr>
            <p:ph type="body" sz="quarter" idx="20" hasCustomPrompt="1"/>
          </p:nvPr>
        </p:nvSpPr>
        <p:spPr>
          <a:xfrm>
            <a:off x="6280731" y="4615519"/>
            <a:ext cx="4997672" cy="168000"/>
          </a:xfrm>
          <a:noFill/>
          <a:ln>
            <a:noFill/>
          </a:ln>
          <a:effectLst/>
        </p:spPr>
        <p:txBody>
          <a:bodyPr anchor="t"/>
          <a:lstStyle>
            <a:lvl1pPr marL="0" indent="0">
              <a:lnSpc>
                <a:spcPct val="80000"/>
              </a:lnSpc>
              <a:buFontTx/>
              <a:buNone/>
              <a:defRPr sz="1467" b="0">
                <a:ln>
                  <a:noFill/>
                </a:ln>
                <a:solidFill>
                  <a:srgbClr val="009597"/>
                </a:solidFill>
                <a:latin typeface="+mj-lt"/>
              </a:defRPr>
            </a:lvl1pPr>
            <a:lvl2pPr marL="575978" indent="0">
              <a:buFontTx/>
              <a:buNone/>
              <a:defRPr sz="1600"/>
            </a:lvl2pPr>
            <a:lvl3pPr marL="1151958" indent="0">
              <a:buFontTx/>
              <a:buNone/>
              <a:defRPr sz="1600"/>
            </a:lvl3pPr>
            <a:lvl4pPr marL="1727935" indent="0">
              <a:buFontTx/>
              <a:buNone/>
              <a:defRPr sz="1600"/>
            </a:lvl4pPr>
            <a:lvl5pPr marL="2303914" indent="0">
              <a:buFontTx/>
              <a:buNone/>
              <a:defRPr sz="1600"/>
            </a:lvl5pPr>
          </a:lstStyle>
          <a:p>
            <a:pPr lvl="0"/>
            <a:r>
              <a:rPr lang="pl-PL" dirty="0" err="1"/>
              <a:t>xxxxxxxxxxxxxxxxx</a:t>
            </a:r>
            <a:endParaRPr lang="pl-PL" dirty="0"/>
          </a:p>
        </p:txBody>
      </p:sp>
      <p:sp>
        <p:nvSpPr>
          <p:cNvPr id="10" name="Symbol zastępczy obrazu 9">
            <a:extLst>
              <a:ext uri="{FF2B5EF4-FFF2-40B4-BE49-F238E27FC236}">
                <a16:creationId xmlns:a16="http://schemas.microsoft.com/office/drawing/2014/main" id="{71BB64A8-5201-560B-036C-DD2C167D124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75943" y="788974"/>
            <a:ext cx="5216423" cy="517878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pl-PL" noProof="0" dirty="0"/>
          </a:p>
        </p:txBody>
      </p:sp>
      <p:sp>
        <p:nvSpPr>
          <p:cNvPr id="7" name="pole tekstowe 6">
            <a:extLst>
              <a:ext uri="{FF2B5EF4-FFF2-40B4-BE49-F238E27FC236}">
                <a16:creationId xmlns:a16="http://schemas.microsoft.com/office/drawing/2014/main" id="{619EA351-D5B5-7F01-11D2-2725DC11DB3F}"/>
              </a:ext>
            </a:extLst>
          </p:cNvPr>
          <p:cNvSpPr txBox="1"/>
          <p:nvPr userDrawn="1"/>
        </p:nvSpPr>
        <p:spPr>
          <a:xfrm>
            <a:off x="8616031" y="188871"/>
            <a:ext cx="3240036" cy="72176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5" tIns="67735" rIns="67735" bIns="67735" numCol="1" spcCol="38100" rtlCol="0" anchor="ctr">
            <a:spAutoFit/>
          </a:bodyPr>
          <a:lstStyle/>
          <a:p>
            <a:pPr marL="0" marR="0" lvl="0" indent="0" algn="r" defTabSz="110062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>
                <a:solidFill>
                  <a:srgbClr val="199FA1"/>
                </a:solidFill>
              </a:defRPr>
            </a:pPr>
            <a:r>
              <a:rPr kumimoji="0" lang="pl-PL" sz="1267" b="1" i="0" u="none" strike="noStrike" kern="0" cap="none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+mj-lt"/>
                <a:sym typeface="Helvetica Neue Medium"/>
              </a:rPr>
              <a:t>Codziennie działamy na rzecz</a:t>
            </a:r>
            <a:br>
              <a:rPr kumimoji="0" lang="pl-PL" sz="1267" b="1" i="0" u="none" strike="noStrike" kern="0" cap="none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+mj-lt"/>
                <a:sym typeface="Helvetica Neue Medium"/>
              </a:rPr>
            </a:br>
            <a:r>
              <a:rPr kumimoji="0" lang="pl-PL" sz="1267" b="1" i="0" u="none" strike="noStrike" kern="0" cap="none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+mj-lt"/>
                <a:sym typeface="Helvetica Neue Medium"/>
              </a:rPr>
              <a:t>naszych Klientów oraz społeczeństwa</a:t>
            </a:r>
          </a:p>
          <a:p>
            <a:pPr marL="0" marR="0" indent="0" algn="r" defTabSz="1100627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l-PL" sz="1267" b="1" i="0" u="none" strike="noStrike" cap="none" spc="0" normalizeH="0" baseline="0" dirty="0">
              <a:ln>
                <a:noFill/>
              </a:ln>
              <a:solidFill>
                <a:srgbClr val="009597"/>
              </a:solidFill>
              <a:effectLst/>
              <a:uFillTx/>
              <a:latin typeface="+mj-lt"/>
              <a:sym typeface="Helvetica Neue Medium"/>
            </a:endParaRPr>
          </a:p>
        </p:txBody>
      </p:sp>
      <p:pic>
        <p:nvPicPr>
          <p:cNvPr id="9" name="Obraz 8">
            <a:extLst>
              <a:ext uri="{FF2B5EF4-FFF2-40B4-BE49-F238E27FC236}">
                <a16:creationId xmlns:a16="http://schemas.microsoft.com/office/drawing/2014/main" id="{4E2A0DB4-C391-F51E-8244-4C5C553553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6043" y="5709025"/>
            <a:ext cx="2274847" cy="1137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8290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push dir="u"/>
      </p:transition>
    </mc:Choice>
    <mc:Fallback xmlns="">
      <p:transition spd="slow">
        <p:push dir="u"/>
      </p:transition>
    </mc:Fallback>
  </mc:AlternateConten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rona tytułowa bez zdjęcia">
    <p:bg>
      <p:bgPr>
        <a:solidFill>
          <a:srgbClr val="00959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55941" y="2228987"/>
            <a:ext cx="6360071" cy="1440000"/>
          </a:xfrm>
        </p:spPr>
        <p:txBody>
          <a:bodyPr tIns="180000" anchor="ctr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735" b="1" cap="all" baseline="0">
                <a:solidFill>
                  <a:schemeClr val="bg1"/>
                </a:solidFill>
              </a:defRPr>
            </a:lvl1pPr>
          </a:lstStyle>
          <a:p>
            <a:r>
              <a:rPr lang="pl-PL" noProof="0" dirty="0"/>
              <a:t>TYTUŁ PREZENTACJI </a:t>
            </a:r>
            <a:br>
              <a:rPr lang="pl-PL" noProof="0" dirty="0"/>
            </a:br>
            <a:r>
              <a:rPr lang="pl-PL" noProof="0" dirty="0"/>
              <a:t>– Slajd bez zdjęcia</a:t>
            </a:r>
          </a:p>
        </p:txBody>
      </p:sp>
      <p:sp>
        <p:nvSpPr>
          <p:cNvPr id="11" name="Symbol zastępczy tekstu 2"/>
          <p:cNvSpPr>
            <a:spLocks noGrp="1"/>
          </p:cNvSpPr>
          <p:nvPr>
            <p:ph type="body" sz="quarter" idx="20" hasCustomPrompt="1"/>
          </p:nvPr>
        </p:nvSpPr>
        <p:spPr>
          <a:xfrm>
            <a:off x="455939" y="4869016"/>
            <a:ext cx="4997672" cy="168000"/>
          </a:xfrm>
          <a:noFill/>
          <a:ln>
            <a:noFill/>
          </a:ln>
          <a:effectLst/>
        </p:spPr>
        <p:txBody>
          <a:bodyPr anchor="t"/>
          <a:lstStyle>
            <a:lvl1pPr marL="0" indent="0">
              <a:lnSpc>
                <a:spcPct val="80000"/>
              </a:lnSpc>
              <a:buFontTx/>
              <a:buNone/>
              <a:defRPr sz="1467" b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 marL="575978" indent="0">
              <a:buFontTx/>
              <a:buNone/>
              <a:defRPr sz="1600"/>
            </a:lvl2pPr>
            <a:lvl3pPr marL="1151958" indent="0">
              <a:buFontTx/>
              <a:buNone/>
              <a:defRPr sz="1600"/>
            </a:lvl3pPr>
            <a:lvl4pPr marL="1727935" indent="0">
              <a:buFontTx/>
              <a:buNone/>
              <a:defRPr sz="1600"/>
            </a:lvl4pPr>
            <a:lvl5pPr marL="2303914" indent="0">
              <a:buFontTx/>
              <a:buNone/>
              <a:defRPr sz="1600"/>
            </a:lvl5pPr>
          </a:lstStyle>
          <a:p>
            <a:pPr lvl="0"/>
            <a:r>
              <a:rPr lang="pl-PL" dirty="0" err="1"/>
              <a:t>xxxxxxxxxxxxxxxxx</a:t>
            </a:r>
            <a:endParaRPr lang="pl-PL" dirty="0"/>
          </a:p>
        </p:txBody>
      </p:sp>
      <p:sp>
        <p:nvSpPr>
          <p:cNvPr id="4" name="Prostokąt 3">
            <a:extLst>
              <a:ext uri="{FF2B5EF4-FFF2-40B4-BE49-F238E27FC236}">
                <a16:creationId xmlns:a16="http://schemas.microsoft.com/office/drawing/2014/main" id="{F89DDC0A-C8A3-D16B-6C20-24F73F60C148}"/>
              </a:ext>
            </a:extLst>
          </p:cNvPr>
          <p:cNvSpPr/>
          <p:nvPr userDrawn="1"/>
        </p:nvSpPr>
        <p:spPr>
          <a:xfrm>
            <a:off x="11376059" y="6257116"/>
            <a:ext cx="720008" cy="54896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4000"/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879354D9-10E9-75FC-A7C3-07B26F2F45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3343" y="5597691"/>
            <a:ext cx="2653335" cy="1327864"/>
          </a:xfrm>
          <a:prstGeom prst="rect">
            <a:avLst/>
          </a:prstGeom>
        </p:spPr>
      </p:pic>
      <p:sp>
        <p:nvSpPr>
          <p:cNvPr id="8" name="pole tekstowe 7">
            <a:extLst>
              <a:ext uri="{FF2B5EF4-FFF2-40B4-BE49-F238E27FC236}">
                <a16:creationId xmlns:a16="http://schemas.microsoft.com/office/drawing/2014/main" id="{8ACB1BDD-6445-8BEB-AF5D-6D12348970EE}"/>
              </a:ext>
            </a:extLst>
          </p:cNvPr>
          <p:cNvSpPr txBox="1"/>
          <p:nvPr userDrawn="1"/>
        </p:nvSpPr>
        <p:spPr>
          <a:xfrm>
            <a:off x="8736033" y="188871"/>
            <a:ext cx="3120035" cy="72176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5" tIns="67735" rIns="67735" bIns="67735" numCol="1" spcCol="38100" rtlCol="0" anchor="ctr">
            <a:spAutoFit/>
          </a:bodyPr>
          <a:lstStyle/>
          <a:p>
            <a:pPr marL="0" marR="0" lvl="0" indent="0" algn="r" defTabSz="110062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>
                <a:solidFill>
                  <a:srgbClr val="199FA1"/>
                </a:solidFill>
              </a:defRPr>
            </a:pPr>
            <a:r>
              <a:rPr kumimoji="0" lang="pl-PL" sz="1267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sym typeface="Helvetica Neue Medium"/>
              </a:rPr>
              <a:t>Codziennie działamy na rzecz</a:t>
            </a:r>
            <a:br>
              <a:rPr kumimoji="0" lang="pl-PL" sz="1267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sym typeface="Helvetica Neue Medium"/>
              </a:rPr>
            </a:br>
            <a:r>
              <a:rPr kumimoji="0" lang="pl-PL" sz="1267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sym typeface="Helvetica Neue Medium"/>
              </a:rPr>
              <a:t>naszych Klientów oraz społeczeństwa</a:t>
            </a:r>
          </a:p>
          <a:p>
            <a:pPr marL="0" marR="0" indent="0" algn="r" defTabSz="1100627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l-PL" sz="1267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+mj-lt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178695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push dir="u"/>
      </p:transition>
    </mc:Choice>
    <mc:Fallback xmlns="">
      <p:transition spd="slow">
        <p:push dir="u"/>
      </p:transition>
    </mc:Fallback>
  </mc:AlternateConten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ona przekładkowa 1">
    <p:bg>
      <p:bgPr>
        <a:solidFill>
          <a:srgbClr val="00959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695941" y="673100"/>
            <a:ext cx="7816499" cy="5511800"/>
          </a:xfrm>
        </p:spPr>
        <p:txBody>
          <a:bodyPr anchor="ctr" anchorCtr="0"/>
          <a:lstStyle>
            <a:lvl1pPr>
              <a:defRPr sz="3735" b="1" cap="all" baseline="0">
                <a:solidFill>
                  <a:schemeClr val="bg1"/>
                </a:solidFill>
              </a:defRPr>
            </a:lvl1pPr>
          </a:lstStyle>
          <a:p>
            <a:r>
              <a:rPr lang="pl-PL" noProof="0" dirty="0"/>
              <a:t>Slajd przekładkowy</a:t>
            </a:r>
          </a:p>
        </p:txBody>
      </p:sp>
      <p:sp>
        <p:nvSpPr>
          <p:cNvPr id="3" name="Prostokąt 2">
            <a:extLst>
              <a:ext uri="{FF2B5EF4-FFF2-40B4-BE49-F238E27FC236}">
                <a16:creationId xmlns:a16="http://schemas.microsoft.com/office/drawing/2014/main" id="{E1D126D6-0B64-6919-8837-ED74CA354962}"/>
              </a:ext>
            </a:extLst>
          </p:cNvPr>
          <p:cNvSpPr/>
          <p:nvPr userDrawn="1"/>
        </p:nvSpPr>
        <p:spPr>
          <a:xfrm>
            <a:off x="11376059" y="6309034"/>
            <a:ext cx="720008" cy="48000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4000"/>
          </a:p>
        </p:txBody>
      </p:sp>
    </p:spTree>
    <p:extLst>
      <p:ext uri="{BB962C8B-B14F-4D97-AF65-F5344CB8AC3E}">
        <p14:creationId xmlns:p14="http://schemas.microsoft.com/office/powerpoint/2010/main" val="4214147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push dir="u"/>
      </p:transition>
    </mc:Choice>
    <mc:Fallback xmlns="">
      <p:transition spd="slow">
        <p:push dir="u"/>
      </p:transition>
    </mc:Fallback>
  </mc:AlternateConten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7"/>
            <a:ext cx="10824635" cy="753535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rgbClr val="008789"/>
                </a:solidFill>
              </a:rPr>
              <a:t>Tytuł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629836"/>
            <a:ext cx="10835216" cy="4438651"/>
          </a:xfrm>
        </p:spPr>
        <p:txBody>
          <a:bodyPr/>
          <a:lstStyle>
            <a:lvl1pPr marL="359987" indent="-359987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62A1738F-BB0C-3D7B-C370-D2453226EFA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N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014156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push dir="u"/>
      </p:transition>
    </mc:Choice>
    <mc:Fallback xmlns="">
      <p:transition spd="slow">
        <p:push dir="u"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 fond ha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7" name="Forme libre 16"/>
          <p:cNvSpPr/>
          <p:nvPr userDrawn="1"/>
        </p:nvSpPr>
        <p:spPr bwMode="gray">
          <a:xfrm>
            <a:off x="431801" y="333376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  <a:blipFill>
            <a:blip r:embed="rId2" cstate="print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1939264" y="3960400"/>
            <a:ext cx="9755320" cy="1440000"/>
          </a:xfrm>
        </p:spPr>
        <p:txBody>
          <a:bodyPr anchor="t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750" b="0" cap="all" baseline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titre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1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›</a:t>
            </a:fld>
            <a:endParaRPr lang="fr-FR" dirty="0"/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fr-FR"/>
              <a:t>BPI - AAP</a:t>
            </a:r>
            <a:endParaRPr lang="fr-FR" dirty="0"/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85371" y="4273550"/>
            <a:ext cx="264000" cy="914400"/>
          </a:xfrm>
          <a:prstGeom prst="roundRect">
            <a:avLst/>
          </a:prstGeom>
          <a:solidFill>
            <a:schemeClr val="bg2"/>
          </a:solid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00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pic>
        <p:nvPicPr>
          <p:cNvPr id="10" name="Image 9" descr="logo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5472000" y="0"/>
            <a:ext cx="1248000" cy="803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852510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58566CE-819B-4D65-89A4-BB171BAEB9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58566CE-819B-4D65-89A4-BB171BAEB9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7EEA928C-6AE6-409D-A5A1-7D96A0B548C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10933200" cy="4708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57420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push dir="u"/>
      </p:transition>
    </mc:Choice>
    <mc:Fallback xmlns="">
      <p:transition spd="slow">
        <p:push dir="u"/>
      </p:transition>
    </mc:Fallback>
  </mc:AlternateConten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ajd z tekstem 2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3585"/>
            <a:ext cx="10824635" cy="1295399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rgbClr val="008789"/>
                </a:solidFill>
              </a:rPr>
              <a:t>Tytuł </a:t>
            </a:r>
            <a:br>
              <a:rPr lang="pl-PL" dirty="0">
                <a:solidFill>
                  <a:srgbClr val="008789"/>
                </a:solidFill>
              </a:rPr>
            </a:br>
            <a:r>
              <a:rPr lang="pl-PL" dirty="0">
                <a:solidFill>
                  <a:srgbClr val="008789"/>
                </a:solidFill>
              </a:rPr>
              <a:t>na dwie linie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2108988"/>
            <a:ext cx="10835216" cy="3959499"/>
          </a:xfrm>
        </p:spPr>
        <p:txBody>
          <a:bodyPr/>
          <a:lstStyle>
            <a:lvl1pPr marL="359987" indent="-359987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A89FAB4E-5FFF-5BF4-4C4D-D184B9D007B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N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418066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push dir="u"/>
      </p:transition>
    </mc:Choice>
    <mc:Fallback xmlns="">
      <p:transition spd="slow">
        <p:push dir="u"/>
      </p:transition>
    </mc:Fallback>
  </mc:AlternateConten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962383"/>
            <a:ext cx="10835216" cy="4106100"/>
          </a:xfrm>
        </p:spPr>
        <p:txBody>
          <a:bodyPr/>
          <a:lstStyle>
            <a:lvl1pPr marL="359987" indent="-359987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924315" y="1457657"/>
            <a:ext cx="10801351" cy="298451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rgbClr val="81BC00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  <p:sp>
        <p:nvSpPr>
          <p:cNvPr id="7" name="Tytuł 1">
            <a:extLst>
              <a:ext uri="{FF2B5EF4-FFF2-40B4-BE49-F238E27FC236}">
                <a16:creationId xmlns:a16="http://schemas.microsoft.com/office/drawing/2014/main" id="{3CA16B62-741F-3138-CDB8-71B2887FB2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35568" y="334438"/>
            <a:ext cx="10824635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810D10B6-E01F-72B7-C0C1-C2876195995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N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624091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push dir="u"/>
      </p:transition>
    </mc:Choice>
    <mc:Fallback xmlns="">
      <p:transition spd="slow">
        <p:push dir="u"/>
      </p:transition>
    </mc:Fallback>
  </mc:AlternateConten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3 - dwie kolum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8"/>
            <a:ext cx="10824635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962383"/>
            <a:ext cx="10835216" cy="4106100"/>
          </a:xfrm>
        </p:spPr>
        <p:txBody>
          <a:bodyPr numCol="2" spcCol="180000"/>
          <a:lstStyle>
            <a:lvl1pPr marL="359987" indent="-359987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924315" y="1457657"/>
            <a:ext cx="10801351" cy="298451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C441EEDD-7CF9-9BDA-9361-3C8F32B1F91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N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195967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push dir="u"/>
      </p:transition>
    </mc:Choice>
    <mc:Fallback xmlns="">
      <p:transition spd="slow">
        <p:push dir="u"/>
      </p:transition>
    </mc:Fallback>
  </mc:AlternateContent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8"/>
            <a:ext cx="10824635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5" y="1962383"/>
            <a:ext cx="5291019" cy="4106100"/>
          </a:xfrm>
        </p:spPr>
        <p:txBody>
          <a:bodyPr/>
          <a:lstStyle>
            <a:lvl1pPr marL="359987" indent="-359987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924313" y="1457657"/>
            <a:ext cx="5291691" cy="298451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 1</a:t>
            </a:r>
            <a:endParaRPr lang="pl-PL" dirty="0"/>
          </a:p>
        </p:txBody>
      </p:sp>
      <p:sp>
        <p:nvSpPr>
          <p:cNvPr id="8" name="Symbol zastępczy zawartości 2"/>
          <p:cNvSpPr>
            <a:spLocks noGrp="1"/>
          </p:cNvSpPr>
          <p:nvPr>
            <p:ph sz="quarter" idx="15" hasCustomPrompt="1"/>
          </p:nvPr>
        </p:nvSpPr>
        <p:spPr>
          <a:xfrm>
            <a:off x="6464432" y="1962383"/>
            <a:ext cx="5291019" cy="4106100"/>
          </a:xfrm>
        </p:spPr>
        <p:txBody>
          <a:bodyPr/>
          <a:lstStyle>
            <a:lvl1pPr marL="359987" indent="-359987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13" name="Symbol zastępczy zawartości 4"/>
          <p:cNvSpPr>
            <a:spLocks noGrp="1"/>
          </p:cNvSpPr>
          <p:nvPr>
            <p:ph sz="quarter" idx="16" hasCustomPrompt="1"/>
          </p:nvPr>
        </p:nvSpPr>
        <p:spPr>
          <a:xfrm>
            <a:off x="6463760" y="1457657"/>
            <a:ext cx="5291691" cy="298451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 1</a:t>
            </a:r>
            <a:endParaRPr lang="pl-PL" dirty="0"/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7715A34D-679C-4AC9-9D2F-A4CE67AAB6C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N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45082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push dir="u"/>
      </p:transition>
    </mc:Choice>
    <mc:Fallback xmlns="">
      <p:transition spd="slow">
        <p:push dir="u"/>
      </p:transition>
    </mc:Fallback>
  </mc:AlternateConten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y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7"/>
            <a:ext cx="10824635" cy="753535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Cytat</a:t>
            </a:r>
          </a:p>
        </p:txBody>
      </p:sp>
      <p:pic>
        <p:nvPicPr>
          <p:cNvPr id="21" name="Obraz 20">
            <a:extLst>
              <a:ext uri="{FF2B5EF4-FFF2-40B4-BE49-F238E27FC236}">
                <a16:creationId xmlns:a16="http://schemas.microsoft.com/office/drawing/2014/main" id="{51216647-0973-469E-890C-D049E1B0532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39345" y="2063799"/>
            <a:ext cx="390099" cy="1710431"/>
          </a:xfrm>
          <a:prstGeom prst="rect">
            <a:avLst/>
          </a:prstGeom>
        </p:spPr>
      </p:pic>
      <p:sp>
        <p:nvSpPr>
          <p:cNvPr id="3" name="Symbol zastępczy zawartości 2"/>
          <p:cNvSpPr>
            <a:spLocks noGrp="1"/>
          </p:cNvSpPr>
          <p:nvPr>
            <p:ph sz="quarter" idx="14" hasCustomPrompt="1"/>
          </p:nvPr>
        </p:nvSpPr>
        <p:spPr>
          <a:xfrm>
            <a:off x="2237317" y="2063753"/>
            <a:ext cx="9499600" cy="1710267"/>
          </a:xfrm>
        </p:spPr>
        <p:txBody>
          <a:bodyPr/>
          <a:lstStyle>
            <a:lvl1pPr marL="0" indent="0">
              <a:buNone/>
              <a:defRPr sz="3735" b="0" i="1">
                <a:solidFill>
                  <a:srgbClr val="009597"/>
                </a:solidFill>
              </a:defRPr>
            </a:lvl1pPr>
          </a:lstStyle>
          <a:p>
            <a:pPr lvl="0"/>
            <a:r>
              <a:rPr lang="pl-PL" dirty="0" err="1"/>
              <a:t>Lorem</a:t>
            </a:r>
            <a:r>
              <a:rPr lang="pl-PL" dirty="0"/>
              <a:t> </a:t>
            </a:r>
            <a:r>
              <a:rPr lang="pl-PL" dirty="0" err="1"/>
              <a:t>ipsum</a:t>
            </a:r>
            <a:r>
              <a:rPr lang="pl-PL" dirty="0"/>
              <a:t> </a:t>
            </a:r>
            <a:r>
              <a:rPr lang="pl-PL" dirty="0" err="1"/>
              <a:t>dolor</a:t>
            </a:r>
            <a:r>
              <a:rPr lang="pl-PL" dirty="0"/>
              <a:t> sit </a:t>
            </a:r>
            <a:r>
              <a:rPr lang="pl-PL" dirty="0" err="1"/>
              <a:t>amet</a:t>
            </a:r>
            <a:r>
              <a:rPr lang="pl-PL" dirty="0"/>
              <a:t>, </a:t>
            </a:r>
            <a:r>
              <a:rPr lang="pl-PL" dirty="0" err="1"/>
              <a:t>consectetur</a:t>
            </a:r>
            <a:r>
              <a:rPr lang="pl-PL" dirty="0"/>
              <a:t> </a:t>
            </a:r>
            <a:r>
              <a:rPr lang="pl-PL" dirty="0" err="1"/>
              <a:t>adipiscing</a:t>
            </a:r>
            <a:r>
              <a:rPr lang="pl-PL" dirty="0"/>
              <a:t> elit, </a:t>
            </a:r>
            <a:r>
              <a:rPr lang="pl-PL" dirty="0" err="1"/>
              <a:t>sed</a:t>
            </a:r>
            <a:r>
              <a:rPr lang="pl-PL" dirty="0"/>
              <a:t> do </a:t>
            </a:r>
            <a:r>
              <a:rPr lang="pl-PL" dirty="0" err="1"/>
              <a:t>eiusmod</a:t>
            </a:r>
            <a:r>
              <a:rPr lang="pl-PL" dirty="0"/>
              <a:t> </a:t>
            </a:r>
            <a:r>
              <a:rPr lang="pl-PL" dirty="0" err="1"/>
              <a:t>tempor</a:t>
            </a:r>
            <a:r>
              <a:rPr lang="pl-PL" dirty="0"/>
              <a:t> </a:t>
            </a:r>
            <a:r>
              <a:rPr lang="pl-PL" dirty="0" err="1"/>
              <a:t>incididunt</a:t>
            </a:r>
            <a:r>
              <a:rPr lang="pl-PL" dirty="0"/>
              <a:t> </a:t>
            </a:r>
            <a:r>
              <a:rPr lang="pl-PL" dirty="0" err="1"/>
              <a:t>ut</a:t>
            </a:r>
            <a:r>
              <a:rPr lang="pl-PL" dirty="0"/>
              <a:t> </a:t>
            </a:r>
            <a:r>
              <a:rPr lang="pl-PL" dirty="0" err="1"/>
              <a:t>labore</a:t>
            </a:r>
            <a:r>
              <a:rPr lang="pl-PL" dirty="0"/>
              <a:t> et </a:t>
            </a:r>
            <a:r>
              <a:rPr lang="pl-PL" dirty="0" err="1"/>
              <a:t>dolore</a:t>
            </a:r>
            <a:r>
              <a:rPr lang="pl-PL" dirty="0"/>
              <a:t> </a:t>
            </a:r>
            <a:r>
              <a:rPr lang="pl-PL" dirty="0" err="1"/>
              <a:t>magna</a:t>
            </a:r>
            <a:r>
              <a:rPr lang="pl-PL" dirty="0"/>
              <a:t> </a:t>
            </a:r>
            <a:r>
              <a:rPr lang="pl-PL" dirty="0" err="1"/>
              <a:t>aliqua</a:t>
            </a:r>
            <a:endParaRPr lang="pl-PL" dirty="0"/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5" hasCustomPrompt="1"/>
          </p:nvPr>
        </p:nvSpPr>
        <p:spPr>
          <a:xfrm>
            <a:off x="2236600" y="4411364"/>
            <a:ext cx="9457267" cy="1176867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 err="1"/>
              <a:t>Lorem</a:t>
            </a:r>
            <a:r>
              <a:rPr lang="pl-PL" dirty="0"/>
              <a:t> </a:t>
            </a:r>
            <a:r>
              <a:rPr lang="pl-PL" dirty="0" err="1"/>
              <a:t>ipsum</a:t>
            </a:r>
            <a:endParaRPr lang="pl-PL" dirty="0"/>
          </a:p>
          <a:p>
            <a:pPr lvl="0"/>
            <a:r>
              <a:rPr lang="pl-PL" dirty="0" err="1"/>
              <a:t>Lorem</a:t>
            </a:r>
            <a:r>
              <a:rPr lang="pl-PL" dirty="0"/>
              <a:t> </a:t>
            </a:r>
            <a:r>
              <a:rPr lang="pl-PL" dirty="0" err="1"/>
              <a:t>ipsum</a:t>
            </a:r>
            <a:r>
              <a:rPr lang="pl-PL" dirty="0"/>
              <a:t> </a:t>
            </a:r>
            <a:r>
              <a:rPr lang="pl-PL" dirty="0" err="1"/>
              <a:t>dolor</a:t>
            </a:r>
            <a:r>
              <a:rPr lang="pl-PL" dirty="0"/>
              <a:t> sit </a:t>
            </a:r>
            <a:r>
              <a:rPr lang="pl-PL" dirty="0" err="1"/>
              <a:t>amet</a:t>
            </a:r>
            <a:r>
              <a:rPr lang="pl-PL" dirty="0"/>
              <a:t>, </a:t>
            </a:r>
            <a:r>
              <a:rPr lang="pl-PL" dirty="0" err="1"/>
              <a:t>consectetur</a:t>
            </a:r>
            <a:r>
              <a:rPr lang="pl-PL" dirty="0"/>
              <a:t> </a:t>
            </a:r>
            <a:r>
              <a:rPr lang="pl-PL" dirty="0" err="1"/>
              <a:t>adipiscing</a:t>
            </a:r>
            <a:endParaRPr lang="pl-PL" dirty="0"/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867D99D1-2028-B6E8-E491-A5E301624B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N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555759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push dir="u"/>
      </p:transition>
    </mc:Choice>
    <mc:Fallback xmlns="">
      <p:transition spd="slow">
        <p:push dir="u"/>
      </p:transition>
    </mc:Fallback>
  </mc:AlternateConten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e zdjęcie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8"/>
            <a:ext cx="10824635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6" y="1962385"/>
            <a:ext cx="4931015" cy="3746643"/>
          </a:xfrm>
        </p:spPr>
        <p:txBody>
          <a:bodyPr/>
          <a:lstStyle>
            <a:lvl1pPr marL="359987" indent="-359987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924315" y="1457657"/>
            <a:ext cx="4931687" cy="298451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  <p:sp>
        <p:nvSpPr>
          <p:cNvPr id="8" name="Symbol zastępczy obrazu 4"/>
          <p:cNvSpPr>
            <a:spLocks noGrp="1"/>
          </p:cNvSpPr>
          <p:nvPr>
            <p:ph type="pic" sz="quarter" idx="15" hasCustomPrompt="1"/>
          </p:nvPr>
        </p:nvSpPr>
        <p:spPr>
          <a:xfrm>
            <a:off x="6032502" y="1454153"/>
            <a:ext cx="5727700" cy="4254875"/>
          </a:xfrm>
        </p:spPr>
        <p:txBody>
          <a:bodyPr/>
          <a:lstStyle>
            <a:lvl1pPr marL="0" indent="0" algn="ctr">
              <a:buFontTx/>
              <a:buNone/>
              <a:defRPr b="0">
                <a:solidFill>
                  <a:schemeClr val="accent3"/>
                </a:solidFill>
              </a:defRPr>
            </a:lvl1pPr>
          </a:lstStyle>
          <a:p>
            <a:r>
              <a:rPr lang="pl-PL" dirty="0"/>
              <a:t>Wstaw obraz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7814CC9E-C65F-165E-0604-3A6392D28D7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N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91809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push dir="u"/>
      </p:transition>
    </mc:Choice>
    <mc:Fallback xmlns="">
      <p:transition spd="slow">
        <p:push dir="u"/>
      </p:transition>
    </mc:Fallback>
  </mc:AlternateConten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e zdjęci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8"/>
            <a:ext cx="10824635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6829189" y="1962385"/>
            <a:ext cx="4931015" cy="3866643"/>
          </a:xfrm>
        </p:spPr>
        <p:txBody>
          <a:bodyPr/>
          <a:lstStyle>
            <a:lvl1pPr marL="359987" indent="-359987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6828517" y="1457657"/>
            <a:ext cx="4931687" cy="298451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  <p:sp>
        <p:nvSpPr>
          <p:cNvPr id="8" name="Symbol zastępczy obrazu 4"/>
          <p:cNvSpPr>
            <a:spLocks noGrp="1"/>
          </p:cNvSpPr>
          <p:nvPr>
            <p:ph type="pic" sz="quarter" idx="15" hasCustomPrompt="1"/>
          </p:nvPr>
        </p:nvSpPr>
        <p:spPr>
          <a:xfrm>
            <a:off x="944107" y="1454151"/>
            <a:ext cx="5511900" cy="4374876"/>
          </a:xfrm>
        </p:spPr>
        <p:txBody>
          <a:bodyPr/>
          <a:lstStyle>
            <a:lvl1pPr marL="0" indent="0" algn="ctr">
              <a:buFontTx/>
              <a:buNone/>
              <a:defRPr b="0">
                <a:solidFill>
                  <a:schemeClr val="accent3"/>
                </a:solidFill>
              </a:defRPr>
            </a:lvl1pPr>
          </a:lstStyle>
          <a:p>
            <a:r>
              <a:rPr lang="pl-PL" dirty="0"/>
              <a:t>Wstaw obraz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EBCA5C9C-CE6F-B4C4-7578-B6C3BC9C612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N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725885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push dir="u"/>
      </p:transition>
    </mc:Choice>
    <mc:Fallback xmlns="">
      <p:transition spd="slow">
        <p:push dir="u"/>
      </p:transition>
    </mc:Fallback>
  </mc:AlternateContent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ajd z tytułem 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8"/>
            <a:ext cx="10824635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B7427E44-54E6-E838-7FF3-8BDA8E814DD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N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323849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push dir="u"/>
      </p:transition>
    </mc:Choice>
    <mc:Fallback xmlns="">
      <p:transition spd="slow">
        <p:push dir="u"/>
      </p:transition>
    </mc:Fallback>
  </mc:AlternateConten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Strona zamykająca 2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15129" y="5255493"/>
            <a:ext cx="7952511" cy="1089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0970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push dir="u"/>
      </p:transition>
    </mc:Choice>
    <mc:Fallback xmlns="">
      <p:transition spd="slow">
        <p:push dir="u"/>
      </p:transition>
    </mc:Fallback>
  </mc:AlternateContent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rona zamykając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24365" y="5273965"/>
            <a:ext cx="7961747" cy="1071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3756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push dir="u"/>
      </p:transition>
    </mc:Choice>
    <mc:Fallback xmlns="">
      <p:transition spd="slow">
        <p:push dir="u"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rgbClr val="009999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BC1C8F6-5051-455B-8C12-3705FF4011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BC1C8F6-5051-455B-8C12-3705FF4011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71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4"/>
            <a:ext cx="3127881" cy="149579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4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17524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push dir="u"/>
      </p:transition>
    </mc:Choice>
    <mc:Fallback xmlns="">
      <p:transition spd="slow">
        <p:push dir="u"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F36C4C5-3E62-4668-A535-C6164E4B3B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F36C4C5-3E62-4668-A535-C6164E4B3B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79575F0-1651-49B6-BA4B-447098E83B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1" y="0"/>
            <a:ext cx="6363547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rgbClr val="009999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2" y="622801"/>
            <a:ext cx="4673647" cy="4708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052" b="6867"/>
          <a:stretch/>
        </p:blipFill>
        <p:spPr>
          <a:xfrm rot="120000">
            <a:off x="4460173" y="3407806"/>
            <a:ext cx="2694667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209955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push dir="u"/>
      </p:transition>
    </mc:Choice>
    <mc:Fallback xmlns="">
      <p:transition spd="slow">
        <p:push dir="u"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F1FBBA6-8AC2-4C39-B996-273FE762C0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F1FBBA6-8AC2-4C39-B996-273FE762C0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4E07D2A-BD67-492A-B704-DEEF52EEBF0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6256800" cy="4708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Freeform 18">
            <a:extLst>
              <a:ext uri="{FF2B5EF4-FFF2-40B4-BE49-F238E27FC236}">
                <a16:creationId xmlns:a16="http://schemas.microsoft.com/office/drawing/2014/main" id="{4709542E-A42D-40A6-B421-4635EE1057DD}"/>
              </a:ext>
            </a:extLst>
          </p:cNvPr>
          <p:cNvSpPr/>
          <p:nvPr userDrawn="1"/>
        </p:nvSpPr>
        <p:spPr bwMode="white">
          <a:xfrm>
            <a:off x="3" y="0"/>
            <a:ext cx="757755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009999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F02370B-C67A-491D-AE52-01D3B6277A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052" b="6867"/>
          <a:stretch/>
        </p:blipFill>
        <p:spPr>
          <a:xfrm>
            <a:off x="5721809" y="3407806"/>
            <a:ext cx="2694667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022633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push dir="u"/>
      </p:transition>
    </mc:Choice>
    <mc:Fallback xmlns="">
      <p:transition spd="slow">
        <p:push dir="u"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EDA5D0E-7100-4730-B114-135333B7F2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EDA5D0E-7100-4730-B114-135333B7F2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2" y="622803"/>
            <a:ext cx="10933351" cy="3323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708000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push dir="u"/>
      </p:transition>
    </mc:Choice>
    <mc:Fallback xmlns="">
      <p:transition spd="slow">
        <p:push dir="u"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rgbClr val="009999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B83A96C-50A6-4380-B858-55443E0E76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B83A96C-50A6-4380-B858-55443E0E76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9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2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622803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66458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push dir="u"/>
      </p:transition>
    </mc:Choice>
    <mc:Fallback xmlns="">
      <p:transition spd="slow">
        <p:push dir="u"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rgbClr val="009999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8BADAC-6F35-4C71-B731-5F308BB7C7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8BADAC-6F35-4C71-B731-5F308BB7C7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71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4"/>
            <a:ext cx="3127881" cy="149579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4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71827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push dir="u"/>
      </p:transition>
    </mc:Choice>
    <mc:Fallback xmlns="">
      <p:transition spd="slow">
        <p:push dir="u"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rgbClr val="009999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B724AFB-D166-41BB-B10D-7B0A3FB4BA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B724AFB-D166-41BB-B10D-7B0A3FB4BA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5"/>
            <a:ext cx="10933200" cy="1606551"/>
          </a:xfrm>
        </p:spPr>
        <p:txBody>
          <a:bodyPr anchor="b">
            <a:noAutofit/>
          </a:bodyPr>
          <a:lstStyle>
            <a:lvl1pPr marL="0" algn="l" defTabSz="914354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371817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push dir="u"/>
      </p:transition>
    </mc:Choice>
    <mc:Fallback xmlns="">
      <p:transition spd="slow">
        <p:push dir="u"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18AE44-CD3C-4F17-9868-0CFE0BA67F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18AE44-CD3C-4F17-9868-0CFE0BA67F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57704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push dir="u"/>
      </p:transition>
    </mc:Choice>
    <mc:Fallback xmlns="">
      <p:transition spd="slow">
        <p:push dir="u"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2" y="0"/>
            <a:ext cx="2152073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2" y="0"/>
            <a:ext cx="1877495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699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500">
        <p:push dir="u"/>
      </p:transition>
    </mc:Choice>
    <mc:Fallback xmlns="">
      <p:transition spd="slow">
        <p:push dir="u"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ommai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042269" y="557020"/>
            <a:ext cx="8652316" cy="1463823"/>
          </a:xfrm>
        </p:spPr>
        <p:txBody>
          <a:bodyPr/>
          <a:lstStyle>
            <a:lvl1pPr>
              <a:defRPr sz="4750" b="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3042269" y="2545854"/>
            <a:ext cx="8652315" cy="3480296"/>
          </a:xfrm>
        </p:spPr>
        <p:txBody>
          <a:bodyPr/>
          <a:lstStyle>
            <a:lvl1pPr marL="361950" indent="-361950">
              <a:lnSpc>
                <a:spcPct val="125000"/>
              </a:lnSpc>
              <a:buSzPct val="100000"/>
              <a:defRPr sz="1800" b="0" cap="all" baseline="0">
                <a:solidFill>
                  <a:schemeClr val="accent3"/>
                </a:solidFill>
              </a:defRPr>
            </a:lvl1pPr>
            <a:lvl2pPr marL="625475" indent="-265113">
              <a:buSzPct val="80000"/>
              <a:buFont typeface="Wingdings" pitchFamily="2" charset="2"/>
              <a:buChar char="n"/>
              <a:defRPr sz="1600">
                <a:solidFill>
                  <a:schemeClr val="accent3"/>
                </a:solidFill>
              </a:defRPr>
            </a:lvl2pPr>
            <a:lvl4pPr>
              <a:buSzPct val="90000"/>
              <a:defRPr/>
            </a:lvl4pPr>
            <a:lvl5pPr>
              <a:buSzPct val="90000"/>
              <a:defRPr/>
            </a:lvl5pPr>
          </a:lstStyle>
          <a:p>
            <a:pPr lvl="0"/>
            <a:r>
              <a:rPr lang="fr-FR" dirty="0"/>
              <a:t>Texte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BPI - AAP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476266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pis treści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44025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push dir="u"/>
      </p:transition>
    </mc:Choice>
    <mc:Fallback xmlns="">
      <p:transition spd="slow">
        <p:push dir="u"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ED87BCC-E218-4D35-99D8-9BF66DF1CB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ED87BCC-E218-4D35-99D8-9BF66DF1CB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/>
          <p:cNvSpPr txBox="1"/>
          <p:nvPr/>
        </p:nvSpPr>
        <p:spPr>
          <a:xfrm rot="16200000">
            <a:off x="9486903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3"/>
            <a:ext cx="6254496" cy="332399"/>
          </a:xfrm>
          <a:prstGeom prst="rect">
            <a:avLst/>
          </a:prstGeom>
        </p:spPr>
        <p:txBody>
          <a:bodyPr vert="horz"/>
          <a:lstStyle>
            <a:lvl1pPr rtl="0"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0" y="3589605"/>
            <a:ext cx="1365251" cy="3382963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26785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pis treści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791745" y="557020"/>
            <a:ext cx="7902841" cy="14638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pl-PL" sz="3733" b="0" cap="all" noProof="0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noProof="0" dirty="0"/>
              <a:t>TYTUŁ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3791744" y="2545855"/>
            <a:ext cx="7902841" cy="3480296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pl-PL" sz="1867" b="0" cap="all" noProof="0" dirty="0" smtClean="0">
                <a:solidFill>
                  <a:schemeClr val="accent3"/>
                </a:solidFill>
              </a:defRPr>
            </a:lvl1pPr>
            <a:lvl2pPr marL="830358">
              <a:defRPr lang="pl-PL" sz="1600" noProof="0" dirty="0" smtClean="0">
                <a:solidFill>
                  <a:schemeClr val="accent3"/>
                </a:solidFill>
              </a:defRPr>
            </a:lvl2pPr>
          </a:lstStyle>
          <a:p>
            <a:pPr marL="484776" lvl="0" indent="-484776">
              <a:lnSpc>
                <a:spcPct val="125000"/>
              </a:lnSpc>
              <a:buSzPct val="100000"/>
            </a:pPr>
            <a:r>
              <a:rPr lang="pl-PL" noProof="0" dirty="0"/>
              <a:t>TEKST</a:t>
            </a:r>
          </a:p>
          <a:p>
            <a:pPr marL="835158" lvl="1" indent="-350382">
              <a:buSzPct val="80000"/>
              <a:buChar char="n"/>
            </a:pPr>
            <a:r>
              <a:rPr lang="pl-PL" noProof="0" dirty="0"/>
              <a:t>Tekst</a:t>
            </a:r>
          </a:p>
        </p:txBody>
      </p:sp>
      <p:sp>
        <p:nvSpPr>
          <p:cNvPr id="21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r>
              <a:rPr lang="fr-FR"/>
              <a:t>22.05.2017</a:t>
            </a:r>
            <a:endParaRPr lang="fr-FR" dirty="0"/>
          </a:p>
        </p:txBody>
      </p:sp>
      <p:sp>
        <p:nvSpPr>
          <p:cNvPr id="22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23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40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5718863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ona tytułowa z motyw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Espace réservé pour une image  15"/>
          <p:cNvSpPr>
            <a:spLocks noGrp="1"/>
          </p:cNvSpPr>
          <p:nvPr>
            <p:ph type="pic" sz="quarter" idx="19" hasCustomPrompt="1"/>
          </p:nvPr>
        </p:nvSpPr>
        <p:spPr>
          <a:xfrm>
            <a:off x="340800" y="326400"/>
            <a:ext cx="11856000" cy="5856000"/>
          </a:xfrm>
          <a:custGeom>
            <a:avLst/>
            <a:gdLst>
              <a:gd name="connsiteX0" fmla="*/ 244898 w 8892000"/>
              <a:gd name="connsiteY0" fmla="*/ 0 h 4392000"/>
              <a:gd name="connsiteX1" fmla="*/ 3420000 w 8892000"/>
              <a:gd name="connsiteY1" fmla="*/ 0 h 4392000"/>
              <a:gd name="connsiteX2" fmla="*/ 8647102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4898 h 4392000"/>
              <a:gd name="connsiteX5" fmla="*/ 8892000 w 8892000"/>
              <a:gd name="connsiteY5" fmla="*/ 4147102 h 4392000"/>
              <a:gd name="connsiteX6" fmla="*/ 8892000 w 8892000"/>
              <a:gd name="connsiteY6" fmla="*/ 4392000 h 4392000"/>
              <a:gd name="connsiteX7" fmla="*/ 8647102 w 8892000"/>
              <a:gd name="connsiteY7" fmla="*/ 4392000 h 4392000"/>
              <a:gd name="connsiteX8" fmla="*/ 3420000 w 8892000"/>
              <a:gd name="connsiteY8" fmla="*/ 4392000 h 4392000"/>
              <a:gd name="connsiteX9" fmla="*/ 244898 w 8892000"/>
              <a:gd name="connsiteY9" fmla="*/ 4392000 h 4392000"/>
              <a:gd name="connsiteX10" fmla="*/ 0 w 8892000"/>
              <a:gd name="connsiteY10" fmla="*/ 4147102 h 4392000"/>
              <a:gd name="connsiteX11" fmla="*/ 0 w 8892000"/>
              <a:gd name="connsiteY11" fmla="*/ 244898 h 4392000"/>
              <a:gd name="connsiteX12" fmla="*/ 244898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4898" y="0"/>
                </a:moveTo>
                <a:lnTo>
                  <a:pt x="3420000" y="0"/>
                </a:lnTo>
                <a:lnTo>
                  <a:pt x="8647102" y="0"/>
                </a:lnTo>
                <a:lnTo>
                  <a:pt x="8892000" y="0"/>
                </a:lnTo>
                <a:lnTo>
                  <a:pt x="8892000" y="244898"/>
                </a:lnTo>
                <a:lnTo>
                  <a:pt x="8892000" y="4147102"/>
                </a:lnTo>
                <a:lnTo>
                  <a:pt x="8892000" y="4392000"/>
                </a:lnTo>
                <a:lnTo>
                  <a:pt x="8647102" y="4392000"/>
                </a:lnTo>
                <a:lnTo>
                  <a:pt x="3420000" y="4392000"/>
                </a:lnTo>
                <a:lnTo>
                  <a:pt x="244898" y="4392000"/>
                </a:lnTo>
                <a:cubicBezTo>
                  <a:pt x="109645" y="4392000"/>
                  <a:pt x="0" y="4282355"/>
                  <a:pt x="0" y="4147102"/>
                </a:cubicBezTo>
                <a:lnTo>
                  <a:pt x="0" y="244898"/>
                </a:lnTo>
                <a:cubicBezTo>
                  <a:pt x="0" y="109645"/>
                  <a:pt x="109645" y="0"/>
                  <a:pt x="244898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tIns="1260000" anchor="t">
            <a:noAutofit/>
          </a:bodyPr>
          <a:lstStyle>
            <a:lvl1pPr marL="0" indent="0" algn="ctr">
              <a:buFontTx/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r>
              <a:rPr lang="pl-PL" noProof="0"/>
              <a:t>Kliknij ikonę, aby dodać zdjęcie tła</a:t>
            </a:r>
            <a:br>
              <a:rPr lang="pl-PL" noProof="0"/>
            </a:br>
            <a:r>
              <a:rPr lang="pl-PL" noProof="0"/>
              <a:t>(Wybierz obraz prawym przyciskiem myszy / Ustaw jako tło)</a:t>
            </a:r>
          </a:p>
        </p:txBody>
      </p:sp>
      <p:sp>
        <p:nvSpPr>
          <p:cNvPr id="19" name="Espace réservé du texte 13"/>
          <p:cNvSpPr>
            <a:spLocks noGrp="1" noChangeAspect="1"/>
          </p:cNvSpPr>
          <p:nvPr>
            <p:ph type="body" sz="quarter" idx="17" hasCustomPrompt="1"/>
          </p:nvPr>
        </p:nvSpPr>
        <p:spPr bwMode="gray">
          <a:xfrm>
            <a:off x="5616000" y="1"/>
            <a:ext cx="960000" cy="823385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33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pic>
        <p:nvPicPr>
          <p:cNvPr id="25" name="Obraz 24" descr="CA_logo symetryczne 1L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8234" y="6281744"/>
            <a:ext cx="1519221" cy="480053"/>
          </a:xfrm>
          <a:prstGeom prst="rect">
            <a:avLst/>
          </a:prstGeom>
        </p:spPr>
      </p:pic>
      <p:sp>
        <p:nvSpPr>
          <p:cNvPr id="37" name="Rectangle 9"/>
          <p:cNvSpPr/>
          <p:nvPr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38" name="Espace réservé de la date 5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  <p:sp>
        <p:nvSpPr>
          <p:cNvPr id="39" name="Espace réservé du numéro de diapositive 6"/>
          <p:cNvSpPr>
            <a:spLocks noGrp="1"/>
          </p:cNvSpPr>
          <p:nvPr>
            <p:ph type="sldNum" sz="quarter" idx="11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40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2241577" y="3979549"/>
            <a:ext cx="9755320" cy="1440000"/>
          </a:xfrm>
        </p:spPr>
        <p:txBody>
          <a:bodyPr tIns="180000" anchor="ctr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733" b="0" cap="all" baseline="0">
                <a:solidFill>
                  <a:schemeClr val="bg1"/>
                </a:solidFill>
              </a:defRPr>
            </a:lvl1pPr>
          </a:lstStyle>
          <a:p>
            <a:r>
              <a:rPr lang="pl-PL" noProof="0" dirty="0"/>
              <a:t>TYTUŁ PREZENTACJI </a:t>
            </a:r>
            <a:br>
              <a:rPr lang="pl-PL" noProof="0" dirty="0"/>
            </a:br>
            <a:r>
              <a:rPr lang="pl-PL" noProof="0" dirty="0"/>
              <a:t>– Slajd ze zdjęciem</a:t>
            </a:r>
          </a:p>
        </p:txBody>
      </p:sp>
      <p:sp>
        <p:nvSpPr>
          <p:cNvPr id="45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877091" y="4293096"/>
            <a:ext cx="192000" cy="912000"/>
          </a:xfrm>
          <a:prstGeom prst="roundRect">
            <a:avLst>
              <a:gd name="adj" fmla="val 13081"/>
            </a:avLst>
          </a:prstGeom>
          <a:solidFill>
            <a:schemeClr val="bg2"/>
          </a:solid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33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1" name="Symbol zastępczy tekstu 2"/>
          <p:cNvSpPr>
            <a:spLocks noGrp="1"/>
          </p:cNvSpPr>
          <p:nvPr>
            <p:ph type="body" sz="quarter" idx="20" hasCustomPrompt="1"/>
          </p:nvPr>
        </p:nvSpPr>
        <p:spPr>
          <a:xfrm>
            <a:off x="2241577" y="5421687"/>
            <a:ext cx="9755320" cy="168000"/>
          </a:xfrm>
          <a:noFill/>
          <a:ln>
            <a:noFill/>
          </a:ln>
          <a:effectLst/>
        </p:spPr>
        <p:txBody>
          <a:bodyPr anchor="t"/>
          <a:lstStyle>
            <a:lvl1pPr marL="0" indent="0">
              <a:lnSpc>
                <a:spcPct val="80000"/>
              </a:lnSpc>
              <a:buFontTx/>
              <a:buNone/>
              <a:defRPr sz="1200" b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 marL="575986" indent="0">
              <a:buFontTx/>
              <a:buNone/>
              <a:defRPr sz="1600"/>
            </a:lvl2pPr>
            <a:lvl3pPr marL="1151971" indent="0">
              <a:buFontTx/>
              <a:buNone/>
              <a:defRPr sz="1600"/>
            </a:lvl3pPr>
            <a:lvl4pPr marL="1727957" indent="0">
              <a:buFontTx/>
              <a:buNone/>
              <a:defRPr sz="1600"/>
            </a:lvl4pPr>
            <a:lvl5pPr marL="2303942" indent="0">
              <a:buFontTx/>
              <a:buNone/>
              <a:defRPr sz="1600"/>
            </a:lvl5pPr>
          </a:lstStyle>
          <a:p>
            <a:pPr lvl="0"/>
            <a:r>
              <a:rPr lang="pl-PL" dirty="0"/>
              <a:t>Nazwa posiedzenia</a:t>
            </a:r>
          </a:p>
        </p:txBody>
      </p:sp>
      <p:sp>
        <p:nvSpPr>
          <p:cNvPr id="13" name="Symbol zastępczy tekstu 4"/>
          <p:cNvSpPr>
            <a:spLocks noGrp="1"/>
          </p:cNvSpPr>
          <p:nvPr>
            <p:ph type="body" sz="quarter" idx="18" hasCustomPrompt="1"/>
          </p:nvPr>
        </p:nvSpPr>
        <p:spPr>
          <a:xfrm>
            <a:off x="2241577" y="5598384"/>
            <a:ext cx="9755320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80000"/>
              </a:lnSpc>
              <a:buFontTx/>
              <a:buNone/>
              <a:defRPr lang="pl-PL" sz="1200" b="0" dirty="0" smtClean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>
              <a:defRPr lang="pl-PL" sz="1600" dirty="0" smtClean="0"/>
            </a:lvl2pPr>
            <a:lvl3pPr>
              <a:defRPr lang="pl-PL" sz="1600" dirty="0" smtClean="0"/>
            </a:lvl3pPr>
            <a:lvl4pPr>
              <a:defRPr lang="pl-PL" sz="1600" dirty="0" smtClean="0"/>
            </a:lvl4pPr>
            <a:lvl5pPr>
              <a:defRPr lang="pl-PL" sz="1600" dirty="0"/>
            </a:lvl5pPr>
          </a:lstStyle>
          <a:p>
            <a:pPr marL="0" lvl="0" indent="0">
              <a:buFontTx/>
              <a:buNone/>
            </a:pPr>
            <a:r>
              <a:rPr lang="pl-PL" dirty="0"/>
              <a:t>Data posiedzenia</a:t>
            </a:r>
          </a:p>
        </p:txBody>
      </p:sp>
      <p:sp>
        <p:nvSpPr>
          <p:cNvPr id="14" name="Symbol zastępczy tekstu 19"/>
          <p:cNvSpPr>
            <a:spLocks noGrp="1"/>
          </p:cNvSpPr>
          <p:nvPr>
            <p:ph type="body" sz="quarter" idx="21" hasCustomPrompt="1"/>
          </p:nvPr>
        </p:nvSpPr>
        <p:spPr>
          <a:xfrm>
            <a:off x="2241578" y="5774945"/>
            <a:ext cx="9755319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80000"/>
              </a:lnSpc>
              <a:buFontTx/>
              <a:buNone/>
              <a:defRPr lang="pl-PL" sz="1200" b="0" smtClean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>
              <a:defRPr lang="pl-PL" sz="1600" smtClean="0"/>
            </a:lvl2pPr>
            <a:lvl3pPr>
              <a:defRPr lang="pl-PL" sz="1600" smtClean="0"/>
            </a:lvl3pPr>
            <a:lvl4pPr>
              <a:defRPr lang="pl-PL" sz="1600" smtClean="0"/>
            </a:lvl4pPr>
            <a:lvl5pPr>
              <a:defRPr lang="pl-PL" sz="1600"/>
            </a:lvl5pPr>
          </a:lstStyle>
          <a:p>
            <a:pPr marL="0" lvl="0" indent="0">
              <a:buFontTx/>
              <a:buNone/>
            </a:pPr>
            <a:r>
              <a:rPr lang="pl-PL" dirty="0"/>
              <a:t>Imię i nazwisko osoby prezentującej</a:t>
            </a:r>
          </a:p>
        </p:txBody>
      </p:sp>
      <p:sp>
        <p:nvSpPr>
          <p:cNvPr id="15" name="Symbol zastępczy tekstu 21"/>
          <p:cNvSpPr>
            <a:spLocks noGrp="1"/>
          </p:cNvSpPr>
          <p:nvPr>
            <p:ph type="body" sz="quarter" idx="22" hasCustomPrompt="1"/>
          </p:nvPr>
        </p:nvSpPr>
        <p:spPr>
          <a:xfrm>
            <a:off x="2241577" y="5949427"/>
            <a:ext cx="9755320" cy="168000"/>
          </a:xfr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lang="pl-PL" sz="1200" b="0" cap="none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80000"/>
              </a:lnSpc>
              <a:buNone/>
            </a:pPr>
            <a:r>
              <a:rPr lang="pl-PL" dirty="0"/>
              <a:t>Nazwa jednostki organizacyjnej</a:t>
            </a:r>
          </a:p>
        </p:txBody>
      </p:sp>
      <p:sp>
        <p:nvSpPr>
          <p:cNvPr id="17" name="Rectangle 9"/>
          <p:cNvSpPr/>
          <p:nvPr userDrawn="1"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178336158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ona tytułowa z tłe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orme libre 11"/>
          <p:cNvSpPr/>
          <p:nvPr/>
        </p:nvSpPr>
        <p:spPr>
          <a:xfrm>
            <a:off x="340800" y="32640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5864 h 4392000"/>
              <a:gd name="connsiteX5" fmla="*/ 8892000 w 8892000"/>
              <a:gd name="connsiteY5" fmla="*/ 4146136 h 4392000"/>
              <a:gd name="connsiteX6" fmla="*/ 8892000 w 8892000"/>
              <a:gd name="connsiteY6" fmla="*/ 4392000 h 4392000"/>
              <a:gd name="connsiteX7" fmla="*/ 8646136 w 8892000"/>
              <a:gd name="connsiteY7" fmla="*/ 4392000 h 4392000"/>
              <a:gd name="connsiteX8" fmla="*/ 5292000 w 8892000"/>
              <a:gd name="connsiteY8" fmla="*/ 4392000 h 4392000"/>
              <a:gd name="connsiteX9" fmla="*/ 245864 w 8892000"/>
              <a:gd name="connsiteY9" fmla="*/ 4392000 h 4392000"/>
              <a:gd name="connsiteX10" fmla="*/ 0 w 8892000"/>
              <a:gd name="connsiteY10" fmla="*/ 4146136 h 4392000"/>
              <a:gd name="connsiteX11" fmla="*/ 0 w 8892000"/>
              <a:gd name="connsiteY11" fmla="*/ 245864 h 4392000"/>
              <a:gd name="connsiteX12" fmla="*/ 245864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45864"/>
                </a:lnTo>
                <a:lnTo>
                  <a:pt x="8892000" y="4146136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 noProof="0"/>
          </a:p>
        </p:txBody>
      </p:sp>
      <p:sp>
        <p:nvSpPr>
          <p:cNvPr id="15" name="Forme libre 16"/>
          <p:cNvSpPr/>
          <p:nvPr/>
        </p:nvSpPr>
        <p:spPr bwMode="gray">
          <a:xfrm>
            <a:off x="431802" y="333378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</p:spPr>
        <p:txBody>
          <a:bodyPr vert="horz" lIns="0" tIns="0" rIns="0" bIns="0" rtlCol="0" anchor="t" anchorCtr="0">
            <a:noAutofit/>
          </a:bodyPr>
          <a:lstStyle/>
          <a:p>
            <a:pPr lvl="0" defTabSz="91434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sz="3751" b="0" cap="all" baseline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0" name="Forme libre 16"/>
          <p:cNvSpPr/>
          <p:nvPr/>
        </p:nvSpPr>
        <p:spPr bwMode="gray">
          <a:xfrm>
            <a:off x="431802" y="333378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</p:spPr>
        <p:txBody>
          <a:bodyPr vert="horz" lIns="0" tIns="0" rIns="0" bIns="0" rtlCol="0" anchor="t" anchorCtr="0">
            <a:noAutofit/>
          </a:bodyPr>
          <a:lstStyle/>
          <a:p>
            <a:pPr lvl="0" defTabSz="91434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sz="3751" b="0" cap="all" baseline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6" name="Espace réservé du texte 13"/>
          <p:cNvSpPr>
            <a:spLocks noGrp="1" noChangeAspect="1"/>
          </p:cNvSpPr>
          <p:nvPr>
            <p:ph type="body" sz="quarter" idx="17" hasCustomPrompt="1"/>
          </p:nvPr>
        </p:nvSpPr>
        <p:spPr bwMode="gray">
          <a:xfrm>
            <a:off x="5616000" y="1"/>
            <a:ext cx="960000" cy="823385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33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9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2241576" y="3979549"/>
            <a:ext cx="9755320" cy="1439999"/>
          </a:xfrm>
        </p:spPr>
        <p:txBody>
          <a:bodyPr tIns="180000" anchor="ctr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733" b="0" cap="all" baseline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TYTUŁ PREZENTACJI </a:t>
            </a:r>
            <a:br>
              <a:rPr lang="fr-FR" noProof="0" dirty="0"/>
            </a:br>
            <a:r>
              <a:rPr lang="fr-FR" noProof="0" dirty="0"/>
              <a:t>– SLAJD BEZ ZDJĘCIA 1</a:t>
            </a:r>
          </a:p>
        </p:txBody>
      </p:sp>
      <p:sp>
        <p:nvSpPr>
          <p:cNvPr id="30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877091" y="4293096"/>
            <a:ext cx="192000" cy="912000"/>
          </a:xfrm>
          <a:prstGeom prst="roundRect">
            <a:avLst>
              <a:gd name="adj" fmla="val 13081"/>
            </a:avLst>
          </a:prstGeom>
          <a:solidFill>
            <a:schemeClr val="bg2"/>
          </a:solid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33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pic>
        <p:nvPicPr>
          <p:cNvPr id="31" name="Obraz 30" descr="CA_logo symetryczne 1L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8234" y="6281744"/>
            <a:ext cx="1519221" cy="480053"/>
          </a:xfrm>
          <a:prstGeom prst="rect">
            <a:avLst/>
          </a:prstGeom>
        </p:spPr>
      </p:pic>
      <p:sp>
        <p:nvSpPr>
          <p:cNvPr id="36" name="Rectangle 9"/>
          <p:cNvSpPr/>
          <p:nvPr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37" name="Espace réservé de la date 5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  <p:sp>
        <p:nvSpPr>
          <p:cNvPr id="38" name="Espace réservé du numéro de diapositive 6"/>
          <p:cNvSpPr>
            <a:spLocks noGrp="1"/>
          </p:cNvSpPr>
          <p:nvPr>
            <p:ph type="sldNum" sz="quarter" idx="11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39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13" name="Symbol zastępczy tekstu 2"/>
          <p:cNvSpPr>
            <a:spLocks noGrp="1"/>
          </p:cNvSpPr>
          <p:nvPr>
            <p:ph type="body" sz="quarter" idx="20" hasCustomPrompt="1"/>
          </p:nvPr>
        </p:nvSpPr>
        <p:spPr>
          <a:xfrm>
            <a:off x="2241577" y="5421687"/>
            <a:ext cx="9755320" cy="168000"/>
          </a:xfrm>
          <a:noFill/>
          <a:ln>
            <a:noFill/>
          </a:ln>
          <a:effectLst/>
        </p:spPr>
        <p:txBody>
          <a:bodyPr anchor="t"/>
          <a:lstStyle>
            <a:lvl1pPr marL="0" indent="0">
              <a:lnSpc>
                <a:spcPct val="80000"/>
              </a:lnSpc>
              <a:buFontTx/>
              <a:buNone/>
              <a:defRPr sz="1200" b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 marL="575986" indent="0">
              <a:buFontTx/>
              <a:buNone/>
              <a:defRPr sz="1600"/>
            </a:lvl2pPr>
            <a:lvl3pPr marL="1151971" indent="0">
              <a:buFontTx/>
              <a:buNone/>
              <a:defRPr sz="1600"/>
            </a:lvl3pPr>
            <a:lvl4pPr marL="1727957" indent="0">
              <a:buFontTx/>
              <a:buNone/>
              <a:defRPr sz="1600"/>
            </a:lvl4pPr>
            <a:lvl5pPr marL="2303942" indent="0">
              <a:buFontTx/>
              <a:buNone/>
              <a:defRPr sz="1600"/>
            </a:lvl5pPr>
          </a:lstStyle>
          <a:p>
            <a:pPr lvl="0"/>
            <a:r>
              <a:rPr lang="pl-PL" dirty="0"/>
              <a:t>Nazwa posiedzenia</a:t>
            </a:r>
          </a:p>
        </p:txBody>
      </p:sp>
      <p:sp>
        <p:nvSpPr>
          <p:cNvPr id="14" name="Symbol zastępczy tekstu 4"/>
          <p:cNvSpPr>
            <a:spLocks noGrp="1"/>
          </p:cNvSpPr>
          <p:nvPr>
            <p:ph type="body" sz="quarter" idx="18" hasCustomPrompt="1"/>
          </p:nvPr>
        </p:nvSpPr>
        <p:spPr>
          <a:xfrm>
            <a:off x="2241577" y="5598384"/>
            <a:ext cx="9755320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80000"/>
              </a:lnSpc>
              <a:buFontTx/>
              <a:buNone/>
              <a:defRPr lang="pl-PL" sz="1200" b="0" dirty="0" smtClean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>
              <a:defRPr lang="pl-PL" sz="1600" dirty="0" smtClean="0"/>
            </a:lvl2pPr>
            <a:lvl3pPr>
              <a:defRPr lang="pl-PL" sz="1600" dirty="0" smtClean="0"/>
            </a:lvl3pPr>
            <a:lvl4pPr>
              <a:defRPr lang="pl-PL" sz="1600" dirty="0" smtClean="0"/>
            </a:lvl4pPr>
            <a:lvl5pPr>
              <a:defRPr lang="pl-PL" sz="1600" dirty="0"/>
            </a:lvl5pPr>
          </a:lstStyle>
          <a:p>
            <a:pPr marL="0" lvl="0" indent="0">
              <a:buFontTx/>
              <a:buNone/>
            </a:pPr>
            <a:r>
              <a:rPr lang="pl-PL" dirty="0"/>
              <a:t>Data posiedzenia</a:t>
            </a:r>
          </a:p>
        </p:txBody>
      </p:sp>
      <p:sp>
        <p:nvSpPr>
          <p:cNvPr id="16" name="Symbol zastępczy tekstu 19"/>
          <p:cNvSpPr>
            <a:spLocks noGrp="1"/>
          </p:cNvSpPr>
          <p:nvPr>
            <p:ph type="body" sz="quarter" idx="21" hasCustomPrompt="1"/>
          </p:nvPr>
        </p:nvSpPr>
        <p:spPr>
          <a:xfrm>
            <a:off x="2241578" y="5774945"/>
            <a:ext cx="9755319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80000"/>
              </a:lnSpc>
              <a:buFontTx/>
              <a:buNone/>
              <a:defRPr lang="pl-PL" sz="1200" b="0" smtClean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>
              <a:defRPr lang="pl-PL" sz="1600" smtClean="0"/>
            </a:lvl2pPr>
            <a:lvl3pPr>
              <a:defRPr lang="pl-PL" sz="1600" smtClean="0"/>
            </a:lvl3pPr>
            <a:lvl4pPr>
              <a:defRPr lang="pl-PL" sz="1600" smtClean="0"/>
            </a:lvl4pPr>
            <a:lvl5pPr>
              <a:defRPr lang="pl-PL" sz="1600"/>
            </a:lvl5pPr>
          </a:lstStyle>
          <a:p>
            <a:pPr marL="0" lvl="0" indent="0">
              <a:buFontTx/>
              <a:buNone/>
            </a:pPr>
            <a:r>
              <a:rPr lang="pl-PL" dirty="0"/>
              <a:t>Imię i nazwisko osoby prezentującej</a:t>
            </a:r>
          </a:p>
        </p:txBody>
      </p:sp>
      <p:sp>
        <p:nvSpPr>
          <p:cNvPr id="17" name="Symbol zastępczy tekstu 21"/>
          <p:cNvSpPr>
            <a:spLocks noGrp="1"/>
          </p:cNvSpPr>
          <p:nvPr>
            <p:ph type="body" sz="quarter" idx="22" hasCustomPrompt="1"/>
          </p:nvPr>
        </p:nvSpPr>
        <p:spPr>
          <a:xfrm>
            <a:off x="2241577" y="5949427"/>
            <a:ext cx="9755320" cy="168000"/>
          </a:xfr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lang="pl-PL" sz="1200" b="0" cap="none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80000"/>
              </a:lnSpc>
              <a:buNone/>
            </a:pPr>
            <a:r>
              <a:rPr lang="pl-PL" dirty="0"/>
              <a:t>Nazwa jednostki organizacyjnej</a:t>
            </a:r>
          </a:p>
        </p:txBody>
      </p:sp>
      <p:sp>
        <p:nvSpPr>
          <p:cNvPr id="19" name="Forme libre 16"/>
          <p:cNvSpPr/>
          <p:nvPr userDrawn="1"/>
        </p:nvSpPr>
        <p:spPr bwMode="gray">
          <a:xfrm>
            <a:off x="431802" y="333378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</p:spPr>
        <p:txBody>
          <a:bodyPr vert="horz" lIns="0" tIns="0" rIns="0" bIns="0" rtlCol="0" anchor="t" anchorCtr="0">
            <a:noAutofit/>
          </a:bodyPr>
          <a:lstStyle/>
          <a:p>
            <a:pPr lvl="0" defTabSz="91434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sz="3751" b="0" cap="all" baseline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2" name="Rectangle 9"/>
          <p:cNvSpPr/>
          <p:nvPr userDrawn="1"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173388482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ona tytułowa z tł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orme libre 11"/>
          <p:cNvSpPr/>
          <p:nvPr/>
        </p:nvSpPr>
        <p:spPr>
          <a:xfrm>
            <a:off x="340800" y="32640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5864 h 4392000"/>
              <a:gd name="connsiteX5" fmla="*/ 8892000 w 8892000"/>
              <a:gd name="connsiteY5" fmla="*/ 4146136 h 4392000"/>
              <a:gd name="connsiteX6" fmla="*/ 8892000 w 8892000"/>
              <a:gd name="connsiteY6" fmla="*/ 4392000 h 4392000"/>
              <a:gd name="connsiteX7" fmla="*/ 8646136 w 8892000"/>
              <a:gd name="connsiteY7" fmla="*/ 4392000 h 4392000"/>
              <a:gd name="connsiteX8" fmla="*/ 5292000 w 8892000"/>
              <a:gd name="connsiteY8" fmla="*/ 4392000 h 4392000"/>
              <a:gd name="connsiteX9" fmla="*/ 245864 w 8892000"/>
              <a:gd name="connsiteY9" fmla="*/ 4392000 h 4392000"/>
              <a:gd name="connsiteX10" fmla="*/ 0 w 8892000"/>
              <a:gd name="connsiteY10" fmla="*/ 4146136 h 4392000"/>
              <a:gd name="connsiteX11" fmla="*/ 0 w 8892000"/>
              <a:gd name="connsiteY11" fmla="*/ 245864 h 4392000"/>
              <a:gd name="connsiteX12" fmla="*/ 245864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45864"/>
                </a:lnTo>
                <a:lnTo>
                  <a:pt x="8892000" y="4146136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rgbClr val="0095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 noProof="0"/>
          </a:p>
        </p:txBody>
      </p:sp>
      <p:sp>
        <p:nvSpPr>
          <p:cNvPr id="15" name="Forme libre 16"/>
          <p:cNvSpPr/>
          <p:nvPr/>
        </p:nvSpPr>
        <p:spPr bwMode="gray">
          <a:xfrm>
            <a:off x="431802" y="333378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</p:spPr>
        <p:txBody>
          <a:bodyPr vert="horz" lIns="0" tIns="0" rIns="0" bIns="0" rtlCol="0" anchor="t" anchorCtr="0">
            <a:noAutofit/>
          </a:bodyPr>
          <a:lstStyle/>
          <a:p>
            <a:pPr lvl="0" defTabSz="91434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sz="3751" b="0" cap="all" baseline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0" name="Forme libre 16"/>
          <p:cNvSpPr/>
          <p:nvPr/>
        </p:nvSpPr>
        <p:spPr bwMode="gray">
          <a:xfrm>
            <a:off x="431802" y="333378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</p:spPr>
        <p:txBody>
          <a:bodyPr vert="horz" lIns="0" tIns="0" rIns="0" bIns="0" rtlCol="0" anchor="t" anchorCtr="0">
            <a:noAutofit/>
          </a:bodyPr>
          <a:lstStyle/>
          <a:p>
            <a:pPr lvl="0" defTabSz="91434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sz="3751" b="0" cap="all" baseline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6" name="Espace réservé du texte 13"/>
          <p:cNvSpPr>
            <a:spLocks noGrp="1" noChangeAspect="1"/>
          </p:cNvSpPr>
          <p:nvPr>
            <p:ph type="body" sz="quarter" idx="17" hasCustomPrompt="1"/>
          </p:nvPr>
        </p:nvSpPr>
        <p:spPr bwMode="gray">
          <a:xfrm>
            <a:off x="5616000" y="1"/>
            <a:ext cx="960000" cy="823385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33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9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2241576" y="3979549"/>
            <a:ext cx="9755320" cy="1439999"/>
          </a:xfrm>
        </p:spPr>
        <p:txBody>
          <a:bodyPr tIns="180000" anchor="ctr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733" b="0" cap="all" baseline="0">
                <a:solidFill>
                  <a:schemeClr val="bg1"/>
                </a:solidFill>
              </a:defRPr>
            </a:lvl1pPr>
          </a:lstStyle>
          <a:p>
            <a:r>
              <a:rPr lang="pl-PL" noProof="0" dirty="0"/>
              <a:t>TYTUŁ PREZENTACJI</a:t>
            </a:r>
            <a:br>
              <a:rPr lang="pl-PL" noProof="0" dirty="0"/>
            </a:br>
            <a:r>
              <a:rPr lang="pl-PL" noProof="0" dirty="0"/>
              <a:t>– Slajd bez zdjęcia 2</a:t>
            </a:r>
          </a:p>
        </p:txBody>
      </p:sp>
      <p:sp>
        <p:nvSpPr>
          <p:cNvPr id="30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877091" y="4293096"/>
            <a:ext cx="192000" cy="912000"/>
          </a:xfrm>
          <a:prstGeom prst="roundRect">
            <a:avLst>
              <a:gd name="adj" fmla="val 13081"/>
            </a:avLst>
          </a:prstGeom>
          <a:solidFill>
            <a:schemeClr val="bg2"/>
          </a:solid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33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pic>
        <p:nvPicPr>
          <p:cNvPr id="17" name="Obraz 16" descr="CA_logo symetryczne 1L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8234" y="6281744"/>
            <a:ext cx="1519221" cy="480053"/>
          </a:xfrm>
          <a:prstGeom prst="rect">
            <a:avLst/>
          </a:prstGeom>
        </p:spPr>
      </p:pic>
      <p:sp>
        <p:nvSpPr>
          <p:cNvPr id="28" name="Rectangle 9"/>
          <p:cNvSpPr/>
          <p:nvPr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31" name="Espace réservé de la date 5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  <p:sp>
        <p:nvSpPr>
          <p:cNvPr id="32" name="Espace réservé du numéro de diapositive 6"/>
          <p:cNvSpPr>
            <a:spLocks noGrp="1"/>
          </p:cNvSpPr>
          <p:nvPr>
            <p:ph type="sldNum" sz="quarter" idx="11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33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13" name="Symbol zastępczy tekstu 2"/>
          <p:cNvSpPr>
            <a:spLocks noGrp="1"/>
          </p:cNvSpPr>
          <p:nvPr>
            <p:ph type="body" sz="quarter" idx="20" hasCustomPrompt="1"/>
          </p:nvPr>
        </p:nvSpPr>
        <p:spPr>
          <a:xfrm>
            <a:off x="2241577" y="5421687"/>
            <a:ext cx="9755320" cy="168000"/>
          </a:xfrm>
          <a:noFill/>
          <a:ln>
            <a:noFill/>
          </a:ln>
          <a:effectLst/>
        </p:spPr>
        <p:txBody>
          <a:bodyPr anchor="t"/>
          <a:lstStyle>
            <a:lvl1pPr marL="0" indent="0">
              <a:lnSpc>
                <a:spcPct val="80000"/>
              </a:lnSpc>
              <a:buFontTx/>
              <a:buNone/>
              <a:defRPr sz="1200" b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 marL="575986" indent="0">
              <a:buFontTx/>
              <a:buNone/>
              <a:defRPr sz="1600"/>
            </a:lvl2pPr>
            <a:lvl3pPr marL="1151971" indent="0">
              <a:buFontTx/>
              <a:buNone/>
              <a:defRPr sz="1600"/>
            </a:lvl3pPr>
            <a:lvl4pPr marL="1727957" indent="0">
              <a:buFontTx/>
              <a:buNone/>
              <a:defRPr sz="1600"/>
            </a:lvl4pPr>
            <a:lvl5pPr marL="2303942" indent="0">
              <a:buFontTx/>
              <a:buNone/>
              <a:defRPr sz="1600"/>
            </a:lvl5pPr>
          </a:lstStyle>
          <a:p>
            <a:pPr lvl="0"/>
            <a:r>
              <a:rPr lang="pl-PL" dirty="0"/>
              <a:t>Nazwa posiedzenia</a:t>
            </a:r>
          </a:p>
        </p:txBody>
      </p:sp>
      <p:sp>
        <p:nvSpPr>
          <p:cNvPr id="14" name="Symbol zastępczy tekstu 4"/>
          <p:cNvSpPr>
            <a:spLocks noGrp="1"/>
          </p:cNvSpPr>
          <p:nvPr>
            <p:ph type="body" sz="quarter" idx="18" hasCustomPrompt="1"/>
          </p:nvPr>
        </p:nvSpPr>
        <p:spPr>
          <a:xfrm>
            <a:off x="2241577" y="5598384"/>
            <a:ext cx="9755320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80000"/>
              </a:lnSpc>
              <a:buFontTx/>
              <a:buNone/>
              <a:defRPr lang="pl-PL" sz="1200" b="0" dirty="0" smtClean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>
              <a:defRPr lang="pl-PL" sz="1600" dirty="0" smtClean="0"/>
            </a:lvl2pPr>
            <a:lvl3pPr>
              <a:defRPr lang="pl-PL" sz="1600" dirty="0" smtClean="0"/>
            </a:lvl3pPr>
            <a:lvl4pPr>
              <a:defRPr lang="pl-PL" sz="1600" dirty="0" smtClean="0"/>
            </a:lvl4pPr>
            <a:lvl5pPr>
              <a:defRPr lang="pl-PL" sz="1600" dirty="0"/>
            </a:lvl5pPr>
          </a:lstStyle>
          <a:p>
            <a:pPr marL="0" lvl="0" indent="0">
              <a:buFontTx/>
              <a:buNone/>
            </a:pPr>
            <a:r>
              <a:rPr lang="pl-PL" dirty="0"/>
              <a:t>Data posiedzenia</a:t>
            </a:r>
          </a:p>
        </p:txBody>
      </p:sp>
      <p:sp>
        <p:nvSpPr>
          <p:cNvPr id="16" name="Symbol zastępczy tekstu 19"/>
          <p:cNvSpPr>
            <a:spLocks noGrp="1"/>
          </p:cNvSpPr>
          <p:nvPr>
            <p:ph type="body" sz="quarter" idx="21" hasCustomPrompt="1"/>
          </p:nvPr>
        </p:nvSpPr>
        <p:spPr>
          <a:xfrm>
            <a:off x="2241578" y="5774945"/>
            <a:ext cx="9755319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80000"/>
              </a:lnSpc>
              <a:buFontTx/>
              <a:buNone/>
              <a:defRPr lang="pl-PL" sz="1200" b="0" smtClean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>
              <a:defRPr lang="pl-PL" sz="1600" smtClean="0"/>
            </a:lvl2pPr>
            <a:lvl3pPr>
              <a:defRPr lang="pl-PL" sz="1600" smtClean="0"/>
            </a:lvl3pPr>
            <a:lvl4pPr>
              <a:defRPr lang="pl-PL" sz="1600" smtClean="0"/>
            </a:lvl4pPr>
            <a:lvl5pPr>
              <a:defRPr lang="pl-PL" sz="1600"/>
            </a:lvl5pPr>
          </a:lstStyle>
          <a:p>
            <a:pPr marL="0" lvl="0" indent="0">
              <a:buFontTx/>
              <a:buNone/>
            </a:pPr>
            <a:r>
              <a:rPr lang="pl-PL" dirty="0"/>
              <a:t>Imię i nazwisko osoby prezentującej</a:t>
            </a:r>
          </a:p>
        </p:txBody>
      </p:sp>
      <p:sp>
        <p:nvSpPr>
          <p:cNvPr id="18" name="Symbol zastępczy tekstu 21"/>
          <p:cNvSpPr>
            <a:spLocks noGrp="1"/>
          </p:cNvSpPr>
          <p:nvPr>
            <p:ph type="body" sz="quarter" idx="22" hasCustomPrompt="1"/>
          </p:nvPr>
        </p:nvSpPr>
        <p:spPr>
          <a:xfrm>
            <a:off x="2241577" y="5949427"/>
            <a:ext cx="9755320" cy="168000"/>
          </a:xfr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lang="pl-PL" sz="1200" b="0" cap="none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80000"/>
              </a:lnSpc>
              <a:buNone/>
            </a:pPr>
            <a:r>
              <a:rPr lang="pl-PL" dirty="0"/>
              <a:t>Nazwa jednostki organizacyjnej</a:t>
            </a:r>
          </a:p>
        </p:txBody>
      </p:sp>
      <p:sp>
        <p:nvSpPr>
          <p:cNvPr id="21" name="Forme libre 16"/>
          <p:cNvSpPr/>
          <p:nvPr userDrawn="1"/>
        </p:nvSpPr>
        <p:spPr bwMode="gray">
          <a:xfrm>
            <a:off x="431802" y="333378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</p:spPr>
        <p:txBody>
          <a:bodyPr vert="horz" lIns="0" tIns="0" rIns="0" bIns="0" rtlCol="0" anchor="t" anchorCtr="0">
            <a:noAutofit/>
          </a:bodyPr>
          <a:lstStyle/>
          <a:p>
            <a:pPr lvl="0" defTabSz="91434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sz="3751" b="0" cap="all" baseline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4" name="Rectangle 9"/>
          <p:cNvSpPr/>
          <p:nvPr userDrawn="1"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367632224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ona przekładkow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rme libre 6"/>
          <p:cNvSpPr/>
          <p:nvPr/>
        </p:nvSpPr>
        <p:spPr>
          <a:xfrm>
            <a:off x="340800" y="32640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5864 h 4392000"/>
              <a:gd name="connsiteX5" fmla="*/ 8892000 w 8892000"/>
              <a:gd name="connsiteY5" fmla="*/ 4146136 h 4392000"/>
              <a:gd name="connsiteX6" fmla="*/ 8892000 w 8892000"/>
              <a:gd name="connsiteY6" fmla="*/ 4392000 h 4392000"/>
              <a:gd name="connsiteX7" fmla="*/ 8646136 w 8892000"/>
              <a:gd name="connsiteY7" fmla="*/ 4392000 h 4392000"/>
              <a:gd name="connsiteX8" fmla="*/ 5292000 w 8892000"/>
              <a:gd name="connsiteY8" fmla="*/ 4392000 h 4392000"/>
              <a:gd name="connsiteX9" fmla="*/ 245864 w 8892000"/>
              <a:gd name="connsiteY9" fmla="*/ 4392000 h 4392000"/>
              <a:gd name="connsiteX10" fmla="*/ 0 w 8892000"/>
              <a:gd name="connsiteY10" fmla="*/ 4146136 h 4392000"/>
              <a:gd name="connsiteX11" fmla="*/ 0 w 8892000"/>
              <a:gd name="connsiteY11" fmla="*/ 245864 h 4392000"/>
              <a:gd name="connsiteX12" fmla="*/ 245864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45864"/>
                </a:lnTo>
                <a:lnTo>
                  <a:pt x="8892000" y="4146136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rgbClr val="0095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786911" y="514352"/>
            <a:ext cx="7816499" cy="5511800"/>
          </a:xfrm>
        </p:spPr>
        <p:txBody>
          <a:bodyPr anchor="ctr" anchorCtr="0"/>
          <a:lstStyle>
            <a:lvl1pPr>
              <a:defRPr sz="3733" b="0" cap="all" baseline="0">
                <a:solidFill>
                  <a:schemeClr val="bg1"/>
                </a:solidFill>
              </a:defRPr>
            </a:lvl1pPr>
          </a:lstStyle>
          <a:p>
            <a:r>
              <a:rPr lang="pl-PL" noProof="0" dirty="0"/>
              <a:t>Slajd przekładkowy</a:t>
            </a:r>
          </a:p>
        </p:txBody>
      </p:sp>
      <p:sp>
        <p:nvSpPr>
          <p:cNvPr id="11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r>
              <a:rPr lang="pl-PL"/>
              <a:t>29.09.2017</a:t>
            </a:r>
            <a:endParaRPr lang="fr-FR"/>
          </a:p>
        </p:txBody>
      </p:sp>
      <p:sp>
        <p:nvSpPr>
          <p:cNvPr id="12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2843142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r>
              <a:rPr lang="pl-PL"/>
              <a:t>29.09.2017</a:t>
            </a:r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7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3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rgbClr val="008789"/>
                </a:solidFill>
              </a:rPr>
              <a:t>Tytuł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629833"/>
            <a:ext cx="10835216" cy="4438651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</p:spTree>
    <p:extLst>
      <p:ext uri="{BB962C8B-B14F-4D97-AF65-F5344CB8AC3E}">
        <p14:creationId xmlns:p14="http://schemas.microsoft.com/office/powerpoint/2010/main" val="232808616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ajd z tekstem 2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r>
              <a:rPr lang="pl-PL"/>
              <a:t>29.09.2017</a:t>
            </a:r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7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3582"/>
            <a:ext cx="10824633" cy="1295399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rgbClr val="008789"/>
                </a:solidFill>
              </a:rPr>
              <a:t>Tytuł </a:t>
            </a:r>
            <a:br>
              <a:rPr lang="pl-PL" dirty="0">
                <a:solidFill>
                  <a:srgbClr val="008789"/>
                </a:solidFill>
              </a:rPr>
            </a:br>
            <a:r>
              <a:rPr lang="pl-PL" dirty="0">
                <a:solidFill>
                  <a:srgbClr val="008789"/>
                </a:solidFill>
              </a:rPr>
              <a:t>na dwie linie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2108985"/>
            <a:ext cx="10835216" cy="3959499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</p:spTree>
    <p:extLst>
      <p:ext uri="{BB962C8B-B14F-4D97-AF65-F5344CB8AC3E}">
        <p14:creationId xmlns:p14="http://schemas.microsoft.com/office/powerpoint/2010/main" val="226983539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r>
              <a:rPr lang="pl-PL"/>
              <a:t>29.09.2017</a:t>
            </a:r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962383"/>
            <a:ext cx="10835216" cy="4106100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924311" y="1457657"/>
            <a:ext cx="10801351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8669227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ommai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042269" y="557020"/>
            <a:ext cx="8652316" cy="1463823"/>
          </a:xfrm>
        </p:spPr>
        <p:txBody>
          <a:bodyPr/>
          <a:lstStyle>
            <a:lvl1pPr>
              <a:defRPr sz="4750" b="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3042269" y="2545854"/>
            <a:ext cx="8652315" cy="3480296"/>
          </a:xfrm>
        </p:spPr>
        <p:txBody>
          <a:bodyPr/>
          <a:lstStyle>
            <a:lvl1pPr marL="361950" indent="-361950">
              <a:lnSpc>
                <a:spcPct val="125000"/>
              </a:lnSpc>
              <a:buClr>
                <a:schemeClr val="bg2"/>
              </a:buClr>
              <a:buSzPct val="100000"/>
              <a:defRPr sz="1800" b="0" cap="all" baseline="0">
                <a:solidFill>
                  <a:schemeClr val="accent3"/>
                </a:solidFill>
              </a:defRPr>
            </a:lvl1pPr>
            <a:lvl2pPr marL="625475" indent="-265113">
              <a:buClr>
                <a:schemeClr val="bg2"/>
              </a:buClr>
              <a:buSzPct val="80000"/>
              <a:buFont typeface="Wingdings" pitchFamily="2" charset="2"/>
              <a:buChar char="n"/>
              <a:defRPr sz="1600">
                <a:solidFill>
                  <a:schemeClr val="accent3"/>
                </a:solidFill>
              </a:defRPr>
            </a:lvl2pPr>
            <a:lvl4pPr>
              <a:buSzPct val="90000"/>
              <a:defRPr/>
            </a:lvl4pPr>
            <a:lvl5pPr>
              <a:buSzPct val="90000"/>
              <a:defRPr/>
            </a:lvl5pPr>
          </a:lstStyle>
          <a:p>
            <a:pPr lvl="0"/>
            <a:r>
              <a:rPr lang="fr-FR" dirty="0"/>
              <a:t>Texte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BPI - AAP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2789359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3 - dwie kolum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r>
              <a:rPr lang="pl-PL"/>
              <a:t>29.09.2017</a:t>
            </a:r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962383"/>
            <a:ext cx="10835216" cy="4106100"/>
          </a:xfrm>
        </p:spPr>
        <p:txBody>
          <a:bodyPr numCol="2" spcCol="180000"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924311" y="1457657"/>
            <a:ext cx="10801351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86367409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r>
              <a:rPr lang="pl-PL"/>
              <a:t>29.09.2017</a:t>
            </a:r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962383"/>
            <a:ext cx="5291019" cy="4106100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924312" y="1457657"/>
            <a:ext cx="5291691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 1</a:t>
            </a:r>
            <a:endParaRPr lang="pl-PL" dirty="0"/>
          </a:p>
        </p:txBody>
      </p:sp>
      <p:sp>
        <p:nvSpPr>
          <p:cNvPr id="8" name="Symbol zastępczy zawartości 2"/>
          <p:cNvSpPr>
            <a:spLocks noGrp="1"/>
          </p:cNvSpPr>
          <p:nvPr>
            <p:ph sz="quarter" idx="15" hasCustomPrompt="1"/>
          </p:nvPr>
        </p:nvSpPr>
        <p:spPr>
          <a:xfrm>
            <a:off x="6464429" y="1962383"/>
            <a:ext cx="5291019" cy="4106100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13" name="Symbol zastępczy zawartości 4"/>
          <p:cNvSpPr>
            <a:spLocks noGrp="1"/>
          </p:cNvSpPr>
          <p:nvPr>
            <p:ph sz="quarter" idx="16" hasCustomPrompt="1"/>
          </p:nvPr>
        </p:nvSpPr>
        <p:spPr>
          <a:xfrm>
            <a:off x="6463757" y="1457657"/>
            <a:ext cx="5291691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 1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14612496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y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r>
              <a:rPr lang="pl-PL"/>
              <a:t>29.09.2017</a:t>
            </a:r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18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3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Cytat</a:t>
            </a:r>
          </a:p>
        </p:txBody>
      </p:sp>
      <p:pic>
        <p:nvPicPr>
          <p:cNvPr id="21" name="Obraz 20">
            <a:extLst>
              <a:ext uri="{FF2B5EF4-FFF2-40B4-BE49-F238E27FC236}">
                <a16:creationId xmlns:a16="http://schemas.microsoft.com/office/drawing/2014/main" id="{51216647-0973-469E-890C-D049E1B0532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39343" y="2063798"/>
            <a:ext cx="390099" cy="1710429"/>
          </a:xfrm>
          <a:prstGeom prst="rect">
            <a:avLst/>
          </a:prstGeom>
        </p:spPr>
      </p:pic>
      <p:sp>
        <p:nvSpPr>
          <p:cNvPr id="3" name="Symbol zastępczy zawartości 2"/>
          <p:cNvSpPr>
            <a:spLocks noGrp="1"/>
          </p:cNvSpPr>
          <p:nvPr>
            <p:ph sz="quarter" idx="14" hasCustomPrompt="1"/>
          </p:nvPr>
        </p:nvSpPr>
        <p:spPr>
          <a:xfrm>
            <a:off x="2237317" y="2063751"/>
            <a:ext cx="9499600" cy="1710267"/>
          </a:xfrm>
        </p:spPr>
        <p:txBody>
          <a:bodyPr/>
          <a:lstStyle>
            <a:lvl1pPr marL="0" indent="0">
              <a:buNone/>
              <a:defRPr sz="3733" b="0" i="1">
                <a:solidFill>
                  <a:srgbClr val="009597"/>
                </a:solidFill>
              </a:defRPr>
            </a:lvl1pPr>
          </a:lstStyle>
          <a:p>
            <a:pPr lvl="0"/>
            <a:r>
              <a:rPr lang="pl-PL" dirty="0" err="1"/>
              <a:t>Lorem</a:t>
            </a:r>
            <a:r>
              <a:rPr lang="pl-PL" dirty="0"/>
              <a:t> </a:t>
            </a:r>
            <a:r>
              <a:rPr lang="pl-PL" dirty="0" err="1"/>
              <a:t>ipsum</a:t>
            </a:r>
            <a:r>
              <a:rPr lang="pl-PL" dirty="0"/>
              <a:t> </a:t>
            </a:r>
            <a:r>
              <a:rPr lang="pl-PL" dirty="0" err="1"/>
              <a:t>dolor</a:t>
            </a:r>
            <a:r>
              <a:rPr lang="pl-PL" dirty="0"/>
              <a:t> sit </a:t>
            </a:r>
            <a:r>
              <a:rPr lang="pl-PL" dirty="0" err="1"/>
              <a:t>amet</a:t>
            </a:r>
            <a:r>
              <a:rPr lang="pl-PL" dirty="0"/>
              <a:t>, </a:t>
            </a:r>
            <a:r>
              <a:rPr lang="pl-PL" dirty="0" err="1"/>
              <a:t>consectetur</a:t>
            </a:r>
            <a:r>
              <a:rPr lang="pl-PL" dirty="0"/>
              <a:t> </a:t>
            </a:r>
            <a:r>
              <a:rPr lang="pl-PL" dirty="0" err="1"/>
              <a:t>adipiscing</a:t>
            </a:r>
            <a:r>
              <a:rPr lang="pl-PL" dirty="0"/>
              <a:t> elit, </a:t>
            </a:r>
            <a:r>
              <a:rPr lang="pl-PL" dirty="0" err="1"/>
              <a:t>sed</a:t>
            </a:r>
            <a:r>
              <a:rPr lang="pl-PL" dirty="0"/>
              <a:t> do </a:t>
            </a:r>
            <a:r>
              <a:rPr lang="pl-PL" dirty="0" err="1"/>
              <a:t>eiusmod</a:t>
            </a:r>
            <a:r>
              <a:rPr lang="pl-PL" dirty="0"/>
              <a:t> </a:t>
            </a:r>
            <a:r>
              <a:rPr lang="pl-PL" dirty="0" err="1"/>
              <a:t>tempor</a:t>
            </a:r>
            <a:r>
              <a:rPr lang="pl-PL" dirty="0"/>
              <a:t> </a:t>
            </a:r>
            <a:r>
              <a:rPr lang="pl-PL" dirty="0" err="1"/>
              <a:t>incididunt</a:t>
            </a:r>
            <a:r>
              <a:rPr lang="pl-PL" dirty="0"/>
              <a:t> </a:t>
            </a:r>
            <a:r>
              <a:rPr lang="pl-PL" dirty="0" err="1"/>
              <a:t>ut</a:t>
            </a:r>
            <a:r>
              <a:rPr lang="pl-PL" dirty="0"/>
              <a:t> </a:t>
            </a:r>
            <a:r>
              <a:rPr lang="pl-PL" dirty="0" err="1"/>
              <a:t>labore</a:t>
            </a:r>
            <a:r>
              <a:rPr lang="pl-PL" dirty="0"/>
              <a:t> et </a:t>
            </a:r>
            <a:r>
              <a:rPr lang="pl-PL" dirty="0" err="1"/>
              <a:t>dolore</a:t>
            </a:r>
            <a:r>
              <a:rPr lang="pl-PL" dirty="0"/>
              <a:t> </a:t>
            </a:r>
            <a:r>
              <a:rPr lang="pl-PL" dirty="0" err="1"/>
              <a:t>magna</a:t>
            </a:r>
            <a:r>
              <a:rPr lang="pl-PL" dirty="0"/>
              <a:t> </a:t>
            </a:r>
            <a:r>
              <a:rPr lang="pl-PL" dirty="0" err="1"/>
              <a:t>aliqua</a:t>
            </a:r>
            <a:endParaRPr lang="pl-PL" dirty="0"/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5" hasCustomPrompt="1"/>
          </p:nvPr>
        </p:nvSpPr>
        <p:spPr>
          <a:xfrm>
            <a:off x="2236597" y="4411361"/>
            <a:ext cx="9457267" cy="1176867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 err="1"/>
              <a:t>Lorem</a:t>
            </a:r>
            <a:r>
              <a:rPr lang="pl-PL" dirty="0"/>
              <a:t> </a:t>
            </a:r>
            <a:r>
              <a:rPr lang="pl-PL" dirty="0" err="1"/>
              <a:t>ipsum</a:t>
            </a:r>
            <a:endParaRPr lang="pl-PL" dirty="0"/>
          </a:p>
          <a:p>
            <a:pPr lvl="0"/>
            <a:r>
              <a:rPr lang="pl-PL" dirty="0" err="1"/>
              <a:t>Lorem</a:t>
            </a:r>
            <a:r>
              <a:rPr lang="pl-PL" dirty="0"/>
              <a:t> </a:t>
            </a:r>
            <a:r>
              <a:rPr lang="pl-PL" dirty="0" err="1"/>
              <a:t>ipsum</a:t>
            </a:r>
            <a:r>
              <a:rPr lang="pl-PL" dirty="0"/>
              <a:t> </a:t>
            </a:r>
            <a:r>
              <a:rPr lang="pl-PL" dirty="0" err="1"/>
              <a:t>dolor</a:t>
            </a:r>
            <a:r>
              <a:rPr lang="pl-PL" dirty="0"/>
              <a:t> sit </a:t>
            </a:r>
            <a:r>
              <a:rPr lang="pl-PL" dirty="0" err="1"/>
              <a:t>amet</a:t>
            </a:r>
            <a:r>
              <a:rPr lang="pl-PL" dirty="0"/>
              <a:t>, </a:t>
            </a:r>
            <a:r>
              <a:rPr lang="pl-PL" dirty="0" err="1"/>
              <a:t>consectetur</a:t>
            </a:r>
            <a:r>
              <a:rPr lang="pl-PL" dirty="0"/>
              <a:t> </a:t>
            </a:r>
            <a:r>
              <a:rPr lang="pl-PL" dirty="0" err="1"/>
              <a:t>adipiscing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19543186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e zdjęcie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r>
              <a:rPr lang="pl-PL"/>
              <a:t>29.09.2017</a:t>
            </a:r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962384"/>
            <a:ext cx="4931013" cy="3746643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924311" y="1457657"/>
            <a:ext cx="4931687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  <p:sp>
        <p:nvSpPr>
          <p:cNvPr id="8" name="Symbol zastępczy obrazu 4"/>
          <p:cNvSpPr>
            <a:spLocks noGrp="1"/>
          </p:cNvSpPr>
          <p:nvPr>
            <p:ph type="pic" sz="quarter" idx="15" hasCustomPrompt="1"/>
          </p:nvPr>
        </p:nvSpPr>
        <p:spPr>
          <a:xfrm>
            <a:off x="6032501" y="1454151"/>
            <a:ext cx="5727700" cy="4254875"/>
          </a:xfrm>
        </p:spPr>
        <p:txBody>
          <a:bodyPr/>
          <a:lstStyle>
            <a:lvl1pPr marL="0" indent="0" algn="ctr">
              <a:buFontTx/>
              <a:buNone/>
              <a:defRPr b="0">
                <a:solidFill>
                  <a:schemeClr val="accent3"/>
                </a:solidFill>
              </a:defRPr>
            </a:lvl1pPr>
          </a:lstStyle>
          <a:p>
            <a:r>
              <a:rPr lang="pl-PL" dirty="0"/>
              <a:t>Wstaw obraz</a:t>
            </a:r>
          </a:p>
        </p:txBody>
      </p:sp>
    </p:spTree>
    <p:extLst>
      <p:ext uri="{BB962C8B-B14F-4D97-AF65-F5344CB8AC3E}">
        <p14:creationId xmlns:p14="http://schemas.microsoft.com/office/powerpoint/2010/main" val="340719983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e zdjęci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r>
              <a:rPr lang="pl-PL"/>
              <a:t>29.09.2017</a:t>
            </a:r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6829187" y="1962384"/>
            <a:ext cx="4931013" cy="3866643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6828514" y="1457657"/>
            <a:ext cx="4931687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  <p:sp>
        <p:nvSpPr>
          <p:cNvPr id="8" name="Symbol zastępczy obrazu 4"/>
          <p:cNvSpPr>
            <a:spLocks noGrp="1"/>
          </p:cNvSpPr>
          <p:nvPr>
            <p:ph type="pic" sz="quarter" idx="15" hasCustomPrompt="1"/>
          </p:nvPr>
        </p:nvSpPr>
        <p:spPr>
          <a:xfrm>
            <a:off x="944105" y="1454150"/>
            <a:ext cx="5511900" cy="4374876"/>
          </a:xfrm>
        </p:spPr>
        <p:txBody>
          <a:bodyPr/>
          <a:lstStyle>
            <a:lvl1pPr marL="0" indent="0" algn="ctr">
              <a:buFontTx/>
              <a:buNone/>
              <a:defRPr b="0">
                <a:solidFill>
                  <a:schemeClr val="accent3"/>
                </a:solidFill>
              </a:defRPr>
            </a:lvl1pPr>
          </a:lstStyle>
          <a:p>
            <a:r>
              <a:rPr lang="pl-PL" dirty="0"/>
              <a:t>Wstaw obraz</a:t>
            </a:r>
          </a:p>
        </p:txBody>
      </p:sp>
    </p:spTree>
    <p:extLst>
      <p:ext uri="{BB962C8B-B14F-4D97-AF65-F5344CB8AC3E}">
        <p14:creationId xmlns:p14="http://schemas.microsoft.com/office/powerpoint/2010/main" val="227743046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Strona zamykająca 2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15127" y="5255491"/>
            <a:ext cx="7952509" cy="1089891"/>
          </a:xfrm>
          <a:prstGeom prst="rect">
            <a:avLst/>
          </a:prstGeom>
        </p:spPr>
      </p:pic>
      <p:sp>
        <p:nvSpPr>
          <p:cNvPr id="12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0256129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rona zamykając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24364" y="5273964"/>
            <a:ext cx="7961745" cy="1071419"/>
          </a:xfrm>
          <a:prstGeom prst="rect">
            <a:avLst/>
          </a:prstGeom>
        </p:spPr>
      </p:pic>
      <p:sp>
        <p:nvSpPr>
          <p:cNvPr id="13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8016907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84" imgH="384" progId="TCLayout.ActiveDocument.1">
                  <p:embed/>
                </p:oleObj>
              </mc:Choice>
              <mc:Fallback>
                <p:oleObj name="think-cell Slide" r:id="rId6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/>
        </p:nvSpPr>
        <p:spPr>
          <a:xfrm>
            <a:off x="0" y="5279185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31" t="8741" r="102" b="27"/>
          <a:stretch/>
        </p:blipFill>
        <p:spPr>
          <a:xfrm rot="16200000" flipH="1">
            <a:off x="8471922" y="1973272"/>
            <a:ext cx="580573" cy="6858000"/>
          </a:xfrm>
          <a:prstGeom prst="rect">
            <a:avLst/>
          </a:prstGeom>
        </p:spPr>
      </p:pic>
      <p:pic>
        <p:nvPicPr>
          <p:cNvPr id="15" name="TitleAndEndImages"/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5276851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rgbClr val="009999"/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3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594" indent="0" algn="ctr">
              <a:buNone/>
              <a:defRPr/>
            </a:lvl4pPr>
            <a:lvl5pPr marL="457189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7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3"/>
            <a:ext cx="6868800" cy="313842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72A2DB07-2A33-41F7-9AD3-927F858A209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366562" y="5570644"/>
            <a:ext cx="186793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BEC147AC-02C5-430E-9894-F9F3EA922AB9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7415" y="1184044"/>
            <a:ext cx="2111832" cy="536121"/>
          </a:xfrm>
          <a:prstGeom prst="rect">
            <a:avLst/>
          </a:prstGeom>
        </p:spPr>
      </p:pic>
      <p:graphicFrame>
        <p:nvGraphicFramePr>
          <p:cNvPr id="12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84" imgH="384" progId="TCLayout.ActiveDocument.1">
                  <p:embed/>
                </p:oleObj>
              </mc:Choice>
              <mc:Fallback>
                <p:oleObj name="think-cell Slide" r:id="rId6" imgW="384" imgH="384" progId="TCLayout.ActiveDocument.1">
                  <p:embed/>
                  <p:pic>
                    <p:nvPicPr>
                      <p:cNvPr id="12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3"/>
          <p:cNvSpPr/>
          <p:nvPr userDrawn="1"/>
        </p:nvSpPr>
        <p:spPr>
          <a:xfrm>
            <a:off x="0" y="5279185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9" name="Picture 17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31" t="8741" r="102" b="27"/>
          <a:stretch/>
        </p:blipFill>
        <p:spPr>
          <a:xfrm rot="16200000" flipH="1">
            <a:off x="8471922" y="1973272"/>
            <a:ext cx="580573" cy="6858000"/>
          </a:xfrm>
          <a:prstGeom prst="rect">
            <a:avLst/>
          </a:prstGeom>
        </p:spPr>
      </p:pic>
      <p:pic>
        <p:nvPicPr>
          <p:cNvPr id="20" name="TitleAndEndImages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5276851"/>
          </a:xfrm>
          <a:prstGeom prst="rect">
            <a:avLst/>
          </a:prstGeom>
        </p:spPr>
      </p:pic>
      <p:sp>
        <p:nvSpPr>
          <p:cNvPr id="23" name="Rectangle 2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rgbClr val="009999"/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24" name="Picture 12" descr="Logo&#10;&#10;Description automatically generated">
            <a:extLst>
              <a:ext uri="{FF2B5EF4-FFF2-40B4-BE49-F238E27FC236}">
                <a16:creationId xmlns:a16="http://schemas.microsoft.com/office/drawing/2014/main" id="{BEC147AC-02C5-430E-9894-F9F3EA922A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7415" y="1184044"/>
            <a:ext cx="2111832" cy="536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0297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58566CE-819B-4D65-89A4-BB171BAEB9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27" imgH="327" progId="TCLayout.ActiveDocument.1">
                  <p:embed/>
                </p:oleObj>
              </mc:Choice>
              <mc:Fallback>
                <p:oleObj name="think-cell Slide" r:id="rId6" imgW="327" imgH="32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58566CE-819B-4D65-89A4-BB171BAEB9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7EEA928C-6AE6-409D-A5A1-7D96A0B548C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graphicFrame>
        <p:nvGraphicFramePr>
          <p:cNvPr id="6" name="Object 3" hidden="1">
            <a:extLst>
              <a:ext uri="{FF2B5EF4-FFF2-40B4-BE49-F238E27FC236}">
                <a16:creationId xmlns:a16="http://schemas.microsoft.com/office/drawing/2014/main" id="{658566CE-819B-4D65-89A4-BB171BAEB9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27" imgH="327" progId="TCLayout.ActiveDocument.1">
                  <p:embed/>
                </p:oleObj>
              </mc:Choice>
              <mc:Fallback>
                <p:oleObj name="think-cell Slide" r:id="rId6" imgW="327" imgH="327" progId="TCLayout.ActiveDocument.1">
                  <p:embed/>
                  <p:pic>
                    <p:nvPicPr>
                      <p:cNvPr id="6" name="Object 3" hidden="1">
                        <a:extLst>
                          <a:ext uri="{FF2B5EF4-FFF2-40B4-BE49-F238E27FC236}">
                            <a16:creationId xmlns:a16="http://schemas.microsoft.com/office/drawing/2014/main" id="{658566CE-819B-4D65-89A4-BB171BAEB9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7" hidden="1">
            <a:extLst>
              <a:ext uri="{FF2B5EF4-FFF2-40B4-BE49-F238E27FC236}">
                <a16:creationId xmlns:a16="http://schemas.microsoft.com/office/drawing/2014/main" id="{7EEA928C-6AE6-409D-A5A1-7D96A0B548C0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0330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FE78207-B95E-47B7-9F40-A8233553BB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FE78207-B95E-47B7-9F40-A8233553BB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1" y="622800"/>
            <a:ext cx="10933351" cy="470899"/>
          </a:xfrm>
        </p:spPr>
        <p:txBody>
          <a:bodyPr/>
          <a:lstStyle>
            <a:lvl1pPr>
              <a:defRPr sz="340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9401" y="2085629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03235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ommai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rme libre 6"/>
          <p:cNvSpPr/>
          <p:nvPr userDrawn="1"/>
        </p:nvSpPr>
        <p:spPr bwMode="gray">
          <a:xfrm>
            <a:off x="431801" y="333376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042269" y="557020"/>
            <a:ext cx="8652316" cy="1463823"/>
          </a:xfrm>
        </p:spPr>
        <p:txBody>
          <a:bodyPr/>
          <a:lstStyle>
            <a:lvl1pPr>
              <a:defRPr sz="4750" b="0" cap="all" baseline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3042269" y="2545854"/>
            <a:ext cx="8652315" cy="3480296"/>
          </a:xfrm>
        </p:spPr>
        <p:txBody>
          <a:bodyPr/>
          <a:lstStyle>
            <a:lvl1pPr marL="361950" indent="-361950">
              <a:lnSpc>
                <a:spcPct val="125000"/>
              </a:lnSpc>
              <a:buSzPct val="100000"/>
              <a:defRPr sz="1800" b="0" cap="all" baseline="0">
                <a:solidFill>
                  <a:schemeClr val="bg1"/>
                </a:solidFill>
              </a:defRPr>
            </a:lvl1pPr>
            <a:lvl2pPr marL="625475" indent="-265113">
              <a:buSzPct val="80000"/>
              <a:buFont typeface="Wingdings" pitchFamily="2" charset="2"/>
              <a:buChar char="n"/>
              <a:defRPr sz="1600">
                <a:solidFill>
                  <a:schemeClr val="bg1"/>
                </a:solidFill>
              </a:defRPr>
            </a:lvl2pPr>
            <a:lvl4pPr>
              <a:buSzPct val="90000"/>
              <a:defRPr/>
            </a:lvl4pPr>
            <a:lvl5pPr>
              <a:buSzPct val="90000"/>
              <a:defRPr/>
            </a:lvl5pPr>
          </a:lstStyle>
          <a:p>
            <a:pPr lvl="0"/>
            <a:r>
              <a:rPr lang="fr-FR" dirty="0"/>
              <a:t>Texte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BPI - AAP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31980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2DB3888-F5C3-4DD2-8A65-497BC923A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2DB3888-F5C3-4DD2-8A65-497BC923A1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3"/>
            <a:ext cx="3452400" cy="1495795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43725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rgbClr val="009999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48D9436-E3CC-4302-951E-C2B40D8A1D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48D9436-E3CC-4302-951E-C2B40D8A1D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3" y="2668041"/>
            <a:ext cx="9620491" cy="3201027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377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  <p:sp>
        <p:nvSpPr>
          <p:cNvPr id="59" name="Rectangle 58"/>
          <p:cNvSpPr/>
          <p:nvPr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77970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line">
    <p:bg bwMode="blackWhite">
      <p:bgPr>
        <a:gradFill>
          <a:gsLst>
            <a:gs pos="0">
              <a:srgbClr val="009999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E70F7C5-A710-4DFC-BEC7-32F72FE7F8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E70F7C5-A710-4DFC-BEC7-32F72FE7F8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/>
        </p:nvCxnSpPr>
        <p:spPr bwMode="white">
          <a:xfrm>
            <a:off x="618899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2432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hite one third">
    <p:bg>
      <p:bgPr>
        <a:gradFill>
          <a:gsLst>
            <a:gs pos="0">
              <a:srgbClr val="009999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AEE58AE-5DED-4503-913D-5A0C388BD6F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AEE58AE-5DED-4503-913D-5A0C388BD6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5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  <p:sp>
        <p:nvSpPr>
          <p:cNvPr id="20" name="TextBox 19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6" name="Rectangle 25"/>
          <p:cNvSpPr/>
          <p:nvPr/>
        </p:nvSpPr>
        <p:spPr bwMode="white">
          <a:xfrm>
            <a:off x="1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681103"/>
            <a:ext cx="3127881" cy="149579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80393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highlight">
    <p:bg>
      <p:bgPr>
        <a:gradFill>
          <a:gsLst>
            <a:gs pos="0">
              <a:srgbClr val="009999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BA90C7C-1FE2-4F5A-9390-6235D048B2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BA90C7C-1FE2-4F5A-9390-6235D048B2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47111C1-9E66-4049-8CF7-A09BC7ECC73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7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 bwMode="white">
          <a:xfrm>
            <a:off x="1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  <p:sp>
        <p:nvSpPr>
          <p:cNvPr id="17" name="TextBox 16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60080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one third">
    <p:bg>
      <p:bgPr>
        <a:gradFill>
          <a:gsLst>
            <a:gs pos="0">
              <a:srgbClr val="009999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BC1C8F6-5051-455B-8C12-3705FF4011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BC1C8F6-5051-455B-8C12-3705FF4011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681103"/>
            <a:ext cx="3127881" cy="149579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/>
        </p:nvSpPr>
        <p:spPr bwMode="white">
          <a:xfrm>
            <a:off x="4080764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aphicFrame>
        <p:nvGraphicFramePr>
          <p:cNvPr id="8" name="Object 2" hidden="1">
            <a:extLst>
              <a:ext uri="{FF2B5EF4-FFF2-40B4-BE49-F238E27FC236}">
                <a16:creationId xmlns:a16="http://schemas.microsoft.com/office/drawing/2014/main" id="{DBC1C8F6-5051-455B-8C12-3705FF4011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8" name="Object 2" hidden="1">
                        <a:extLst>
                          <a:ext uri="{FF2B5EF4-FFF2-40B4-BE49-F238E27FC236}">
                            <a16:creationId xmlns:a16="http://schemas.microsoft.com/office/drawing/2014/main" id="{DBC1C8F6-5051-455B-8C12-3705FF4011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14" name="Rectangle 12"/>
          <p:cNvSpPr/>
          <p:nvPr userDrawn="1"/>
        </p:nvSpPr>
        <p:spPr bwMode="white">
          <a:xfrm>
            <a:off x="4080764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98439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half">
    <p:bg bwMode="grayWhite">
      <p:bgPr>
        <a:gradFill>
          <a:gsLst>
            <a:gs pos="0">
              <a:srgbClr val="009999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066C11-C1FC-4593-B5E1-BEF283BB61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066C11-C1FC-4593-B5E1-BEF283BB61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3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2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95203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two third">
    <p:bg bwMode="grayWhite">
      <p:bgPr>
        <a:gradFill>
          <a:gsLst>
            <a:gs pos="0">
              <a:srgbClr val="009999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7DFE8F0-F80F-47AF-A0F8-32AFB82012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7DFE8F0-F80F-47AF-A0F8-32AFB82012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50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gray">
          <a:xfrm>
            <a:off x="7819545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6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1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67218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ft arrow">
    <p:bg>
      <p:bgPr>
        <a:gradFill>
          <a:gsLst>
            <a:gs pos="0">
              <a:srgbClr val="009999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4E6CAFD-E4CA-48DF-99C6-E680CBBA1C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4E6CAFD-E4CA-48DF-99C6-E680CBBA1C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/>
        </p:nvSpPr>
        <p:spPr bwMode="ltGray">
          <a:xfrm>
            <a:off x="1524" y="1311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  <p:sp>
        <p:nvSpPr>
          <p:cNvPr id="12" name="TextBox 11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1" y="2764205"/>
            <a:ext cx="2478639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1" y="3590399"/>
            <a:ext cx="1365251" cy="3382963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1995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5A57B6-FCF5-4043-A963-ED95B152CC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5A57B6-FCF5-4043-A963-ED95B152CC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rgbClr val="009999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1" y="2764205"/>
            <a:ext cx="2478639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  <p:sp>
        <p:nvSpPr>
          <p:cNvPr id="14" name="TextBox 1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1" y="3402829"/>
            <a:ext cx="2694667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395910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ommaire fond ha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rme libre 7"/>
          <p:cNvSpPr/>
          <p:nvPr userDrawn="1"/>
        </p:nvSpPr>
        <p:spPr bwMode="gray">
          <a:xfrm>
            <a:off x="431801" y="333376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  <a:blipFill>
            <a:blip r:embed="rId2" cstate="print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042269" y="557020"/>
            <a:ext cx="8652316" cy="1463823"/>
          </a:xfrm>
        </p:spPr>
        <p:txBody>
          <a:bodyPr/>
          <a:lstStyle>
            <a:lvl1pPr>
              <a:defRPr sz="4750" b="0" cap="all" baseline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3042269" y="2545854"/>
            <a:ext cx="8652315" cy="3480296"/>
          </a:xfrm>
        </p:spPr>
        <p:txBody>
          <a:bodyPr/>
          <a:lstStyle>
            <a:lvl1pPr marL="361950" indent="-361950">
              <a:lnSpc>
                <a:spcPct val="125000"/>
              </a:lnSpc>
              <a:buSzPct val="100000"/>
              <a:defRPr sz="1800" b="0" cap="all" baseline="0">
                <a:solidFill>
                  <a:schemeClr val="bg1"/>
                </a:solidFill>
              </a:defRPr>
            </a:lvl1pPr>
            <a:lvl2pPr marL="625475" indent="-265113">
              <a:buSzPct val="80000"/>
              <a:buFont typeface="Wingdings" pitchFamily="2" charset="2"/>
              <a:buChar char="n"/>
              <a:defRPr sz="1600">
                <a:solidFill>
                  <a:schemeClr val="bg1"/>
                </a:solidFill>
              </a:defRPr>
            </a:lvl2pPr>
            <a:lvl4pPr>
              <a:buSzPct val="90000"/>
              <a:defRPr/>
            </a:lvl4pPr>
            <a:lvl5pPr>
              <a:buSzPct val="90000"/>
              <a:defRPr/>
            </a:lvl5pPr>
          </a:lstStyle>
          <a:p>
            <a:pPr lvl="0"/>
            <a:r>
              <a:rPr lang="fr-FR" dirty="0"/>
              <a:t>Texte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BPI - AAP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0959372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rrow one third">
    <p:bg>
      <p:bgPr>
        <a:gradFill>
          <a:gsLst>
            <a:gs pos="0">
              <a:srgbClr val="009999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4870A33-181C-451F-8882-EFCB0880BCF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  <p:sp>
        <p:nvSpPr>
          <p:cNvPr id="13" name="Pentagon 3"/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6" y="3394393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6858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C7D43F1-47C0-496A-913B-33F8CF3944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C7D43F1-47C0-496A-913B-33F8CF3944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EAFAEC1-BB2D-4A8A-AFD3-0FD6A45E67D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rgbClr val="009999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  <p:sp>
        <p:nvSpPr>
          <p:cNvPr id="16" name="TextBox 15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1"/>
            <a:ext cx="2694667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158478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rrow half">
    <p:bg>
      <p:bgPr>
        <a:gradFill>
          <a:gsLst>
            <a:gs pos="0">
              <a:srgbClr val="009999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9195DDB-FACD-44BA-8205-E47256FB1B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9195DDB-FACD-44BA-8205-E47256FB1B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E6C39DA-3456-4566-8AAA-4EA009BE267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  <p:sp>
        <p:nvSpPr>
          <p:cNvPr id="15" name="TextBox 1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Pentagon 8"/>
          <p:cNvSpPr/>
          <p:nvPr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1" y="622800"/>
            <a:ext cx="4673647" cy="4708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5" y="3589605"/>
            <a:ext cx="1365251" cy="3382963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9521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F36C4C5-3E62-4668-A535-C6164E4B3B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F36C4C5-3E62-4668-A535-C6164E4B3B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79575F0-1651-49B6-BA4B-447098E83B0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rgbClr val="009999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1" y="622800"/>
            <a:ext cx="4673647" cy="4708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  <p:sp>
        <p:nvSpPr>
          <p:cNvPr id="13" name="TextBox 1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5"/>
            <a:ext cx="2694667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680585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rrow two third">
    <p:bg>
      <p:bgPr>
        <a:gradFill>
          <a:gsLst>
            <a:gs pos="0">
              <a:srgbClr val="009999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E552589-FD37-41D6-9DEA-07B61081EC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E552589-FD37-41D6-9DEA-07B61081EC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4D50240-DB71-4745-887E-9EE1123FCFC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  <p:sp>
        <p:nvSpPr>
          <p:cNvPr id="15" name="TextBox 1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5"/>
            <a:ext cx="1365251" cy="3382963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0240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F1FBBA6-8AC2-4C39-B996-273FE762C0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F1FBBA6-8AC2-4C39-B996-273FE762C0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4E07D2A-BD67-492A-B704-DEEF52EEBF0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009999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  <p:sp>
        <p:nvSpPr>
          <p:cNvPr id="18" name="TextBox 17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5"/>
            <a:ext cx="2694667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329130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atement green">
    <p:bg>
      <p:bgPr>
        <a:gradFill>
          <a:gsLst>
            <a:gs pos="0">
              <a:srgbClr val="009999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0962D93-216A-40BB-9435-3A1F4999B1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0962D93-216A-40BB-9435-3A1F4999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4"/>
            <a:ext cx="10933200" cy="1606551"/>
          </a:xfrm>
        </p:spPr>
        <p:txBody>
          <a:bodyPr anchor="b">
            <a:noAutofit/>
          </a:bodyPr>
          <a:lstStyle>
            <a:lvl1pPr marL="0" algn="l" defTabSz="914377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192912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8F3263C-5984-4AB6-A1CF-E5B335EB5C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8F3263C-5984-4AB6-A1CF-E5B335EB5C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0FD3957-B729-4294-80F4-69752476B75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  <p:sp>
        <p:nvSpPr>
          <p:cNvPr id="6" name="Rectangle 5"/>
          <p:cNvSpPr/>
          <p:nvPr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4"/>
            <a:ext cx="10933200" cy="160655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377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565475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2" y="101444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2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51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96919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93A60AA-4E92-4086-857E-C67D8BD170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93A60AA-4E92-4086-857E-C67D8BD170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9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63224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rme libre 8"/>
          <p:cNvSpPr/>
          <p:nvPr userDrawn="1"/>
        </p:nvSpPr>
        <p:spPr bwMode="gray">
          <a:xfrm>
            <a:off x="431801" y="333376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  <a:solidFill>
            <a:srgbClr val="0080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042269" y="514351"/>
            <a:ext cx="8652316" cy="5511800"/>
          </a:xfrm>
        </p:spPr>
        <p:txBody>
          <a:bodyPr anchor="ctr" anchorCtr="0"/>
          <a:lstStyle>
            <a:lvl1pPr>
              <a:defRPr sz="3750" b="0" cap="all" baseline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BPI - AAP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554126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3D1125B-0ABB-4DF4-B4BE-10806A0D35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3D1125B-0ABB-4DF4-B4BE-10806A0D35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33124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green">
    <p:bg>
      <p:bgPr>
        <a:gradFill>
          <a:gsLst>
            <a:gs pos="0">
              <a:srgbClr val="009999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378F155-E02D-4DAC-BB84-483E123820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378F155-E02D-4DAC-BB84-483E12382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89739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E68CBFC-F18E-420E-8B3D-F6B5CEAB09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E68CBFC-F18E-420E-8B3D-F6B5CEAB09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16229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84" imgH="384" progId="TCLayout.ActiveDocument.1">
                  <p:embed/>
                </p:oleObj>
              </mc:Choice>
              <mc:Fallback>
                <p:oleObj name="think-cell Slide" r:id="rId6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TitleAndEndImages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rgbClr val="009999"/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2E43F8D0-1815-40A5-9A9C-7F5A42C112D6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28078" y="2968199"/>
            <a:ext cx="3330919" cy="845605"/>
          </a:xfrm>
          <a:prstGeom prst="rect">
            <a:avLst/>
          </a:prstGeom>
        </p:spPr>
      </p:pic>
      <p:graphicFrame>
        <p:nvGraphicFramePr>
          <p:cNvPr id="6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84" imgH="384" progId="TCLayout.ActiveDocument.1">
                  <p:embed/>
                </p:oleObj>
              </mc:Choice>
              <mc:Fallback>
                <p:oleObj name="think-cell Slide" r:id="rId6" imgW="384" imgH="384" progId="TCLayout.ActiveDocument.1">
                  <p:embed/>
                  <p:pic>
                    <p:nvPicPr>
                      <p:cNvPr id="6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TitleAndEndImages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7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rgbClr val="009999"/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2" name="Picture 6" descr="Logo&#10;&#10;Description automatically generated">
            <a:extLst>
              <a:ext uri="{FF2B5EF4-FFF2-40B4-BE49-F238E27FC236}">
                <a16:creationId xmlns:a16="http://schemas.microsoft.com/office/drawing/2014/main" id="{2E43F8D0-1815-40A5-9A9C-7F5A42C112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28078" y="2968199"/>
            <a:ext cx="3330919" cy="845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0459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7073A04-B98D-4686-BE2D-A9F2E63D91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7073A04-B98D-4686-BE2D-A9F2E63D91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5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75660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/>
        </p:nvSpPr>
        <p:spPr>
          <a:xfrm>
            <a:off x="0" y="5279185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31" t="8741" r="102" b="27"/>
          <a:stretch/>
        </p:blipFill>
        <p:spPr>
          <a:xfrm rot="16200000" flipH="1">
            <a:off x="8471922" y="1973272"/>
            <a:ext cx="580573" cy="6858000"/>
          </a:xfrm>
          <a:prstGeom prst="rect">
            <a:avLst/>
          </a:prstGeom>
        </p:spPr>
      </p:pic>
      <p:pic>
        <p:nvPicPr>
          <p:cNvPr id="15" name="TitleAndEndImages"/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5276851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rgbClr val="009999"/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3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594" indent="0" algn="ctr">
              <a:buNone/>
              <a:defRPr/>
            </a:lvl4pPr>
            <a:lvl5pPr marL="457189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7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3"/>
            <a:ext cx="6868800" cy="3138423"/>
          </a:xfr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39414F65-C9FE-4CE1-AE9D-666E636050C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366562" y="5570644"/>
            <a:ext cx="186793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2A38981F-FE78-4274-9D43-BCC33C404417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7415" y="1184044"/>
            <a:ext cx="2111832" cy="536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791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  <p:extLst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EDA5D0E-7100-4730-B114-135333B7F2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EDA5D0E-7100-4730-B114-135333B7F2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1" y="622802"/>
            <a:ext cx="10933351" cy="3323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id="{4EDA5D0E-7100-4730-B114-135333B7F2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id="{4EDA5D0E-7100-4730-B114-135333B7F2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40518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DDDAFCF-3F9A-4890-B439-71431E4C2D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DDDAFCF-3F9A-4890-B439-71431E4C2D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9400" y="2085628"/>
            <a:ext cx="10933951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11482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98B7233-70F5-4EB7-ADD6-03EC3987AE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98B7233-70F5-4EB7-ADD6-03EC3987AE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  <p:sp>
        <p:nvSpPr>
          <p:cNvPr id="7" name="Rectangle 6"/>
          <p:cNvSpPr/>
          <p:nvPr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9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61572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5C3797D-B3C5-4585-B966-0ECAE3C558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5C3797D-B3C5-4585-B966-0ECAE3C558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3" y="2668041"/>
            <a:ext cx="9620491" cy="3201027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377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/>
        </p:nvSpPr>
        <p:spPr bwMode="white">
          <a:xfrm>
            <a:off x="1280694" y="1424082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77239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rme libre 8"/>
          <p:cNvSpPr/>
          <p:nvPr userDrawn="1"/>
        </p:nvSpPr>
        <p:spPr bwMode="gray">
          <a:xfrm>
            <a:off x="431801" y="333376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  <a:solidFill>
            <a:srgbClr val="4876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042269" y="514351"/>
            <a:ext cx="8652316" cy="5511800"/>
          </a:xfrm>
        </p:spPr>
        <p:txBody>
          <a:bodyPr anchor="ctr" anchorCtr="0"/>
          <a:lstStyle>
            <a:lvl1pPr>
              <a:defRPr sz="3750" b="0" cap="all" baseline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BPI - AAP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65571E2A-2AE4-4AE9-A5FF-468BE27EC277}" type="slidenum">
              <a:rPr lang="fr-FR" smtClean="0"/>
              <a:pPr/>
              <a:t>‹N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1208228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AAFD166-50B4-49DB-8615-D9066459DD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AAFD166-50B4-49DB-8615-D9066459DD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/>
        </p:nvCxnSpPr>
        <p:spPr bwMode="white">
          <a:xfrm>
            <a:off x="630001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1495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White one third">
    <p:bg>
      <p:bgPr>
        <a:gradFill>
          <a:gsLst>
            <a:gs pos="0">
              <a:srgbClr val="009999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AE39A46-A8EA-43D7-942F-58C05D1473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AE39A46-A8EA-43D7-942F-58C05D1473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5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  <p:sp>
        <p:nvSpPr>
          <p:cNvPr id="20" name="TextBox 19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4" name="Rectangle 23"/>
          <p:cNvSpPr/>
          <p:nvPr/>
        </p:nvSpPr>
        <p:spPr bwMode="white">
          <a:xfrm>
            <a:off x="1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681103"/>
            <a:ext cx="3127881" cy="149579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738248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highlight">
    <p:bg>
      <p:bgPr>
        <a:gradFill>
          <a:gsLst>
            <a:gs pos="0">
              <a:srgbClr val="009999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B83A96C-50A6-4380-B858-55443E0E76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B83A96C-50A6-4380-B858-55443E0E76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7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 bwMode="white">
          <a:xfrm>
            <a:off x="1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  <p:sp>
        <p:nvSpPr>
          <p:cNvPr id="19" name="TextBox 18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622802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84642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Four column green">
    <p:bg>
      <p:bgPr>
        <a:gradFill>
          <a:gsLst>
            <a:gs pos="0">
              <a:srgbClr val="009999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80EE76-E0A9-4C19-BC97-F7E4417873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80EE76-E0A9-4C19-BC97-F7E4417873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9029247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  <p:sp>
        <p:nvSpPr>
          <p:cNvPr id="15" name="TextBox 1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69029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one third">
    <p:bg>
      <p:bgPr>
        <a:gradFill>
          <a:gsLst>
            <a:gs pos="0">
              <a:srgbClr val="009999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8BADAC-6F35-4C71-B731-5F308BB7C7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8BADAC-6F35-4C71-B731-5F308BB7C7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681103"/>
            <a:ext cx="3127881" cy="149579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/>
        </p:nvSpPr>
        <p:spPr bwMode="ltGray">
          <a:xfrm>
            <a:off x="4080764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  <p:sp>
        <p:nvSpPr>
          <p:cNvPr id="28" name="TextBox 27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65333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half">
    <p:bg>
      <p:bgPr>
        <a:gradFill>
          <a:gsLst>
            <a:gs pos="0">
              <a:srgbClr val="009999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A4F9404-E31C-4418-BC9A-945BEBD070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A4F9404-E31C-4418-BC9A-945BEBD070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3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2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28931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two third">
    <p:bg>
      <p:bgPr>
        <a:gradFill>
          <a:gsLst>
            <a:gs pos="0">
              <a:srgbClr val="009999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E9525BF-D7C3-4757-8E85-C0A698B3D8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E9525BF-D7C3-4757-8E85-C0A698B3D8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50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 bwMode="gray">
          <a:xfrm>
            <a:off x="7819545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6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66949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Left arrow">
    <p:bg>
      <p:bgPr>
        <a:gradFill>
          <a:gsLst>
            <a:gs pos="0">
              <a:srgbClr val="009999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/>
        </p:nvSpPr>
        <p:spPr bwMode="ltGray">
          <a:xfrm>
            <a:off x="1524" y="1311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  <p:sp>
        <p:nvSpPr>
          <p:cNvPr id="18" name="TextBox 17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1" y="2764205"/>
            <a:ext cx="2478639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1" y="3590399"/>
            <a:ext cx="1365251" cy="3382963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95264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B542C73-1163-4AED-AEF1-72DDB641B2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B542C73-1163-4AED-AEF1-72DDB641B2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/>
        </p:nvSpPr>
        <p:spPr bwMode="ltGray">
          <a:xfrm>
            <a:off x="1524" y="1311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rgbClr val="009999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764205"/>
            <a:ext cx="2478639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  <p:sp>
        <p:nvSpPr>
          <p:cNvPr id="16" name="TextBox 15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1" y="3402829"/>
            <a:ext cx="2694667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646152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Arrow one third">
    <p:bg>
      <p:bgPr>
        <a:gradFill>
          <a:gsLst>
            <a:gs pos="0">
              <a:srgbClr val="009999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7DB971D-539B-4480-9C06-C02831C267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7DB971D-539B-4480-9C06-C02831C267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9072022-F926-40CB-BA82-11D6FD6FCCD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  <p:sp>
        <p:nvSpPr>
          <p:cNvPr id="19" name="Pentagon 3"/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6" y="3394393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25492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7.xml"/><Relationship Id="rId13" Type="http://schemas.openxmlformats.org/officeDocument/2006/relationships/slideLayout" Target="../slideLayouts/slideLayout202.xml"/><Relationship Id="rId18" Type="http://schemas.openxmlformats.org/officeDocument/2006/relationships/slideLayout" Target="../slideLayouts/slideLayout207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192.xml"/><Relationship Id="rId21" Type="http://schemas.openxmlformats.org/officeDocument/2006/relationships/theme" Target="../theme/theme10.xml"/><Relationship Id="rId7" Type="http://schemas.openxmlformats.org/officeDocument/2006/relationships/slideLayout" Target="../slideLayouts/slideLayout196.xml"/><Relationship Id="rId12" Type="http://schemas.openxmlformats.org/officeDocument/2006/relationships/slideLayout" Target="../slideLayouts/slideLayout201.xml"/><Relationship Id="rId17" Type="http://schemas.openxmlformats.org/officeDocument/2006/relationships/slideLayout" Target="../slideLayouts/slideLayout206.xml"/><Relationship Id="rId25" Type="http://schemas.openxmlformats.org/officeDocument/2006/relationships/image" Target="../media/image42.png"/><Relationship Id="rId2" Type="http://schemas.openxmlformats.org/officeDocument/2006/relationships/slideLayout" Target="../slideLayouts/slideLayout191.xml"/><Relationship Id="rId16" Type="http://schemas.openxmlformats.org/officeDocument/2006/relationships/slideLayout" Target="../slideLayouts/slideLayout205.xml"/><Relationship Id="rId20" Type="http://schemas.openxmlformats.org/officeDocument/2006/relationships/slideLayout" Target="../slideLayouts/slideLayout209.xml"/><Relationship Id="rId1" Type="http://schemas.openxmlformats.org/officeDocument/2006/relationships/slideLayout" Target="../slideLayouts/slideLayout190.xml"/><Relationship Id="rId6" Type="http://schemas.openxmlformats.org/officeDocument/2006/relationships/slideLayout" Target="../slideLayouts/slideLayout195.xml"/><Relationship Id="rId11" Type="http://schemas.openxmlformats.org/officeDocument/2006/relationships/slideLayout" Target="../slideLayouts/slideLayout200.xml"/><Relationship Id="rId24" Type="http://schemas.openxmlformats.org/officeDocument/2006/relationships/image" Target="../media/image41.emf"/><Relationship Id="rId5" Type="http://schemas.openxmlformats.org/officeDocument/2006/relationships/slideLayout" Target="../slideLayouts/slideLayout194.xml"/><Relationship Id="rId15" Type="http://schemas.openxmlformats.org/officeDocument/2006/relationships/slideLayout" Target="../slideLayouts/slideLayout204.xml"/><Relationship Id="rId23" Type="http://schemas.openxmlformats.org/officeDocument/2006/relationships/oleObject" Target="../embeddings/oleObject26.bin"/><Relationship Id="rId10" Type="http://schemas.openxmlformats.org/officeDocument/2006/relationships/slideLayout" Target="../slideLayouts/slideLayout199.xml"/><Relationship Id="rId19" Type="http://schemas.openxmlformats.org/officeDocument/2006/relationships/slideLayout" Target="../slideLayouts/slideLayout208.xml"/><Relationship Id="rId4" Type="http://schemas.openxmlformats.org/officeDocument/2006/relationships/slideLayout" Target="../slideLayouts/slideLayout193.xml"/><Relationship Id="rId9" Type="http://schemas.openxmlformats.org/officeDocument/2006/relationships/slideLayout" Target="../slideLayouts/slideLayout198.xml"/><Relationship Id="rId14" Type="http://schemas.openxmlformats.org/officeDocument/2006/relationships/slideLayout" Target="../slideLayouts/slideLayout203.xml"/><Relationship Id="rId22" Type="http://schemas.openxmlformats.org/officeDocument/2006/relationships/tags" Target="../tags/tag142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7.xml"/><Relationship Id="rId13" Type="http://schemas.openxmlformats.org/officeDocument/2006/relationships/slideLayout" Target="../slideLayouts/slideLayout222.xml"/><Relationship Id="rId18" Type="http://schemas.openxmlformats.org/officeDocument/2006/relationships/oleObject" Target="../embeddings/oleObject32.bin"/><Relationship Id="rId3" Type="http://schemas.openxmlformats.org/officeDocument/2006/relationships/slideLayout" Target="../slideLayouts/slideLayout212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216.xml"/><Relationship Id="rId12" Type="http://schemas.openxmlformats.org/officeDocument/2006/relationships/slideLayout" Target="../slideLayouts/slideLayout221.xml"/><Relationship Id="rId17" Type="http://schemas.openxmlformats.org/officeDocument/2006/relationships/tags" Target="../tags/tag162.xml"/><Relationship Id="rId2" Type="http://schemas.openxmlformats.org/officeDocument/2006/relationships/slideLayout" Target="../slideLayouts/slideLayout211.xml"/><Relationship Id="rId16" Type="http://schemas.openxmlformats.org/officeDocument/2006/relationships/theme" Target="../theme/theme11.xml"/><Relationship Id="rId20" Type="http://schemas.openxmlformats.org/officeDocument/2006/relationships/image" Target="../media/image23.png"/><Relationship Id="rId1" Type="http://schemas.openxmlformats.org/officeDocument/2006/relationships/slideLayout" Target="../slideLayouts/slideLayout210.xml"/><Relationship Id="rId6" Type="http://schemas.openxmlformats.org/officeDocument/2006/relationships/slideLayout" Target="../slideLayouts/slideLayout215.xml"/><Relationship Id="rId11" Type="http://schemas.openxmlformats.org/officeDocument/2006/relationships/slideLayout" Target="../slideLayouts/slideLayout220.xml"/><Relationship Id="rId5" Type="http://schemas.openxmlformats.org/officeDocument/2006/relationships/slideLayout" Target="../slideLayouts/slideLayout214.xml"/><Relationship Id="rId15" Type="http://schemas.openxmlformats.org/officeDocument/2006/relationships/slideLayout" Target="../slideLayouts/slideLayout224.xml"/><Relationship Id="rId10" Type="http://schemas.openxmlformats.org/officeDocument/2006/relationships/slideLayout" Target="../slideLayouts/slideLayout219.xml"/><Relationship Id="rId19" Type="http://schemas.openxmlformats.org/officeDocument/2006/relationships/image" Target="../media/image51.emf"/><Relationship Id="rId4" Type="http://schemas.openxmlformats.org/officeDocument/2006/relationships/slideLayout" Target="../slideLayouts/slideLayout213.xml"/><Relationship Id="rId9" Type="http://schemas.openxmlformats.org/officeDocument/2006/relationships/slideLayout" Target="../slideLayouts/slideLayout218.xml"/><Relationship Id="rId14" Type="http://schemas.openxmlformats.org/officeDocument/2006/relationships/slideLayout" Target="../slideLayouts/slideLayout223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2.xml"/><Relationship Id="rId13" Type="http://schemas.openxmlformats.org/officeDocument/2006/relationships/slideLayout" Target="../slideLayouts/slideLayout237.xml"/><Relationship Id="rId18" Type="http://schemas.openxmlformats.org/officeDocument/2006/relationships/image" Target="../media/image23.png"/><Relationship Id="rId3" Type="http://schemas.openxmlformats.org/officeDocument/2006/relationships/slideLayout" Target="../slideLayouts/slideLayout227.xml"/><Relationship Id="rId7" Type="http://schemas.openxmlformats.org/officeDocument/2006/relationships/slideLayout" Target="../slideLayouts/slideLayout231.xml"/><Relationship Id="rId12" Type="http://schemas.openxmlformats.org/officeDocument/2006/relationships/slideLayout" Target="../slideLayouts/slideLayout236.xml"/><Relationship Id="rId17" Type="http://schemas.openxmlformats.org/officeDocument/2006/relationships/theme" Target="../theme/theme12.xml"/><Relationship Id="rId2" Type="http://schemas.openxmlformats.org/officeDocument/2006/relationships/slideLayout" Target="../slideLayouts/slideLayout226.xml"/><Relationship Id="rId16" Type="http://schemas.openxmlformats.org/officeDocument/2006/relationships/slideLayout" Target="../slideLayouts/slideLayout240.xml"/><Relationship Id="rId1" Type="http://schemas.openxmlformats.org/officeDocument/2006/relationships/slideLayout" Target="../slideLayouts/slideLayout225.xml"/><Relationship Id="rId6" Type="http://schemas.openxmlformats.org/officeDocument/2006/relationships/slideLayout" Target="../slideLayouts/slideLayout230.xml"/><Relationship Id="rId11" Type="http://schemas.openxmlformats.org/officeDocument/2006/relationships/slideLayout" Target="../slideLayouts/slideLayout235.xml"/><Relationship Id="rId5" Type="http://schemas.openxmlformats.org/officeDocument/2006/relationships/slideLayout" Target="../slideLayouts/slideLayout229.xml"/><Relationship Id="rId15" Type="http://schemas.openxmlformats.org/officeDocument/2006/relationships/slideLayout" Target="../slideLayouts/slideLayout239.xml"/><Relationship Id="rId10" Type="http://schemas.openxmlformats.org/officeDocument/2006/relationships/slideLayout" Target="../slideLayouts/slideLayout234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228.xml"/><Relationship Id="rId9" Type="http://schemas.openxmlformats.org/officeDocument/2006/relationships/slideLayout" Target="../slideLayouts/slideLayout233.xml"/><Relationship Id="rId14" Type="http://schemas.openxmlformats.org/officeDocument/2006/relationships/slideLayout" Target="../slideLayouts/slideLayout238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8.xml"/><Relationship Id="rId13" Type="http://schemas.openxmlformats.org/officeDocument/2006/relationships/slideLayout" Target="../slideLayouts/slideLayout253.xml"/><Relationship Id="rId3" Type="http://schemas.openxmlformats.org/officeDocument/2006/relationships/slideLayout" Target="../slideLayouts/slideLayout243.xml"/><Relationship Id="rId7" Type="http://schemas.openxmlformats.org/officeDocument/2006/relationships/slideLayout" Target="../slideLayouts/slideLayout247.xml"/><Relationship Id="rId12" Type="http://schemas.openxmlformats.org/officeDocument/2006/relationships/slideLayout" Target="../slideLayouts/slideLayout252.xml"/><Relationship Id="rId2" Type="http://schemas.openxmlformats.org/officeDocument/2006/relationships/slideLayout" Target="../slideLayouts/slideLayout24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41.xml"/><Relationship Id="rId6" Type="http://schemas.openxmlformats.org/officeDocument/2006/relationships/slideLayout" Target="../slideLayouts/slideLayout246.xml"/><Relationship Id="rId11" Type="http://schemas.openxmlformats.org/officeDocument/2006/relationships/slideLayout" Target="../slideLayouts/slideLayout251.xml"/><Relationship Id="rId5" Type="http://schemas.openxmlformats.org/officeDocument/2006/relationships/slideLayout" Target="../slideLayouts/slideLayout245.xml"/><Relationship Id="rId15" Type="http://schemas.openxmlformats.org/officeDocument/2006/relationships/theme" Target="../theme/theme13.xml"/><Relationship Id="rId10" Type="http://schemas.openxmlformats.org/officeDocument/2006/relationships/slideLayout" Target="../slideLayouts/slideLayout250.xml"/><Relationship Id="rId4" Type="http://schemas.openxmlformats.org/officeDocument/2006/relationships/slideLayout" Target="../slideLayouts/slideLayout244.xml"/><Relationship Id="rId9" Type="http://schemas.openxmlformats.org/officeDocument/2006/relationships/slideLayout" Target="../slideLayouts/slideLayout249.xml"/><Relationship Id="rId14" Type="http://schemas.openxmlformats.org/officeDocument/2006/relationships/slideLayout" Target="../slideLayouts/slideLayout254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2.xml"/><Relationship Id="rId13" Type="http://schemas.openxmlformats.org/officeDocument/2006/relationships/image" Target="../media/image8.jpeg"/><Relationship Id="rId3" Type="http://schemas.openxmlformats.org/officeDocument/2006/relationships/slideLayout" Target="../slideLayouts/slideLayout257.xml"/><Relationship Id="rId7" Type="http://schemas.openxmlformats.org/officeDocument/2006/relationships/slideLayout" Target="../slideLayouts/slideLayout261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256.xml"/><Relationship Id="rId1" Type="http://schemas.openxmlformats.org/officeDocument/2006/relationships/slideLayout" Target="../slideLayouts/slideLayout255.xml"/><Relationship Id="rId6" Type="http://schemas.openxmlformats.org/officeDocument/2006/relationships/slideLayout" Target="../slideLayouts/slideLayout260.xml"/><Relationship Id="rId11" Type="http://schemas.openxmlformats.org/officeDocument/2006/relationships/slideLayout" Target="../slideLayouts/slideLayout265.xml"/><Relationship Id="rId5" Type="http://schemas.openxmlformats.org/officeDocument/2006/relationships/slideLayout" Target="../slideLayouts/slideLayout259.xml"/><Relationship Id="rId10" Type="http://schemas.openxmlformats.org/officeDocument/2006/relationships/slideLayout" Target="../slideLayouts/slideLayout264.xml"/><Relationship Id="rId4" Type="http://schemas.openxmlformats.org/officeDocument/2006/relationships/slideLayout" Target="../slideLayouts/slideLayout258.xml"/><Relationship Id="rId9" Type="http://schemas.openxmlformats.org/officeDocument/2006/relationships/slideLayout" Target="../slideLayouts/slideLayout263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3.xml"/><Relationship Id="rId13" Type="http://schemas.openxmlformats.org/officeDocument/2006/relationships/slideLayout" Target="../slideLayouts/slideLayout278.xml"/><Relationship Id="rId3" Type="http://schemas.openxmlformats.org/officeDocument/2006/relationships/slideLayout" Target="../slideLayouts/slideLayout268.xml"/><Relationship Id="rId7" Type="http://schemas.openxmlformats.org/officeDocument/2006/relationships/slideLayout" Target="../slideLayouts/slideLayout272.xml"/><Relationship Id="rId12" Type="http://schemas.openxmlformats.org/officeDocument/2006/relationships/slideLayout" Target="../slideLayouts/slideLayout277.xml"/><Relationship Id="rId2" Type="http://schemas.openxmlformats.org/officeDocument/2006/relationships/slideLayout" Target="../slideLayouts/slideLayout267.xml"/><Relationship Id="rId16" Type="http://schemas.openxmlformats.org/officeDocument/2006/relationships/image" Target="../media/image55.png"/><Relationship Id="rId1" Type="http://schemas.openxmlformats.org/officeDocument/2006/relationships/slideLayout" Target="../slideLayouts/slideLayout266.xml"/><Relationship Id="rId6" Type="http://schemas.openxmlformats.org/officeDocument/2006/relationships/slideLayout" Target="../slideLayouts/slideLayout271.xml"/><Relationship Id="rId11" Type="http://schemas.openxmlformats.org/officeDocument/2006/relationships/slideLayout" Target="../slideLayouts/slideLayout276.xml"/><Relationship Id="rId5" Type="http://schemas.openxmlformats.org/officeDocument/2006/relationships/slideLayout" Target="../slideLayouts/slideLayout270.xml"/><Relationship Id="rId15" Type="http://schemas.openxmlformats.org/officeDocument/2006/relationships/theme" Target="../theme/theme15.xml"/><Relationship Id="rId10" Type="http://schemas.openxmlformats.org/officeDocument/2006/relationships/slideLayout" Target="../slideLayouts/slideLayout275.xml"/><Relationship Id="rId4" Type="http://schemas.openxmlformats.org/officeDocument/2006/relationships/slideLayout" Target="../slideLayouts/slideLayout269.xml"/><Relationship Id="rId9" Type="http://schemas.openxmlformats.org/officeDocument/2006/relationships/slideLayout" Target="../slideLayouts/slideLayout274.xml"/><Relationship Id="rId14" Type="http://schemas.openxmlformats.org/officeDocument/2006/relationships/slideLayout" Target="../slideLayouts/slideLayout279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6.xml"/><Relationship Id="rId7" Type="http://schemas.openxmlformats.org/officeDocument/2006/relationships/image" Target="../media/image42.png"/><Relationship Id="rId2" Type="http://schemas.openxmlformats.org/officeDocument/2006/relationships/slideLayout" Target="../slideLayouts/slideLayout281.xml"/><Relationship Id="rId1" Type="http://schemas.openxmlformats.org/officeDocument/2006/relationships/slideLayout" Target="../slideLayouts/slideLayout280.xml"/><Relationship Id="rId6" Type="http://schemas.openxmlformats.org/officeDocument/2006/relationships/image" Target="../media/image41.emf"/><Relationship Id="rId5" Type="http://schemas.openxmlformats.org/officeDocument/2006/relationships/oleObject" Target="../embeddings/oleObject26.bin"/><Relationship Id="rId4" Type="http://schemas.openxmlformats.org/officeDocument/2006/relationships/tags" Target="../tags/tag165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9.xml"/><Relationship Id="rId13" Type="http://schemas.openxmlformats.org/officeDocument/2006/relationships/slideLayout" Target="../slideLayouts/slideLayout294.xml"/><Relationship Id="rId18" Type="http://schemas.openxmlformats.org/officeDocument/2006/relationships/image" Target="../media/image58.emf"/><Relationship Id="rId3" Type="http://schemas.openxmlformats.org/officeDocument/2006/relationships/slideLayout" Target="../slideLayouts/slideLayout284.xml"/><Relationship Id="rId7" Type="http://schemas.openxmlformats.org/officeDocument/2006/relationships/slideLayout" Target="../slideLayouts/slideLayout288.xml"/><Relationship Id="rId12" Type="http://schemas.openxmlformats.org/officeDocument/2006/relationships/slideLayout" Target="../slideLayouts/slideLayout293.xml"/><Relationship Id="rId17" Type="http://schemas.openxmlformats.org/officeDocument/2006/relationships/oleObject" Target="../embeddings/oleObject35.bin"/><Relationship Id="rId2" Type="http://schemas.openxmlformats.org/officeDocument/2006/relationships/slideLayout" Target="../slideLayouts/slideLayout283.xml"/><Relationship Id="rId16" Type="http://schemas.openxmlformats.org/officeDocument/2006/relationships/tags" Target="../tags/tag167.xml"/><Relationship Id="rId1" Type="http://schemas.openxmlformats.org/officeDocument/2006/relationships/slideLayout" Target="../slideLayouts/slideLayout282.xml"/><Relationship Id="rId6" Type="http://schemas.openxmlformats.org/officeDocument/2006/relationships/slideLayout" Target="../slideLayouts/slideLayout287.xml"/><Relationship Id="rId11" Type="http://schemas.openxmlformats.org/officeDocument/2006/relationships/slideLayout" Target="../slideLayouts/slideLayout292.xml"/><Relationship Id="rId5" Type="http://schemas.openxmlformats.org/officeDocument/2006/relationships/slideLayout" Target="../slideLayouts/slideLayout286.xml"/><Relationship Id="rId15" Type="http://schemas.openxmlformats.org/officeDocument/2006/relationships/theme" Target="../theme/theme17.xml"/><Relationship Id="rId10" Type="http://schemas.openxmlformats.org/officeDocument/2006/relationships/slideLayout" Target="../slideLayouts/slideLayout291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285.xml"/><Relationship Id="rId9" Type="http://schemas.openxmlformats.org/officeDocument/2006/relationships/slideLayout" Target="../slideLayouts/slideLayout290.xml"/><Relationship Id="rId14" Type="http://schemas.openxmlformats.org/officeDocument/2006/relationships/slideLayout" Target="../slideLayouts/slideLayout295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3.xml"/><Relationship Id="rId13" Type="http://schemas.openxmlformats.org/officeDocument/2006/relationships/slideLayout" Target="../slideLayouts/slideLayout308.xml"/><Relationship Id="rId3" Type="http://schemas.openxmlformats.org/officeDocument/2006/relationships/slideLayout" Target="../slideLayouts/slideLayout298.xml"/><Relationship Id="rId7" Type="http://schemas.openxmlformats.org/officeDocument/2006/relationships/slideLayout" Target="../slideLayouts/slideLayout302.xml"/><Relationship Id="rId12" Type="http://schemas.openxmlformats.org/officeDocument/2006/relationships/slideLayout" Target="../slideLayouts/slideLayout307.xml"/><Relationship Id="rId2" Type="http://schemas.openxmlformats.org/officeDocument/2006/relationships/slideLayout" Target="../slideLayouts/slideLayout297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96.xml"/><Relationship Id="rId6" Type="http://schemas.openxmlformats.org/officeDocument/2006/relationships/slideLayout" Target="../slideLayouts/slideLayout301.xml"/><Relationship Id="rId11" Type="http://schemas.openxmlformats.org/officeDocument/2006/relationships/slideLayout" Target="../slideLayouts/slideLayout306.xml"/><Relationship Id="rId5" Type="http://schemas.openxmlformats.org/officeDocument/2006/relationships/slideLayout" Target="../slideLayouts/slideLayout300.xml"/><Relationship Id="rId15" Type="http://schemas.openxmlformats.org/officeDocument/2006/relationships/theme" Target="../theme/theme18.xml"/><Relationship Id="rId10" Type="http://schemas.openxmlformats.org/officeDocument/2006/relationships/slideLayout" Target="../slideLayouts/slideLayout305.xml"/><Relationship Id="rId4" Type="http://schemas.openxmlformats.org/officeDocument/2006/relationships/slideLayout" Target="../slideLayouts/slideLayout299.xml"/><Relationship Id="rId9" Type="http://schemas.openxmlformats.org/officeDocument/2006/relationships/slideLayout" Target="../slideLayouts/slideLayout304.xml"/><Relationship Id="rId14" Type="http://schemas.openxmlformats.org/officeDocument/2006/relationships/slideLayout" Target="../slideLayouts/slideLayout30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5" Type="http://schemas.openxmlformats.org/officeDocument/2006/relationships/slideLayout" Target="../slideLayouts/slideLayout24.xml"/><Relationship Id="rId10" Type="http://schemas.openxmlformats.org/officeDocument/2006/relationships/image" Target="../media/image8.jpeg"/><Relationship Id="rId4" Type="http://schemas.openxmlformats.org/officeDocument/2006/relationships/slideLayout" Target="../slideLayouts/slideLayout23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9.xml"/><Relationship Id="rId16" Type="http://schemas.openxmlformats.org/officeDocument/2006/relationships/theme" Target="../theme/theme3.xml"/><Relationship Id="rId20" Type="http://schemas.openxmlformats.org/officeDocument/2006/relationships/image" Target="../media/image13.emf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37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44.xml"/><Relationship Id="rId16" Type="http://schemas.openxmlformats.org/officeDocument/2006/relationships/image" Target="../media/image23.png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/Relationships>
</file>

<file path=ppt/slideMasters/_rels/slideMaster5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82.xml"/><Relationship Id="rId21" Type="http://schemas.openxmlformats.org/officeDocument/2006/relationships/slideLayout" Target="../slideLayouts/slideLayout77.xml"/><Relationship Id="rId42" Type="http://schemas.openxmlformats.org/officeDocument/2006/relationships/slideLayout" Target="../slideLayouts/slideLayout98.xml"/><Relationship Id="rId47" Type="http://schemas.openxmlformats.org/officeDocument/2006/relationships/slideLayout" Target="../slideLayouts/slideLayout103.xml"/><Relationship Id="rId63" Type="http://schemas.openxmlformats.org/officeDocument/2006/relationships/slideLayout" Target="../slideLayouts/slideLayout119.xml"/><Relationship Id="rId68" Type="http://schemas.openxmlformats.org/officeDocument/2006/relationships/theme" Target="../theme/theme5.xml"/><Relationship Id="rId2" Type="http://schemas.openxmlformats.org/officeDocument/2006/relationships/slideLayout" Target="../slideLayouts/slideLayout58.xml"/><Relationship Id="rId16" Type="http://schemas.openxmlformats.org/officeDocument/2006/relationships/slideLayout" Target="../slideLayouts/slideLayout72.xml"/><Relationship Id="rId29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67.xml"/><Relationship Id="rId24" Type="http://schemas.openxmlformats.org/officeDocument/2006/relationships/slideLayout" Target="../slideLayouts/slideLayout80.xml"/><Relationship Id="rId32" Type="http://schemas.openxmlformats.org/officeDocument/2006/relationships/slideLayout" Target="../slideLayouts/slideLayout88.xml"/><Relationship Id="rId37" Type="http://schemas.openxmlformats.org/officeDocument/2006/relationships/slideLayout" Target="../slideLayouts/slideLayout93.xml"/><Relationship Id="rId40" Type="http://schemas.openxmlformats.org/officeDocument/2006/relationships/slideLayout" Target="../slideLayouts/slideLayout96.xml"/><Relationship Id="rId45" Type="http://schemas.openxmlformats.org/officeDocument/2006/relationships/slideLayout" Target="../slideLayouts/slideLayout101.xml"/><Relationship Id="rId53" Type="http://schemas.openxmlformats.org/officeDocument/2006/relationships/slideLayout" Target="../slideLayouts/slideLayout109.xml"/><Relationship Id="rId58" Type="http://schemas.openxmlformats.org/officeDocument/2006/relationships/slideLayout" Target="../slideLayouts/slideLayout114.xml"/><Relationship Id="rId66" Type="http://schemas.openxmlformats.org/officeDocument/2006/relationships/slideLayout" Target="../slideLayouts/slideLayout122.xml"/><Relationship Id="rId74" Type="http://schemas.openxmlformats.org/officeDocument/2006/relationships/oleObject" Target="../embeddings/oleObject8.bin"/><Relationship Id="rId5" Type="http://schemas.openxmlformats.org/officeDocument/2006/relationships/slideLayout" Target="../slideLayouts/slideLayout61.xml"/><Relationship Id="rId61" Type="http://schemas.openxmlformats.org/officeDocument/2006/relationships/slideLayout" Target="../slideLayouts/slideLayout117.xml"/><Relationship Id="rId1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70.xml"/><Relationship Id="rId22" Type="http://schemas.openxmlformats.org/officeDocument/2006/relationships/slideLayout" Target="../slideLayouts/slideLayout78.xml"/><Relationship Id="rId27" Type="http://schemas.openxmlformats.org/officeDocument/2006/relationships/slideLayout" Target="../slideLayouts/slideLayout83.xml"/><Relationship Id="rId30" Type="http://schemas.openxmlformats.org/officeDocument/2006/relationships/slideLayout" Target="../slideLayouts/slideLayout86.xml"/><Relationship Id="rId35" Type="http://schemas.openxmlformats.org/officeDocument/2006/relationships/slideLayout" Target="../slideLayouts/slideLayout91.xml"/><Relationship Id="rId43" Type="http://schemas.openxmlformats.org/officeDocument/2006/relationships/slideLayout" Target="../slideLayouts/slideLayout99.xml"/><Relationship Id="rId48" Type="http://schemas.openxmlformats.org/officeDocument/2006/relationships/slideLayout" Target="../slideLayouts/slideLayout104.xml"/><Relationship Id="rId56" Type="http://schemas.openxmlformats.org/officeDocument/2006/relationships/slideLayout" Target="../slideLayouts/slideLayout112.xml"/><Relationship Id="rId64" Type="http://schemas.openxmlformats.org/officeDocument/2006/relationships/slideLayout" Target="../slideLayouts/slideLayout120.xml"/><Relationship Id="rId69" Type="http://schemas.openxmlformats.org/officeDocument/2006/relationships/tags" Target="../tags/tag21.xml"/><Relationship Id="rId8" Type="http://schemas.openxmlformats.org/officeDocument/2006/relationships/slideLayout" Target="../slideLayouts/slideLayout64.xml"/><Relationship Id="rId51" Type="http://schemas.openxmlformats.org/officeDocument/2006/relationships/slideLayout" Target="../slideLayouts/slideLayout107.xml"/><Relationship Id="rId72" Type="http://schemas.openxmlformats.org/officeDocument/2006/relationships/oleObject" Target="../embeddings/oleObject1.bin"/><Relationship Id="rId3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8.xml"/><Relationship Id="rId17" Type="http://schemas.openxmlformats.org/officeDocument/2006/relationships/slideLayout" Target="../slideLayouts/slideLayout73.xml"/><Relationship Id="rId25" Type="http://schemas.openxmlformats.org/officeDocument/2006/relationships/slideLayout" Target="../slideLayouts/slideLayout81.xml"/><Relationship Id="rId33" Type="http://schemas.openxmlformats.org/officeDocument/2006/relationships/slideLayout" Target="../slideLayouts/slideLayout89.xml"/><Relationship Id="rId38" Type="http://schemas.openxmlformats.org/officeDocument/2006/relationships/slideLayout" Target="../slideLayouts/slideLayout94.xml"/><Relationship Id="rId46" Type="http://schemas.openxmlformats.org/officeDocument/2006/relationships/slideLayout" Target="../slideLayouts/slideLayout102.xml"/><Relationship Id="rId59" Type="http://schemas.openxmlformats.org/officeDocument/2006/relationships/slideLayout" Target="../slideLayouts/slideLayout115.xml"/><Relationship Id="rId67" Type="http://schemas.openxmlformats.org/officeDocument/2006/relationships/slideLayout" Target="../slideLayouts/slideLayout123.xml"/><Relationship Id="rId20" Type="http://schemas.openxmlformats.org/officeDocument/2006/relationships/slideLayout" Target="../slideLayouts/slideLayout76.xml"/><Relationship Id="rId41" Type="http://schemas.openxmlformats.org/officeDocument/2006/relationships/slideLayout" Target="../slideLayouts/slideLayout97.xml"/><Relationship Id="rId54" Type="http://schemas.openxmlformats.org/officeDocument/2006/relationships/slideLayout" Target="../slideLayouts/slideLayout110.xml"/><Relationship Id="rId62" Type="http://schemas.openxmlformats.org/officeDocument/2006/relationships/slideLayout" Target="../slideLayouts/slideLayout118.xml"/><Relationship Id="rId70" Type="http://schemas.openxmlformats.org/officeDocument/2006/relationships/tags" Target="../tags/tag22.xml"/><Relationship Id="rId75" Type="http://schemas.openxmlformats.org/officeDocument/2006/relationships/image" Target="../media/image29.emf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5" Type="http://schemas.openxmlformats.org/officeDocument/2006/relationships/slideLayout" Target="../slideLayouts/slideLayout71.xml"/><Relationship Id="rId23" Type="http://schemas.openxmlformats.org/officeDocument/2006/relationships/slideLayout" Target="../slideLayouts/slideLayout79.xml"/><Relationship Id="rId28" Type="http://schemas.openxmlformats.org/officeDocument/2006/relationships/slideLayout" Target="../slideLayouts/slideLayout84.xml"/><Relationship Id="rId36" Type="http://schemas.openxmlformats.org/officeDocument/2006/relationships/slideLayout" Target="../slideLayouts/slideLayout92.xml"/><Relationship Id="rId49" Type="http://schemas.openxmlformats.org/officeDocument/2006/relationships/slideLayout" Target="../slideLayouts/slideLayout105.xml"/><Relationship Id="rId57" Type="http://schemas.openxmlformats.org/officeDocument/2006/relationships/slideLayout" Target="../slideLayouts/slideLayout113.xml"/><Relationship Id="rId10" Type="http://schemas.openxmlformats.org/officeDocument/2006/relationships/slideLayout" Target="../slideLayouts/slideLayout66.xml"/><Relationship Id="rId31" Type="http://schemas.openxmlformats.org/officeDocument/2006/relationships/slideLayout" Target="../slideLayouts/slideLayout87.xml"/><Relationship Id="rId44" Type="http://schemas.openxmlformats.org/officeDocument/2006/relationships/slideLayout" Target="../slideLayouts/slideLayout100.xml"/><Relationship Id="rId52" Type="http://schemas.openxmlformats.org/officeDocument/2006/relationships/slideLayout" Target="../slideLayouts/slideLayout108.xml"/><Relationship Id="rId60" Type="http://schemas.openxmlformats.org/officeDocument/2006/relationships/slideLayout" Target="../slideLayouts/slideLayout116.xml"/><Relationship Id="rId65" Type="http://schemas.openxmlformats.org/officeDocument/2006/relationships/slideLayout" Target="../slideLayouts/slideLayout121.xml"/><Relationship Id="rId73" Type="http://schemas.openxmlformats.org/officeDocument/2006/relationships/image" Target="../media/image13.emf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3" Type="http://schemas.openxmlformats.org/officeDocument/2006/relationships/slideLayout" Target="../slideLayouts/slideLayout69.xml"/><Relationship Id="rId18" Type="http://schemas.openxmlformats.org/officeDocument/2006/relationships/slideLayout" Target="../slideLayouts/slideLayout74.xml"/><Relationship Id="rId39" Type="http://schemas.openxmlformats.org/officeDocument/2006/relationships/slideLayout" Target="../slideLayouts/slideLayout95.xml"/><Relationship Id="rId34" Type="http://schemas.openxmlformats.org/officeDocument/2006/relationships/slideLayout" Target="../slideLayouts/slideLayout90.xml"/><Relationship Id="rId50" Type="http://schemas.openxmlformats.org/officeDocument/2006/relationships/slideLayout" Target="../slideLayouts/slideLayout106.xml"/><Relationship Id="rId55" Type="http://schemas.openxmlformats.org/officeDocument/2006/relationships/slideLayout" Target="../slideLayouts/slideLayout111.xml"/><Relationship Id="rId7" Type="http://schemas.openxmlformats.org/officeDocument/2006/relationships/slideLayout" Target="../slideLayouts/slideLayout63.xml"/><Relationship Id="rId71" Type="http://schemas.openxmlformats.org/officeDocument/2006/relationships/tags" Target="../tags/tag2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1.xml"/><Relationship Id="rId13" Type="http://schemas.openxmlformats.org/officeDocument/2006/relationships/slideLayout" Target="../slideLayouts/slideLayout136.xml"/><Relationship Id="rId18" Type="http://schemas.openxmlformats.org/officeDocument/2006/relationships/slideLayout" Target="../slideLayouts/slideLayout141.xml"/><Relationship Id="rId3" Type="http://schemas.openxmlformats.org/officeDocument/2006/relationships/slideLayout" Target="../slideLayouts/slideLayout126.xml"/><Relationship Id="rId21" Type="http://schemas.openxmlformats.org/officeDocument/2006/relationships/oleObject" Target="../embeddings/oleObject26.bin"/><Relationship Id="rId7" Type="http://schemas.openxmlformats.org/officeDocument/2006/relationships/slideLayout" Target="../slideLayouts/slideLayout130.xml"/><Relationship Id="rId12" Type="http://schemas.openxmlformats.org/officeDocument/2006/relationships/slideLayout" Target="../slideLayouts/slideLayout135.xml"/><Relationship Id="rId17" Type="http://schemas.openxmlformats.org/officeDocument/2006/relationships/slideLayout" Target="../slideLayouts/slideLayout140.xml"/><Relationship Id="rId2" Type="http://schemas.openxmlformats.org/officeDocument/2006/relationships/slideLayout" Target="../slideLayouts/slideLayout125.xml"/><Relationship Id="rId16" Type="http://schemas.openxmlformats.org/officeDocument/2006/relationships/slideLayout" Target="../slideLayouts/slideLayout139.xml"/><Relationship Id="rId20" Type="http://schemas.openxmlformats.org/officeDocument/2006/relationships/tags" Target="../tags/tag118.xml"/><Relationship Id="rId1" Type="http://schemas.openxmlformats.org/officeDocument/2006/relationships/slideLayout" Target="../slideLayouts/slideLayout124.xml"/><Relationship Id="rId6" Type="http://schemas.openxmlformats.org/officeDocument/2006/relationships/slideLayout" Target="../slideLayouts/slideLayout129.xml"/><Relationship Id="rId11" Type="http://schemas.openxmlformats.org/officeDocument/2006/relationships/slideLayout" Target="../slideLayouts/slideLayout134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128.xml"/><Relationship Id="rId15" Type="http://schemas.openxmlformats.org/officeDocument/2006/relationships/slideLayout" Target="../slideLayouts/slideLayout138.xml"/><Relationship Id="rId23" Type="http://schemas.openxmlformats.org/officeDocument/2006/relationships/image" Target="../media/image42.png"/><Relationship Id="rId10" Type="http://schemas.openxmlformats.org/officeDocument/2006/relationships/slideLayout" Target="../slideLayouts/slideLayout133.xml"/><Relationship Id="rId19" Type="http://schemas.openxmlformats.org/officeDocument/2006/relationships/theme" Target="../theme/theme6.xml"/><Relationship Id="rId4" Type="http://schemas.openxmlformats.org/officeDocument/2006/relationships/slideLayout" Target="../slideLayouts/slideLayout127.xml"/><Relationship Id="rId9" Type="http://schemas.openxmlformats.org/officeDocument/2006/relationships/slideLayout" Target="../slideLayouts/slideLayout132.xml"/><Relationship Id="rId14" Type="http://schemas.openxmlformats.org/officeDocument/2006/relationships/slideLayout" Target="../slideLayouts/slideLayout137.xml"/><Relationship Id="rId22" Type="http://schemas.openxmlformats.org/officeDocument/2006/relationships/image" Target="../media/image4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9.xml"/><Relationship Id="rId13" Type="http://schemas.openxmlformats.org/officeDocument/2006/relationships/slideLayout" Target="../slideLayouts/slideLayout154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44.xml"/><Relationship Id="rId7" Type="http://schemas.openxmlformats.org/officeDocument/2006/relationships/slideLayout" Target="../slideLayouts/slideLayout148.xml"/><Relationship Id="rId12" Type="http://schemas.openxmlformats.org/officeDocument/2006/relationships/slideLayout" Target="../slideLayouts/slideLayout153.xml"/><Relationship Id="rId17" Type="http://schemas.openxmlformats.org/officeDocument/2006/relationships/image" Target="../media/image42.png"/><Relationship Id="rId2" Type="http://schemas.openxmlformats.org/officeDocument/2006/relationships/slideLayout" Target="../slideLayouts/slideLayout143.xml"/><Relationship Id="rId16" Type="http://schemas.openxmlformats.org/officeDocument/2006/relationships/theme" Target="../theme/theme7.xml"/><Relationship Id="rId1" Type="http://schemas.openxmlformats.org/officeDocument/2006/relationships/slideLayout" Target="../slideLayouts/slideLayout142.xml"/><Relationship Id="rId6" Type="http://schemas.openxmlformats.org/officeDocument/2006/relationships/slideLayout" Target="../slideLayouts/slideLayout147.xml"/><Relationship Id="rId11" Type="http://schemas.openxmlformats.org/officeDocument/2006/relationships/slideLayout" Target="../slideLayouts/slideLayout152.xml"/><Relationship Id="rId5" Type="http://schemas.openxmlformats.org/officeDocument/2006/relationships/slideLayout" Target="../slideLayouts/slideLayout146.xml"/><Relationship Id="rId15" Type="http://schemas.openxmlformats.org/officeDocument/2006/relationships/slideLayout" Target="../slideLayouts/slideLayout156.xml"/><Relationship Id="rId10" Type="http://schemas.openxmlformats.org/officeDocument/2006/relationships/slideLayout" Target="../slideLayouts/slideLayout151.xml"/><Relationship Id="rId4" Type="http://schemas.openxmlformats.org/officeDocument/2006/relationships/slideLayout" Target="../slideLayouts/slideLayout145.xml"/><Relationship Id="rId9" Type="http://schemas.openxmlformats.org/officeDocument/2006/relationships/slideLayout" Target="../slideLayouts/slideLayout150.xml"/><Relationship Id="rId14" Type="http://schemas.openxmlformats.org/officeDocument/2006/relationships/slideLayout" Target="../slideLayouts/slideLayout15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4.xml"/><Relationship Id="rId13" Type="http://schemas.openxmlformats.org/officeDocument/2006/relationships/slideLayout" Target="../slideLayouts/slideLayout169.xml"/><Relationship Id="rId18" Type="http://schemas.openxmlformats.org/officeDocument/2006/relationships/theme" Target="../theme/theme8.xml"/><Relationship Id="rId3" Type="http://schemas.openxmlformats.org/officeDocument/2006/relationships/slideLayout" Target="../slideLayouts/slideLayout159.xml"/><Relationship Id="rId7" Type="http://schemas.openxmlformats.org/officeDocument/2006/relationships/slideLayout" Target="../slideLayouts/slideLayout163.xml"/><Relationship Id="rId12" Type="http://schemas.openxmlformats.org/officeDocument/2006/relationships/slideLayout" Target="../slideLayouts/slideLayout168.xml"/><Relationship Id="rId17" Type="http://schemas.openxmlformats.org/officeDocument/2006/relationships/slideLayout" Target="../slideLayouts/slideLayout173.xml"/><Relationship Id="rId2" Type="http://schemas.openxmlformats.org/officeDocument/2006/relationships/slideLayout" Target="../slideLayouts/slideLayout158.xml"/><Relationship Id="rId16" Type="http://schemas.openxmlformats.org/officeDocument/2006/relationships/slideLayout" Target="../slideLayouts/slideLayout172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57.xml"/><Relationship Id="rId6" Type="http://schemas.openxmlformats.org/officeDocument/2006/relationships/slideLayout" Target="../slideLayouts/slideLayout162.xml"/><Relationship Id="rId11" Type="http://schemas.openxmlformats.org/officeDocument/2006/relationships/slideLayout" Target="../slideLayouts/slideLayout167.xml"/><Relationship Id="rId5" Type="http://schemas.openxmlformats.org/officeDocument/2006/relationships/slideLayout" Target="../slideLayouts/slideLayout161.xml"/><Relationship Id="rId15" Type="http://schemas.openxmlformats.org/officeDocument/2006/relationships/slideLayout" Target="../slideLayouts/slideLayout171.xml"/><Relationship Id="rId10" Type="http://schemas.openxmlformats.org/officeDocument/2006/relationships/slideLayout" Target="../slideLayouts/slideLayout166.xml"/><Relationship Id="rId19" Type="http://schemas.openxmlformats.org/officeDocument/2006/relationships/image" Target="../media/image42.png"/><Relationship Id="rId4" Type="http://schemas.openxmlformats.org/officeDocument/2006/relationships/slideLayout" Target="../slideLayouts/slideLayout160.xml"/><Relationship Id="rId9" Type="http://schemas.openxmlformats.org/officeDocument/2006/relationships/slideLayout" Target="../slideLayouts/slideLayout165.xml"/><Relationship Id="rId14" Type="http://schemas.openxmlformats.org/officeDocument/2006/relationships/slideLayout" Target="../slideLayouts/slideLayout170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1.xml"/><Relationship Id="rId13" Type="http://schemas.openxmlformats.org/officeDocument/2006/relationships/slideLayout" Target="../slideLayouts/slideLayout186.xml"/><Relationship Id="rId18" Type="http://schemas.openxmlformats.org/officeDocument/2006/relationships/tags" Target="../tags/tag138.xml"/><Relationship Id="rId3" Type="http://schemas.openxmlformats.org/officeDocument/2006/relationships/slideLayout" Target="../slideLayouts/slideLayout176.xml"/><Relationship Id="rId21" Type="http://schemas.openxmlformats.org/officeDocument/2006/relationships/image" Target="../media/image23.png"/><Relationship Id="rId7" Type="http://schemas.openxmlformats.org/officeDocument/2006/relationships/slideLayout" Target="../slideLayouts/slideLayout180.xml"/><Relationship Id="rId12" Type="http://schemas.openxmlformats.org/officeDocument/2006/relationships/slideLayout" Target="../slideLayouts/slideLayout185.xml"/><Relationship Id="rId17" Type="http://schemas.openxmlformats.org/officeDocument/2006/relationships/theme" Target="../theme/theme9.xml"/><Relationship Id="rId2" Type="http://schemas.openxmlformats.org/officeDocument/2006/relationships/slideLayout" Target="../slideLayouts/slideLayout175.xml"/><Relationship Id="rId16" Type="http://schemas.openxmlformats.org/officeDocument/2006/relationships/slideLayout" Target="../slideLayouts/slideLayout189.xml"/><Relationship Id="rId20" Type="http://schemas.openxmlformats.org/officeDocument/2006/relationships/image" Target="../media/image51.emf"/><Relationship Id="rId1" Type="http://schemas.openxmlformats.org/officeDocument/2006/relationships/slideLayout" Target="../slideLayouts/slideLayout174.xml"/><Relationship Id="rId6" Type="http://schemas.openxmlformats.org/officeDocument/2006/relationships/slideLayout" Target="../slideLayouts/slideLayout179.xml"/><Relationship Id="rId11" Type="http://schemas.openxmlformats.org/officeDocument/2006/relationships/slideLayout" Target="../slideLayouts/slideLayout184.xml"/><Relationship Id="rId5" Type="http://schemas.openxmlformats.org/officeDocument/2006/relationships/slideLayout" Target="../slideLayouts/slideLayout178.xml"/><Relationship Id="rId15" Type="http://schemas.openxmlformats.org/officeDocument/2006/relationships/slideLayout" Target="../slideLayouts/slideLayout188.xml"/><Relationship Id="rId10" Type="http://schemas.openxmlformats.org/officeDocument/2006/relationships/slideLayout" Target="../slideLayouts/slideLayout183.xml"/><Relationship Id="rId19" Type="http://schemas.openxmlformats.org/officeDocument/2006/relationships/oleObject" Target="../embeddings/oleObject29.bin"/><Relationship Id="rId4" Type="http://schemas.openxmlformats.org/officeDocument/2006/relationships/slideLayout" Target="../slideLayouts/slideLayout177.xml"/><Relationship Id="rId9" Type="http://schemas.openxmlformats.org/officeDocument/2006/relationships/slideLayout" Target="../slideLayouts/slideLayout182.xml"/><Relationship Id="rId14" Type="http://schemas.openxmlformats.org/officeDocument/2006/relationships/slideLayout" Target="../slideLayouts/slideLayout187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960000" y="381001"/>
            <a:ext cx="10734585" cy="146382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noProof="0" dirty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960000" y="2006620"/>
            <a:ext cx="10734584" cy="401953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1231747" y="6480335"/>
            <a:ext cx="864096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700" baseline="0">
                <a:solidFill>
                  <a:schemeClr val="accent3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algn="l">
              <a:defRPr sz="600" cap="all" baseline="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/>
              <a:t>BPI - AAP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2652317" y="6480335"/>
            <a:ext cx="391321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700" b="0" cap="none" baseline="0">
                <a:solidFill>
                  <a:schemeClr val="accent3"/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›</a:t>
            </a:fld>
            <a:endParaRPr lang="fr-FR" dirty="0"/>
          </a:p>
        </p:txBody>
      </p:sp>
      <p:sp>
        <p:nvSpPr>
          <p:cNvPr id="9" name="ZoneTexte 8"/>
          <p:cNvSpPr txBox="1"/>
          <p:nvPr/>
        </p:nvSpPr>
        <p:spPr bwMode="gray">
          <a:xfrm>
            <a:off x="2124642" y="6480335"/>
            <a:ext cx="192021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700" dirty="0">
                <a:solidFill>
                  <a:schemeClr val="accent3"/>
                </a:solidFill>
              </a:rPr>
              <a:t>l</a:t>
            </a:r>
          </a:p>
        </p:txBody>
      </p:sp>
      <p:sp>
        <p:nvSpPr>
          <p:cNvPr id="13" name="Forme libre 12"/>
          <p:cNvSpPr/>
          <p:nvPr/>
        </p:nvSpPr>
        <p:spPr bwMode="gray">
          <a:xfrm>
            <a:off x="431800" y="333376"/>
            <a:ext cx="11760200" cy="5850001"/>
          </a:xfrm>
          <a:custGeom>
            <a:avLst/>
            <a:gdLst>
              <a:gd name="connsiteX0" fmla="*/ 315491 w 8820150"/>
              <a:gd name="connsiteY0" fmla="*/ 0 h 5850001"/>
              <a:gd name="connsiteX1" fmla="*/ 711374 w 8820150"/>
              <a:gd name="connsiteY1" fmla="*/ 0 h 5850001"/>
              <a:gd name="connsiteX2" fmla="*/ 8504660 w 8820150"/>
              <a:gd name="connsiteY2" fmla="*/ 0 h 5850001"/>
              <a:gd name="connsiteX3" fmla="*/ 8820150 w 8820150"/>
              <a:gd name="connsiteY3" fmla="*/ 0 h 5850001"/>
              <a:gd name="connsiteX4" fmla="*/ 8820150 w 8820150"/>
              <a:gd name="connsiteY4" fmla="*/ 18000 h 5850001"/>
              <a:gd name="connsiteX5" fmla="*/ 8567110 w 8820150"/>
              <a:gd name="connsiteY5" fmla="*/ 18000 h 5850001"/>
              <a:gd name="connsiteX6" fmla="*/ 773824 w 8820150"/>
              <a:gd name="connsiteY6" fmla="*/ 18000 h 5850001"/>
              <a:gd name="connsiteX7" fmla="*/ 377941 w 8820150"/>
              <a:gd name="connsiteY7" fmla="*/ 18000 h 5850001"/>
              <a:gd name="connsiteX8" fmla="*/ 62450 w 8820150"/>
              <a:gd name="connsiteY8" fmla="*/ 331550 h 5850001"/>
              <a:gd name="connsiteX9" fmla="*/ 62450 w 8820150"/>
              <a:gd name="connsiteY9" fmla="*/ 5518450 h 5850001"/>
              <a:gd name="connsiteX10" fmla="*/ 377941 w 8820150"/>
              <a:gd name="connsiteY10" fmla="*/ 5831999 h 5850001"/>
              <a:gd name="connsiteX11" fmla="*/ 8567109 w 8820150"/>
              <a:gd name="connsiteY11" fmla="*/ 5832000 h 5850001"/>
              <a:gd name="connsiteX12" fmla="*/ 8567119 w 8820150"/>
              <a:gd name="connsiteY12" fmla="*/ 5831999 h 5850001"/>
              <a:gd name="connsiteX13" fmla="*/ 8820150 w 8820150"/>
              <a:gd name="connsiteY13" fmla="*/ 5831999 h 5850001"/>
              <a:gd name="connsiteX14" fmla="*/ 8820150 w 8820150"/>
              <a:gd name="connsiteY14" fmla="*/ 5850000 h 5850001"/>
              <a:gd name="connsiteX15" fmla="*/ 8504669 w 8820150"/>
              <a:gd name="connsiteY15" fmla="*/ 5850000 h 5850001"/>
              <a:gd name="connsiteX16" fmla="*/ 8504659 w 8820150"/>
              <a:gd name="connsiteY16" fmla="*/ 5850001 h 5850001"/>
              <a:gd name="connsiteX17" fmla="*/ 315491 w 8820150"/>
              <a:gd name="connsiteY17" fmla="*/ 5850000 h 5850001"/>
              <a:gd name="connsiteX18" fmla="*/ 0 w 8820150"/>
              <a:gd name="connsiteY18" fmla="*/ 5534509 h 5850001"/>
              <a:gd name="connsiteX19" fmla="*/ 0 w 8820150"/>
              <a:gd name="connsiteY19" fmla="*/ 315491 h 5850001"/>
              <a:gd name="connsiteX20" fmla="*/ 315491 w 8820150"/>
              <a:gd name="connsiteY20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8820150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18000"/>
                </a:lnTo>
                <a:lnTo>
                  <a:pt x="8567110" y="18000"/>
                </a:lnTo>
                <a:lnTo>
                  <a:pt x="773824" y="18000"/>
                </a:lnTo>
                <a:lnTo>
                  <a:pt x="377941" y="18000"/>
                </a:lnTo>
                <a:cubicBezTo>
                  <a:pt x="203700" y="18000"/>
                  <a:pt x="62450" y="158381"/>
                  <a:pt x="62450" y="331550"/>
                </a:cubicBezTo>
                <a:lnTo>
                  <a:pt x="62450" y="5518450"/>
                </a:lnTo>
                <a:cubicBezTo>
                  <a:pt x="62450" y="5691619"/>
                  <a:pt x="203700" y="5831999"/>
                  <a:pt x="377941" y="5831999"/>
                </a:cubicBezTo>
                <a:lnTo>
                  <a:pt x="8567109" y="5832000"/>
                </a:lnTo>
                <a:lnTo>
                  <a:pt x="8567119" y="5831999"/>
                </a:lnTo>
                <a:lnTo>
                  <a:pt x="8820150" y="5831999"/>
                </a:ln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 sz="1800"/>
          </a:p>
        </p:txBody>
      </p:sp>
      <p:pic>
        <p:nvPicPr>
          <p:cNvPr id="8" name="Image 7" descr="logo_gauche.pdf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31801" y="6404992"/>
            <a:ext cx="394972" cy="204800"/>
          </a:xfrm>
          <a:prstGeom prst="rect">
            <a:avLst/>
          </a:prstGeom>
        </p:spPr>
      </p:pic>
      <p:pic>
        <p:nvPicPr>
          <p:cNvPr id="33" name="Image 32"/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3186" y="6247120"/>
            <a:ext cx="2790396" cy="501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59460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  <p:sldLayoutId id="2147483678" r:id="rId15"/>
    <p:sldLayoutId id="2147483679" r:id="rId16"/>
    <p:sldLayoutId id="2147483680" r:id="rId17"/>
    <p:sldLayoutId id="2147483681" r:id="rId18"/>
    <p:sldLayoutId id="2147483682" r:id="rId1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5400" b="1" kern="1200" cap="none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82000"/>
        </a:lnSpc>
        <a:spcBef>
          <a:spcPts val="0"/>
        </a:spcBef>
        <a:spcAft>
          <a:spcPts val="0"/>
        </a:spcAft>
        <a:buSzPct val="80000"/>
        <a:buFont typeface="Wingdings" pitchFamily="2" charset="2"/>
        <a:buChar char="n"/>
        <a:defRPr sz="2200" b="1" kern="1200" cap="none" baseline="0">
          <a:solidFill>
            <a:schemeClr val="accent1"/>
          </a:solidFill>
          <a:latin typeface="+mn-lt"/>
          <a:ea typeface="+mn-ea"/>
          <a:cs typeface="+mn-cs"/>
        </a:defRPr>
      </a:lvl1pPr>
      <a:lvl2pPr marL="432000" indent="180000" algn="l" defTabSz="914400" rtl="0" eaLnBrk="1" latinLnBrk="0" hangingPunct="1">
        <a:lnSpc>
          <a:spcPct val="82000"/>
        </a:lnSpc>
        <a:spcBef>
          <a:spcPts val="0"/>
        </a:spcBef>
        <a:spcAft>
          <a:spcPts val="0"/>
        </a:spcAft>
        <a:buSzPct val="100000"/>
        <a:buFont typeface="Wingdings" pitchFamily="2" charset="2"/>
        <a:buChar char="§"/>
        <a:defRPr sz="2200" kern="1200" cap="none">
          <a:solidFill>
            <a:schemeClr val="tx1"/>
          </a:solidFill>
          <a:latin typeface="+mn-lt"/>
          <a:ea typeface="+mn-ea"/>
          <a:cs typeface="+mn-cs"/>
        </a:defRPr>
      </a:lvl2pPr>
      <a:lvl3pPr marL="864000" indent="180000" algn="l" defTabSz="914400" rtl="0" eaLnBrk="1" latinLnBrk="0" hangingPunct="1">
        <a:lnSpc>
          <a:spcPct val="82000"/>
        </a:lnSpc>
        <a:spcBef>
          <a:spcPts val="0"/>
        </a:spcBef>
        <a:spcAft>
          <a:spcPts val="0"/>
        </a:spcAft>
        <a:buSzPct val="100000"/>
        <a:buFont typeface="Wingdings" pitchFamily="2" charset="2"/>
        <a:buChar char="§"/>
        <a:defRPr sz="2200" kern="1200" cap="none">
          <a:solidFill>
            <a:schemeClr val="accent3"/>
          </a:solidFill>
          <a:latin typeface="+mn-lt"/>
          <a:ea typeface="+mn-ea"/>
          <a:cs typeface="+mn-cs"/>
        </a:defRPr>
      </a:lvl3pPr>
      <a:lvl4pPr marL="1296000" indent="180000" algn="l" defTabSz="914400" rtl="0" eaLnBrk="1" latinLnBrk="0" hangingPunct="1">
        <a:lnSpc>
          <a:spcPct val="82000"/>
        </a:lnSpc>
        <a:spcBef>
          <a:spcPts val="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defRPr sz="2200" b="0" kern="1200" cap="none">
          <a:solidFill>
            <a:schemeClr val="tx1"/>
          </a:solidFill>
          <a:latin typeface="+mn-lt"/>
          <a:ea typeface="+mn-ea"/>
          <a:cs typeface="+mn-cs"/>
        </a:defRPr>
      </a:lvl4pPr>
      <a:lvl5pPr marL="1728000" indent="180000" algn="l" defTabSz="914400" rtl="0" eaLnBrk="1" latinLnBrk="0" hangingPunct="1">
        <a:lnSpc>
          <a:spcPct val="82000"/>
        </a:lnSpc>
        <a:spcBef>
          <a:spcPts val="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defRPr sz="2200" kern="1200" cap="none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7841DC6-0250-42B4-819E-D14B80B33F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09" imgH="309" progId="TCLayout.ActiveDocument.1">
                  <p:embed/>
                </p:oleObj>
              </mc:Choice>
              <mc:Fallback>
                <p:oleObj name="think-cell Slide" r:id="rId23" imgW="309" imgH="3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7841DC6-0250-42B4-819E-D14B80B33F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660401" y="457200"/>
            <a:ext cx="11034187" cy="13876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pl-PL" noProof="0" dirty="0"/>
              <a:t>Tytuł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660400" y="2006622"/>
            <a:ext cx="11034184" cy="40195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pl-PL" noProof="0" dirty="0"/>
              <a:t>Pierwszy poziom tekstu</a:t>
            </a:r>
          </a:p>
          <a:p>
            <a:pPr lvl="1"/>
            <a:r>
              <a:rPr lang="pl-PL" noProof="0" dirty="0"/>
              <a:t>Drugi poziom tekstu</a:t>
            </a:r>
          </a:p>
          <a:p>
            <a:pPr lvl="2"/>
            <a:r>
              <a:rPr lang="pl-PL" noProof="0" dirty="0"/>
              <a:t>Trzeci poziom tekstu</a:t>
            </a:r>
          </a:p>
          <a:p>
            <a:pPr lvl="3"/>
            <a:r>
              <a:rPr lang="pl-PL" noProof="0" dirty="0"/>
              <a:t>Czwarty poziom tekstu</a:t>
            </a:r>
          </a:p>
          <a:p>
            <a:pPr lvl="4"/>
            <a:r>
              <a:rPr lang="pl-PL" noProof="0" dirty="0"/>
              <a:t>Piąty poziom tekstu</a:t>
            </a:r>
          </a:p>
        </p:txBody>
      </p:sp>
      <p:pic>
        <p:nvPicPr>
          <p:cNvPr id="15" name="Picture 2" descr="\\casnas100\dfs_root\Commun\Commun160\DCG-CM\Marque\Logos\Frise marques et Picto groupe\Frise Groupe\Logo groupe CA\E_Bloc_marque\E_CAGroup_BlocMarqueHorizontal-EN\3-BUREAUTIQUE\20151738E_CAGroup_BMH-EN_RVB.png"/>
          <p:cNvPicPr>
            <a:picLocks noChangeAspect="1" noChangeArrowheads="1"/>
          </p:cNvPicPr>
          <p:nvPr/>
        </p:nvPicPr>
        <p:blipFill rotWithShape="1"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5" r="95"/>
          <a:stretch/>
        </p:blipFill>
        <p:spPr bwMode="auto">
          <a:xfrm>
            <a:off x="9936428" y="6404129"/>
            <a:ext cx="1970475" cy="244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 cap="all" baseline="0">
                <a:solidFill>
                  <a:schemeClr val="tx1">
                    <a:alpha val="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fr-FR"/>
          </a:p>
        </p:txBody>
      </p:sp>
      <p:pic>
        <p:nvPicPr>
          <p:cNvPr id="26" name="Image 9" descr="logo_gauche.pdf"/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33561" y="6404131"/>
            <a:ext cx="288000" cy="199111"/>
          </a:xfrm>
          <a:prstGeom prst="rect">
            <a:avLst/>
          </a:prstGeom>
        </p:spPr>
      </p:pic>
      <p:pic>
        <p:nvPicPr>
          <p:cNvPr id="13" name="Image 9" descr="logo_gauche.pdf"/>
          <p:cNvPicPr>
            <a:picLocks noChangeAspect="1"/>
          </p:cNvPicPr>
          <p:nvPr userDrawn="1"/>
        </p:nvPicPr>
        <p:blipFill rotWithShape="1">
          <a:blip r:embed="rId2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333561" y="6404131"/>
            <a:ext cx="288000" cy="199111"/>
          </a:xfrm>
          <a:prstGeom prst="rect">
            <a:avLst/>
          </a:prstGeom>
        </p:spPr>
      </p:pic>
      <p:sp>
        <p:nvSpPr>
          <p:cNvPr id="28" name="Espace réservé du numéro de diapositive 5"/>
          <p:cNvSpPr txBox="1">
            <a:spLocks/>
          </p:cNvSpPr>
          <p:nvPr userDrawn="1"/>
        </p:nvSpPr>
        <p:spPr bwMode="gray">
          <a:xfrm>
            <a:off x="2040940" y="6480335"/>
            <a:ext cx="391321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733" b="0" kern="1200" cap="none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C140CD-8AED-46FF-A9A2-77308F3F39AE}" type="slidenum">
              <a:rPr kumimoji="0" lang="fr-FR" sz="733" b="0" i="0" u="none" strike="noStrike" kern="1200" cap="none" spc="0" normalizeH="0" baseline="0" noProof="0" smtClean="0">
                <a:ln>
                  <a:noFill/>
                </a:ln>
                <a:solidFill>
                  <a:srgbClr val="7E93A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4675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fr-FR" sz="733" b="0" i="0" u="none" strike="noStrike" kern="1200" cap="none" spc="0" normalizeH="0" baseline="0" noProof="0">
              <a:ln>
                <a:noFill/>
              </a:ln>
              <a:solidFill>
                <a:srgbClr val="7E93A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98516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3" r:id="rId1"/>
    <p:sldLayoutId id="2147483884" r:id="rId2"/>
    <p:sldLayoutId id="2147483885" r:id="rId3"/>
    <p:sldLayoutId id="2147483886" r:id="rId4"/>
    <p:sldLayoutId id="2147483887" r:id="rId5"/>
    <p:sldLayoutId id="2147483888" r:id="rId6"/>
    <p:sldLayoutId id="2147483889" r:id="rId7"/>
    <p:sldLayoutId id="2147483890" r:id="rId8"/>
    <p:sldLayoutId id="2147483891" r:id="rId9"/>
    <p:sldLayoutId id="2147483892" r:id="rId10"/>
    <p:sldLayoutId id="2147483893" r:id="rId11"/>
    <p:sldLayoutId id="2147483894" r:id="rId12"/>
    <p:sldLayoutId id="2147483895" r:id="rId13"/>
    <p:sldLayoutId id="2147483896" r:id="rId14"/>
    <p:sldLayoutId id="2147483897" r:id="rId15"/>
    <p:sldLayoutId id="2147483898" r:id="rId16"/>
    <p:sldLayoutId id="2147483899" r:id="rId17"/>
    <p:sldLayoutId id="2147483900" r:id="rId18"/>
    <p:sldLayoutId id="2147483901" r:id="rId19"/>
    <p:sldLayoutId id="2147483902" r:id="rId20"/>
  </p:sldLayoutIdLst>
  <p:hf hdr="0"/>
  <p:txStyles>
    <p:titleStyle>
      <a:lvl1pPr algn="l" defTabSz="914318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3600" b="1" kern="1200" cap="none" baseline="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359982" indent="-359982" algn="l" defTabSz="914318" rtl="0" eaLnBrk="1" latinLnBrk="0" hangingPunct="1">
        <a:lnSpc>
          <a:spcPct val="82000"/>
        </a:lnSpc>
        <a:spcBef>
          <a:spcPts val="0"/>
        </a:spcBef>
        <a:spcAft>
          <a:spcPts val="1200"/>
        </a:spcAft>
        <a:buSzPct val="80000"/>
        <a:buFont typeface="Wingdings" pitchFamily="2" charset="2"/>
        <a:buChar char="n"/>
        <a:defRPr sz="1800" b="1" kern="1200" cap="none" baseline="0">
          <a:solidFill>
            <a:schemeClr val="accent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815960" indent="-239989" algn="l" defTabSz="914318" rtl="0" eaLnBrk="1" latinLnBrk="0" hangingPunct="1">
        <a:lnSpc>
          <a:spcPct val="82000"/>
        </a:lnSpc>
        <a:spcBef>
          <a:spcPts val="0"/>
        </a:spcBef>
        <a:spcAft>
          <a:spcPts val="1200"/>
        </a:spcAft>
        <a:buSzPct val="100000"/>
        <a:buFont typeface="Wingdings" pitchFamily="2" charset="2"/>
        <a:buChar char="§"/>
        <a:defRPr sz="1800" kern="1200" cap="none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1391931" indent="-239989" algn="l" defTabSz="914318" rtl="0" eaLnBrk="1" latinLnBrk="0" hangingPunct="1">
        <a:lnSpc>
          <a:spcPct val="82000"/>
        </a:lnSpc>
        <a:spcBef>
          <a:spcPts val="0"/>
        </a:spcBef>
        <a:spcAft>
          <a:spcPts val="1200"/>
        </a:spcAft>
        <a:buClr>
          <a:schemeClr val="accent3"/>
        </a:buClr>
        <a:buSzPct val="100000"/>
        <a:buFont typeface="Wingdings" pitchFamily="2" charset="2"/>
        <a:buChar char="§"/>
        <a:defRPr sz="1800" kern="1200" cap="none">
          <a:solidFill>
            <a:schemeClr val="accent3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1967901" indent="-239989" algn="l" defTabSz="914318" rtl="0" eaLnBrk="1" latinLnBrk="0" hangingPunct="1">
        <a:lnSpc>
          <a:spcPct val="82000"/>
        </a:lnSpc>
        <a:spcBef>
          <a:spcPts val="0"/>
        </a:spcBef>
        <a:spcAft>
          <a:spcPts val="1200"/>
        </a:spcAft>
        <a:buClr>
          <a:schemeClr val="accent1"/>
        </a:buClr>
        <a:buSzPct val="100000"/>
        <a:buFont typeface="Wingdings" pitchFamily="2" charset="2"/>
        <a:buChar char="§"/>
        <a:defRPr sz="1800" b="0" kern="1200" cap="none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2543872" indent="-239989" algn="l" defTabSz="914318" rtl="0" eaLnBrk="1" latinLnBrk="0" hangingPunct="1">
        <a:lnSpc>
          <a:spcPct val="95000"/>
        </a:lnSpc>
        <a:spcBef>
          <a:spcPts val="0"/>
        </a:spcBef>
        <a:spcAft>
          <a:spcPts val="1200"/>
        </a:spcAft>
        <a:buClr>
          <a:schemeClr val="accent1"/>
        </a:buClr>
        <a:buSzPct val="100000"/>
        <a:buFont typeface="Wingdings" pitchFamily="2" charset="2"/>
        <a:buChar char="§"/>
        <a:defRPr sz="1800" kern="1200" cap="none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514373" indent="-228580" algn="l" defTabSz="91431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32" indent="-228580" algn="l" defTabSz="91431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92" indent="-228580" algn="l" defTabSz="91431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50" indent="-228580" algn="l" defTabSz="91431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9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8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6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36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95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54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12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71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6277">
          <p15:clr>
            <a:srgbClr val="F26B43"/>
          </p15:clr>
        </p15:guide>
        <p15:guide id="3" pos="2449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iekt 3" hidden="1"/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4" name="Obi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2255574" y="381000"/>
            <a:ext cx="9439013" cy="14638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pl-PL" noProof="0" dirty="0"/>
              <a:t>Tytuł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2255573" y="2006621"/>
            <a:ext cx="9439011" cy="40195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pl-PL" noProof="0" dirty="0"/>
              <a:t>Pierwszy poziom tekstu</a:t>
            </a:r>
          </a:p>
          <a:p>
            <a:pPr lvl="1"/>
            <a:r>
              <a:rPr lang="pl-PL" noProof="0" dirty="0"/>
              <a:t>Drugi poziom tekstu</a:t>
            </a:r>
          </a:p>
          <a:p>
            <a:pPr lvl="2"/>
            <a:r>
              <a:rPr lang="pl-PL" noProof="0" dirty="0"/>
              <a:t>Trzeci poziom tekstu</a:t>
            </a:r>
          </a:p>
          <a:p>
            <a:pPr lvl="3"/>
            <a:r>
              <a:rPr lang="pl-PL" noProof="0" dirty="0"/>
              <a:t>Czwarty poziom tekstu</a:t>
            </a:r>
          </a:p>
          <a:p>
            <a:pPr lvl="4"/>
            <a:r>
              <a:rPr lang="pl-PL" noProof="0" dirty="0"/>
              <a:t>Piąty poziom tekstu</a:t>
            </a:r>
          </a:p>
        </p:txBody>
      </p:sp>
      <p:pic>
        <p:nvPicPr>
          <p:cNvPr id="15" name="Picture 2" descr="\\casnas100\dfs_root\Commun\Commun160\DCG-CM\Marque\Logos\Frise marques et Picto groupe\Frise Groupe\Logo groupe CA\E_Bloc_marque\E_CAGroup_BlocMarqueHorizontal-EN\3-BUREAUTIQUE\20151738E_CAGroup_BMH-EN_RVB.png"/>
          <p:cNvPicPr>
            <a:picLocks noChangeAspect="1" noChangeArrowheads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36427" y="6404129"/>
            <a:ext cx="1970475" cy="244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924311" y="6480335"/>
            <a:ext cx="659188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733" baseline="0">
                <a:solidFill>
                  <a:schemeClr val="accent3"/>
                </a:solidFill>
              </a:defRPr>
            </a:lvl1pPr>
          </a:lstStyle>
          <a:p>
            <a:fld id="{DDD8063C-2999-46A9-A053-675EC765BA9F}" type="datetime1">
              <a:rPr lang="en-US" smtClean="0"/>
              <a:t>3/9/2026</a:t>
            </a:fld>
            <a:endParaRPr lang="fr-FR" dirty="0"/>
          </a:p>
        </p:txBody>
      </p:sp>
      <p:sp>
        <p:nvSpPr>
          <p:cNvPr id="23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 cap="all" baseline="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24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2040938" y="6480335"/>
            <a:ext cx="391321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733" b="0" cap="none" baseline="0">
                <a:solidFill>
                  <a:schemeClr val="accent3"/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›</a:t>
            </a:fld>
            <a:endParaRPr lang="fr-FR" dirty="0"/>
          </a:p>
        </p:txBody>
      </p:sp>
      <p:sp>
        <p:nvSpPr>
          <p:cNvPr id="25" name="ZoneTexte 8"/>
          <p:cNvSpPr txBox="1"/>
          <p:nvPr/>
        </p:nvSpPr>
        <p:spPr bwMode="gray">
          <a:xfrm>
            <a:off x="1624093" y="6480335"/>
            <a:ext cx="192021" cy="1127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733" dirty="0">
                <a:solidFill>
                  <a:schemeClr val="accent3"/>
                </a:solidFill>
              </a:rPr>
              <a:t>l</a:t>
            </a:r>
          </a:p>
        </p:txBody>
      </p:sp>
      <p:pic>
        <p:nvPicPr>
          <p:cNvPr id="26" name="Image 9" descr="logo_gauche.pdf"/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33561" y="6404130"/>
            <a:ext cx="288000" cy="199111"/>
          </a:xfrm>
          <a:prstGeom prst="rect">
            <a:avLst/>
          </a:prstGeom>
        </p:spPr>
      </p:pic>
      <p:sp>
        <p:nvSpPr>
          <p:cNvPr id="29" name="Forme libre 32"/>
          <p:cNvSpPr/>
          <p:nvPr/>
        </p:nvSpPr>
        <p:spPr>
          <a:xfrm>
            <a:off x="340220" y="32502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1960 h 4392000"/>
              <a:gd name="connsiteX5" fmla="*/ 8844375 w 8892000"/>
              <a:gd name="connsiteY5" fmla="*/ 21960 h 4392000"/>
              <a:gd name="connsiteX6" fmla="*/ 8600970 w 8892000"/>
              <a:gd name="connsiteY6" fmla="*/ 21960 h 4392000"/>
              <a:gd name="connsiteX7" fmla="*/ 5824949 w 8892000"/>
              <a:gd name="connsiteY7" fmla="*/ 21960 h 4392000"/>
              <a:gd name="connsiteX8" fmla="*/ 5280375 w 8892000"/>
              <a:gd name="connsiteY8" fmla="*/ 21960 h 4392000"/>
              <a:gd name="connsiteX9" fmla="*/ 284701 w 8892000"/>
              <a:gd name="connsiteY9" fmla="*/ 21960 h 4392000"/>
              <a:gd name="connsiteX10" fmla="*/ 41295 w 8892000"/>
              <a:gd name="connsiteY10" fmla="*/ 265365 h 4392000"/>
              <a:gd name="connsiteX11" fmla="*/ 41295 w 8892000"/>
              <a:gd name="connsiteY11" fmla="*/ 4126635 h 4392000"/>
              <a:gd name="connsiteX12" fmla="*/ 284701 w 8892000"/>
              <a:gd name="connsiteY12" fmla="*/ 4370040 h 4392000"/>
              <a:gd name="connsiteX13" fmla="*/ 5280375 w 8892000"/>
              <a:gd name="connsiteY13" fmla="*/ 4370040 h 4392000"/>
              <a:gd name="connsiteX14" fmla="*/ 5824949 w 8892000"/>
              <a:gd name="connsiteY14" fmla="*/ 4370040 h 4392000"/>
              <a:gd name="connsiteX15" fmla="*/ 5824949 w 8892000"/>
              <a:gd name="connsiteY15" fmla="*/ 4370760 h 4392000"/>
              <a:gd name="connsiteX16" fmla="*/ 8892000 w 8892000"/>
              <a:gd name="connsiteY16" fmla="*/ 4370760 h 4392000"/>
              <a:gd name="connsiteX17" fmla="*/ 8892000 w 8892000"/>
              <a:gd name="connsiteY17" fmla="*/ 4392000 h 4392000"/>
              <a:gd name="connsiteX18" fmla="*/ 8646136 w 8892000"/>
              <a:gd name="connsiteY18" fmla="*/ 4392000 h 4392000"/>
              <a:gd name="connsiteX19" fmla="*/ 5292000 w 8892000"/>
              <a:gd name="connsiteY19" fmla="*/ 4392000 h 4392000"/>
              <a:gd name="connsiteX20" fmla="*/ 245864 w 8892000"/>
              <a:gd name="connsiteY20" fmla="*/ 4392000 h 4392000"/>
              <a:gd name="connsiteX21" fmla="*/ 0 w 8892000"/>
              <a:gd name="connsiteY21" fmla="*/ 4146136 h 4392000"/>
              <a:gd name="connsiteX22" fmla="*/ 0 w 8892000"/>
              <a:gd name="connsiteY22" fmla="*/ 245864 h 4392000"/>
              <a:gd name="connsiteX23" fmla="*/ 245864 w 8892000"/>
              <a:gd name="connsiteY23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1960"/>
                </a:lnTo>
                <a:lnTo>
                  <a:pt x="8844375" y="21960"/>
                </a:lnTo>
                <a:lnTo>
                  <a:pt x="8600970" y="21960"/>
                </a:lnTo>
                <a:lnTo>
                  <a:pt x="5824949" y="21960"/>
                </a:lnTo>
                <a:lnTo>
                  <a:pt x="5280375" y="21960"/>
                </a:lnTo>
                <a:lnTo>
                  <a:pt x="284701" y="21960"/>
                </a:lnTo>
                <a:cubicBezTo>
                  <a:pt x="150271" y="21960"/>
                  <a:pt x="41295" y="130936"/>
                  <a:pt x="41295" y="265365"/>
                </a:cubicBezTo>
                <a:lnTo>
                  <a:pt x="41295" y="4126635"/>
                </a:lnTo>
                <a:cubicBezTo>
                  <a:pt x="41295" y="4261064"/>
                  <a:pt x="150271" y="4370040"/>
                  <a:pt x="284701" y="4370040"/>
                </a:cubicBezTo>
                <a:lnTo>
                  <a:pt x="5280375" y="4370040"/>
                </a:lnTo>
                <a:lnTo>
                  <a:pt x="5824949" y="4370040"/>
                </a:lnTo>
                <a:lnTo>
                  <a:pt x="5824949" y="4370760"/>
                </a:lnTo>
                <a:lnTo>
                  <a:pt x="8892000" y="4370760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sp>
        <p:nvSpPr>
          <p:cNvPr id="12" name="ZoneTexte 8"/>
          <p:cNvSpPr txBox="1"/>
          <p:nvPr userDrawn="1"/>
        </p:nvSpPr>
        <p:spPr bwMode="gray">
          <a:xfrm>
            <a:off x="1624093" y="6480335"/>
            <a:ext cx="192021" cy="1127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733" dirty="0">
                <a:solidFill>
                  <a:schemeClr val="accent3"/>
                </a:solidFill>
              </a:rPr>
              <a:t>l</a:t>
            </a:r>
          </a:p>
        </p:txBody>
      </p:sp>
      <p:pic>
        <p:nvPicPr>
          <p:cNvPr id="13" name="Image 9" descr="logo_gauche.pdf"/>
          <p:cNvPicPr>
            <a:picLocks noChangeAspect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33561" y="6404130"/>
            <a:ext cx="288000" cy="199111"/>
          </a:xfrm>
          <a:prstGeom prst="rect">
            <a:avLst/>
          </a:prstGeom>
        </p:spPr>
      </p:pic>
      <p:sp>
        <p:nvSpPr>
          <p:cNvPr id="14" name="Forme libre 32"/>
          <p:cNvSpPr/>
          <p:nvPr userDrawn="1"/>
        </p:nvSpPr>
        <p:spPr>
          <a:xfrm>
            <a:off x="340220" y="32502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1960 h 4392000"/>
              <a:gd name="connsiteX5" fmla="*/ 8844375 w 8892000"/>
              <a:gd name="connsiteY5" fmla="*/ 21960 h 4392000"/>
              <a:gd name="connsiteX6" fmla="*/ 8600970 w 8892000"/>
              <a:gd name="connsiteY6" fmla="*/ 21960 h 4392000"/>
              <a:gd name="connsiteX7" fmla="*/ 5824949 w 8892000"/>
              <a:gd name="connsiteY7" fmla="*/ 21960 h 4392000"/>
              <a:gd name="connsiteX8" fmla="*/ 5280375 w 8892000"/>
              <a:gd name="connsiteY8" fmla="*/ 21960 h 4392000"/>
              <a:gd name="connsiteX9" fmla="*/ 284701 w 8892000"/>
              <a:gd name="connsiteY9" fmla="*/ 21960 h 4392000"/>
              <a:gd name="connsiteX10" fmla="*/ 41295 w 8892000"/>
              <a:gd name="connsiteY10" fmla="*/ 265365 h 4392000"/>
              <a:gd name="connsiteX11" fmla="*/ 41295 w 8892000"/>
              <a:gd name="connsiteY11" fmla="*/ 4126635 h 4392000"/>
              <a:gd name="connsiteX12" fmla="*/ 284701 w 8892000"/>
              <a:gd name="connsiteY12" fmla="*/ 4370040 h 4392000"/>
              <a:gd name="connsiteX13" fmla="*/ 5280375 w 8892000"/>
              <a:gd name="connsiteY13" fmla="*/ 4370040 h 4392000"/>
              <a:gd name="connsiteX14" fmla="*/ 5824949 w 8892000"/>
              <a:gd name="connsiteY14" fmla="*/ 4370040 h 4392000"/>
              <a:gd name="connsiteX15" fmla="*/ 5824949 w 8892000"/>
              <a:gd name="connsiteY15" fmla="*/ 4370760 h 4392000"/>
              <a:gd name="connsiteX16" fmla="*/ 8892000 w 8892000"/>
              <a:gd name="connsiteY16" fmla="*/ 4370760 h 4392000"/>
              <a:gd name="connsiteX17" fmla="*/ 8892000 w 8892000"/>
              <a:gd name="connsiteY17" fmla="*/ 4392000 h 4392000"/>
              <a:gd name="connsiteX18" fmla="*/ 8646136 w 8892000"/>
              <a:gd name="connsiteY18" fmla="*/ 4392000 h 4392000"/>
              <a:gd name="connsiteX19" fmla="*/ 5292000 w 8892000"/>
              <a:gd name="connsiteY19" fmla="*/ 4392000 h 4392000"/>
              <a:gd name="connsiteX20" fmla="*/ 245864 w 8892000"/>
              <a:gd name="connsiteY20" fmla="*/ 4392000 h 4392000"/>
              <a:gd name="connsiteX21" fmla="*/ 0 w 8892000"/>
              <a:gd name="connsiteY21" fmla="*/ 4146136 h 4392000"/>
              <a:gd name="connsiteX22" fmla="*/ 0 w 8892000"/>
              <a:gd name="connsiteY22" fmla="*/ 245864 h 4392000"/>
              <a:gd name="connsiteX23" fmla="*/ 245864 w 8892000"/>
              <a:gd name="connsiteY23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1960"/>
                </a:lnTo>
                <a:lnTo>
                  <a:pt x="8844375" y="21960"/>
                </a:lnTo>
                <a:lnTo>
                  <a:pt x="8600970" y="21960"/>
                </a:lnTo>
                <a:lnTo>
                  <a:pt x="5824949" y="21960"/>
                </a:lnTo>
                <a:lnTo>
                  <a:pt x="5280375" y="21960"/>
                </a:lnTo>
                <a:lnTo>
                  <a:pt x="284701" y="21960"/>
                </a:lnTo>
                <a:cubicBezTo>
                  <a:pt x="150271" y="21960"/>
                  <a:pt x="41295" y="130936"/>
                  <a:pt x="41295" y="265365"/>
                </a:cubicBezTo>
                <a:lnTo>
                  <a:pt x="41295" y="4126635"/>
                </a:lnTo>
                <a:cubicBezTo>
                  <a:pt x="41295" y="4261064"/>
                  <a:pt x="150271" y="4370040"/>
                  <a:pt x="284701" y="4370040"/>
                </a:cubicBezTo>
                <a:lnTo>
                  <a:pt x="5280375" y="4370040"/>
                </a:lnTo>
                <a:lnTo>
                  <a:pt x="5824949" y="4370040"/>
                </a:lnTo>
                <a:lnTo>
                  <a:pt x="5824949" y="4370760"/>
                </a:lnTo>
                <a:lnTo>
                  <a:pt x="8892000" y="4370760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</p:spTree>
    <p:extLst>
      <p:ext uri="{BB962C8B-B14F-4D97-AF65-F5344CB8AC3E}">
        <p14:creationId xmlns:p14="http://schemas.microsoft.com/office/powerpoint/2010/main" val="29680528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4" r:id="rId1"/>
    <p:sldLayoutId id="2147483905" r:id="rId2"/>
    <p:sldLayoutId id="2147483906" r:id="rId3"/>
    <p:sldLayoutId id="2147483907" r:id="rId4"/>
    <p:sldLayoutId id="2147483908" r:id="rId5"/>
    <p:sldLayoutId id="2147483909" r:id="rId6"/>
    <p:sldLayoutId id="2147483910" r:id="rId7"/>
    <p:sldLayoutId id="2147483911" r:id="rId8"/>
    <p:sldLayoutId id="2147483912" r:id="rId9"/>
    <p:sldLayoutId id="2147483913" r:id="rId10"/>
    <p:sldLayoutId id="2147483914" r:id="rId11"/>
    <p:sldLayoutId id="2147483915" r:id="rId12"/>
    <p:sldLayoutId id="2147483916" r:id="rId13"/>
    <p:sldLayoutId id="2147483917" r:id="rId14"/>
    <p:sldLayoutId id="2147483918" r:id="rId15"/>
  </p:sldLayoutIdLst>
  <p:hf hdr="0" ftr="0"/>
  <p:txStyles>
    <p:titleStyle>
      <a:lvl1pPr algn="l" defTabSz="914341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3733" b="1" kern="1200" cap="none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59991" indent="-359991" algn="l" defTabSz="914341" rtl="0" eaLnBrk="1" latinLnBrk="0" hangingPunct="1">
        <a:lnSpc>
          <a:spcPct val="82000"/>
        </a:lnSpc>
        <a:spcBef>
          <a:spcPts val="0"/>
        </a:spcBef>
        <a:spcAft>
          <a:spcPts val="1600"/>
        </a:spcAft>
        <a:buSzPct val="80000"/>
        <a:buFont typeface="Wingdings" pitchFamily="2" charset="2"/>
        <a:buChar char="n"/>
        <a:defRPr sz="1867" b="1" kern="1200" cap="none" baseline="0">
          <a:solidFill>
            <a:schemeClr val="accent1"/>
          </a:solidFill>
          <a:latin typeface="+mn-lt"/>
          <a:ea typeface="+mn-ea"/>
          <a:cs typeface="+mn-cs"/>
        </a:defRPr>
      </a:lvl1pPr>
      <a:lvl2pPr marL="815980" indent="-239994" algn="l" defTabSz="914341" rtl="0" eaLnBrk="1" latinLnBrk="0" hangingPunct="1">
        <a:lnSpc>
          <a:spcPct val="82000"/>
        </a:lnSpc>
        <a:spcBef>
          <a:spcPts val="0"/>
        </a:spcBef>
        <a:spcAft>
          <a:spcPts val="1600"/>
        </a:spcAft>
        <a:buSzPct val="100000"/>
        <a:buFont typeface="Wingdings" pitchFamily="2" charset="2"/>
        <a:buChar char="§"/>
        <a:defRPr sz="1867" kern="1200" cap="none">
          <a:solidFill>
            <a:schemeClr val="tx1"/>
          </a:solidFill>
          <a:latin typeface="+mn-lt"/>
          <a:ea typeface="+mn-ea"/>
          <a:cs typeface="+mn-cs"/>
        </a:defRPr>
      </a:lvl2pPr>
      <a:lvl3pPr marL="1391965" indent="-239994" algn="l" defTabSz="914341" rtl="0" eaLnBrk="1" latinLnBrk="0" hangingPunct="1">
        <a:lnSpc>
          <a:spcPct val="82000"/>
        </a:lnSpc>
        <a:spcBef>
          <a:spcPts val="0"/>
        </a:spcBef>
        <a:spcAft>
          <a:spcPts val="1600"/>
        </a:spcAft>
        <a:buClr>
          <a:schemeClr val="accent3"/>
        </a:buClr>
        <a:buSzPct val="100000"/>
        <a:buFont typeface="Wingdings" pitchFamily="2" charset="2"/>
        <a:buChar char="§"/>
        <a:defRPr sz="1867" kern="1200" cap="none">
          <a:solidFill>
            <a:schemeClr val="accent3"/>
          </a:solidFill>
          <a:latin typeface="+mn-lt"/>
          <a:ea typeface="+mn-ea"/>
          <a:cs typeface="+mn-cs"/>
        </a:defRPr>
      </a:lvl3pPr>
      <a:lvl4pPr marL="1967951" indent="-239994" algn="l" defTabSz="914341" rtl="0" eaLnBrk="1" latinLnBrk="0" hangingPunct="1">
        <a:lnSpc>
          <a:spcPct val="82000"/>
        </a:lnSpc>
        <a:spcBef>
          <a:spcPts val="0"/>
        </a:spcBef>
        <a:spcAft>
          <a:spcPts val="1600"/>
        </a:spcAft>
        <a:buClr>
          <a:schemeClr val="accent1"/>
        </a:buClr>
        <a:buSzPct val="100000"/>
        <a:buFont typeface="Wingdings" pitchFamily="2" charset="2"/>
        <a:buChar char="§"/>
        <a:defRPr sz="1867" b="0" kern="1200" cap="none" baseline="0">
          <a:solidFill>
            <a:schemeClr val="tx1"/>
          </a:solidFill>
          <a:latin typeface="+mn-lt"/>
          <a:ea typeface="+mn-ea"/>
          <a:cs typeface="+mn-cs"/>
        </a:defRPr>
      </a:lvl4pPr>
      <a:lvl5pPr marL="2543936" indent="-239994" algn="l" defTabSz="914341" rtl="0" eaLnBrk="1" latinLnBrk="0" hangingPunct="1">
        <a:lnSpc>
          <a:spcPct val="95000"/>
        </a:lnSpc>
        <a:spcBef>
          <a:spcPts val="0"/>
        </a:spcBef>
        <a:spcAft>
          <a:spcPts val="1600"/>
        </a:spcAft>
        <a:buClr>
          <a:schemeClr val="accent1"/>
        </a:buClr>
        <a:buSzPct val="100000"/>
        <a:buFont typeface="Wingdings" pitchFamily="2" charset="2"/>
        <a:buChar char="§"/>
        <a:defRPr sz="1867" kern="1200" cap="none">
          <a:solidFill>
            <a:schemeClr val="tx1"/>
          </a:solidFill>
          <a:latin typeface="+mn-lt"/>
          <a:ea typeface="+mn-ea"/>
          <a:cs typeface="+mn-cs"/>
        </a:defRPr>
      </a:lvl5pPr>
      <a:lvl6pPr marL="2514436" indent="-228585" algn="l" defTabSz="91434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7" indent="-228585" algn="l" defTabSz="91434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77" indent="-228585" algn="l" defTabSz="91434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47" indent="-228585" algn="l" defTabSz="91434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1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1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1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2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2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2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3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4708">
          <p15:clr>
            <a:srgbClr val="F26B43"/>
          </p15:clr>
        </p15:guide>
        <p15:guide id="3" pos="1837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2255574" y="381000"/>
            <a:ext cx="9439013" cy="14638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pl-PL" noProof="0" dirty="0"/>
              <a:t>Tytuł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2255573" y="2006621"/>
            <a:ext cx="9439011" cy="40195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pl-PL" noProof="0" dirty="0"/>
              <a:t>Pierwszy poziom tekstu</a:t>
            </a:r>
          </a:p>
          <a:p>
            <a:pPr lvl="1"/>
            <a:r>
              <a:rPr lang="pl-PL" noProof="0" dirty="0"/>
              <a:t>Drugi poziom tekstu</a:t>
            </a:r>
          </a:p>
          <a:p>
            <a:pPr lvl="2"/>
            <a:r>
              <a:rPr lang="pl-PL" noProof="0" dirty="0"/>
              <a:t>Trzeci poziom tekstu</a:t>
            </a:r>
          </a:p>
          <a:p>
            <a:pPr lvl="3"/>
            <a:r>
              <a:rPr lang="pl-PL" noProof="0" dirty="0"/>
              <a:t>Czwarty poziom tekstu</a:t>
            </a:r>
          </a:p>
          <a:p>
            <a:pPr lvl="4"/>
            <a:r>
              <a:rPr lang="pl-PL" noProof="0" dirty="0"/>
              <a:t>Piąty poziom tekstu</a:t>
            </a:r>
          </a:p>
        </p:txBody>
      </p:sp>
      <p:pic>
        <p:nvPicPr>
          <p:cNvPr id="15" name="Picture 2" descr="\\casnas100\dfs_root\Commun\Commun160\DCG-CM\Marque\Logos\Frise marques et Picto groupe\Frise Groupe\Logo groupe CA\E_Bloc_marque\E_CAGroup_BlocMarqueHorizontal-EN\3-BUREAUTIQUE\20151738E_CAGroup_BMH-EN_RVB.png"/>
          <p:cNvPicPr>
            <a:picLocks noChangeAspect="1" noChangeArrowheads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36427" y="6404129"/>
            <a:ext cx="1970475" cy="244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924311" y="6480335"/>
            <a:ext cx="659188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733" baseline="0">
                <a:solidFill>
                  <a:schemeClr val="accent3"/>
                </a:solidFill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  <p:sp>
        <p:nvSpPr>
          <p:cNvPr id="23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 cap="all" baseline="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24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2040938" y="6480335"/>
            <a:ext cx="391321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733" b="0" cap="none" baseline="0">
                <a:solidFill>
                  <a:schemeClr val="accent3"/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25" name="ZoneTexte 8"/>
          <p:cNvSpPr txBox="1"/>
          <p:nvPr/>
        </p:nvSpPr>
        <p:spPr bwMode="gray">
          <a:xfrm>
            <a:off x="1624093" y="6480335"/>
            <a:ext cx="192021" cy="1127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733">
                <a:solidFill>
                  <a:schemeClr val="accent3"/>
                </a:solidFill>
              </a:rPr>
              <a:t>l</a:t>
            </a:r>
          </a:p>
        </p:txBody>
      </p:sp>
      <p:pic>
        <p:nvPicPr>
          <p:cNvPr id="26" name="Image 9" descr="logo_gauche.pdf"/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33561" y="6404130"/>
            <a:ext cx="288000" cy="199111"/>
          </a:xfrm>
          <a:prstGeom prst="rect">
            <a:avLst/>
          </a:prstGeom>
        </p:spPr>
      </p:pic>
      <p:sp>
        <p:nvSpPr>
          <p:cNvPr id="29" name="Forme libre 32"/>
          <p:cNvSpPr/>
          <p:nvPr/>
        </p:nvSpPr>
        <p:spPr>
          <a:xfrm>
            <a:off x="340220" y="32502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1960 h 4392000"/>
              <a:gd name="connsiteX5" fmla="*/ 8844375 w 8892000"/>
              <a:gd name="connsiteY5" fmla="*/ 21960 h 4392000"/>
              <a:gd name="connsiteX6" fmla="*/ 8600970 w 8892000"/>
              <a:gd name="connsiteY6" fmla="*/ 21960 h 4392000"/>
              <a:gd name="connsiteX7" fmla="*/ 5824949 w 8892000"/>
              <a:gd name="connsiteY7" fmla="*/ 21960 h 4392000"/>
              <a:gd name="connsiteX8" fmla="*/ 5280375 w 8892000"/>
              <a:gd name="connsiteY8" fmla="*/ 21960 h 4392000"/>
              <a:gd name="connsiteX9" fmla="*/ 284701 w 8892000"/>
              <a:gd name="connsiteY9" fmla="*/ 21960 h 4392000"/>
              <a:gd name="connsiteX10" fmla="*/ 41295 w 8892000"/>
              <a:gd name="connsiteY10" fmla="*/ 265365 h 4392000"/>
              <a:gd name="connsiteX11" fmla="*/ 41295 w 8892000"/>
              <a:gd name="connsiteY11" fmla="*/ 4126635 h 4392000"/>
              <a:gd name="connsiteX12" fmla="*/ 284701 w 8892000"/>
              <a:gd name="connsiteY12" fmla="*/ 4370040 h 4392000"/>
              <a:gd name="connsiteX13" fmla="*/ 5280375 w 8892000"/>
              <a:gd name="connsiteY13" fmla="*/ 4370040 h 4392000"/>
              <a:gd name="connsiteX14" fmla="*/ 5824949 w 8892000"/>
              <a:gd name="connsiteY14" fmla="*/ 4370040 h 4392000"/>
              <a:gd name="connsiteX15" fmla="*/ 5824949 w 8892000"/>
              <a:gd name="connsiteY15" fmla="*/ 4370760 h 4392000"/>
              <a:gd name="connsiteX16" fmla="*/ 8892000 w 8892000"/>
              <a:gd name="connsiteY16" fmla="*/ 4370760 h 4392000"/>
              <a:gd name="connsiteX17" fmla="*/ 8892000 w 8892000"/>
              <a:gd name="connsiteY17" fmla="*/ 4392000 h 4392000"/>
              <a:gd name="connsiteX18" fmla="*/ 8646136 w 8892000"/>
              <a:gd name="connsiteY18" fmla="*/ 4392000 h 4392000"/>
              <a:gd name="connsiteX19" fmla="*/ 5292000 w 8892000"/>
              <a:gd name="connsiteY19" fmla="*/ 4392000 h 4392000"/>
              <a:gd name="connsiteX20" fmla="*/ 245864 w 8892000"/>
              <a:gd name="connsiteY20" fmla="*/ 4392000 h 4392000"/>
              <a:gd name="connsiteX21" fmla="*/ 0 w 8892000"/>
              <a:gd name="connsiteY21" fmla="*/ 4146136 h 4392000"/>
              <a:gd name="connsiteX22" fmla="*/ 0 w 8892000"/>
              <a:gd name="connsiteY22" fmla="*/ 245864 h 4392000"/>
              <a:gd name="connsiteX23" fmla="*/ 245864 w 8892000"/>
              <a:gd name="connsiteY23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1960"/>
                </a:lnTo>
                <a:lnTo>
                  <a:pt x="8844375" y="21960"/>
                </a:lnTo>
                <a:lnTo>
                  <a:pt x="8600970" y="21960"/>
                </a:lnTo>
                <a:lnTo>
                  <a:pt x="5824949" y="21960"/>
                </a:lnTo>
                <a:lnTo>
                  <a:pt x="5280375" y="21960"/>
                </a:lnTo>
                <a:lnTo>
                  <a:pt x="284701" y="21960"/>
                </a:lnTo>
                <a:cubicBezTo>
                  <a:pt x="150271" y="21960"/>
                  <a:pt x="41295" y="130936"/>
                  <a:pt x="41295" y="265365"/>
                </a:cubicBezTo>
                <a:lnTo>
                  <a:pt x="41295" y="4126635"/>
                </a:lnTo>
                <a:cubicBezTo>
                  <a:pt x="41295" y="4261064"/>
                  <a:pt x="150271" y="4370040"/>
                  <a:pt x="284701" y="4370040"/>
                </a:cubicBezTo>
                <a:lnTo>
                  <a:pt x="5280375" y="4370040"/>
                </a:lnTo>
                <a:lnTo>
                  <a:pt x="5824949" y="4370040"/>
                </a:lnTo>
                <a:lnTo>
                  <a:pt x="5824949" y="4370760"/>
                </a:lnTo>
                <a:lnTo>
                  <a:pt x="8892000" y="4370760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2" name="ZoneTexte 8"/>
          <p:cNvSpPr txBox="1"/>
          <p:nvPr userDrawn="1"/>
        </p:nvSpPr>
        <p:spPr bwMode="gray">
          <a:xfrm>
            <a:off x="1624093" y="6480335"/>
            <a:ext cx="192021" cy="1127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733">
                <a:solidFill>
                  <a:schemeClr val="accent3"/>
                </a:solidFill>
              </a:rPr>
              <a:t>l</a:t>
            </a:r>
          </a:p>
        </p:txBody>
      </p:sp>
      <p:pic>
        <p:nvPicPr>
          <p:cNvPr id="13" name="Image 9" descr="logo_gauche.pdf"/>
          <p:cNvPicPr>
            <a:picLocks noChangeAspect="1"/>
          </p:cNvPicPr>
          <p:nvPr userDrawn="1"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33561" y="6404130"/>
            <a:ext cx="288000" cy="199111"/>
          </a:xfrm>
          <a:prstGeom prst="rect">
            <a:avLst/>
          </a:prstGeom>
        </p:spPr>
      </p:pic>
      <p:sp>
        <p:nvSpPr>
          <p:cNvPr id="14" name="Forme libre 32"/>
          <p:cNvSpPr/>
          <p:nvPr userDrawn="1"/>
        </p:nvSpPr>
        <p:spPr>
          <a:xfrm>
            <a:off x="340220" y="32502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1960 h 4392000"/>
              <a:gd name="connsiteX5" fmla="*/ 8844375 w 8892000"/>
              <a:gd name="connsiteY5" fmla="*/ 21960 h 4392000"/>
              <a:gd name="connsiteX6" fmla="*/ 8600970 w 8892000"/>
              <a:gd name="connsiteY6" fmla="*/ 21960 h 4392000"/>
              <a:gd name="connsiteX7" fmla="*/ 5824949 w 8892000"/>
              <a:gd name="connsiteY7" fmla="*/ 21960 h 4392000"/>
              <a:gd name="connsiteX8" fmla="*/ 5280375 w 8892000"/>
              <a:gd name="connsiteY8" fmla="*/ 21960 h 4392000"/>
              <a:gd name="connsiteX9" fmla="*/ 284701 w 8892000"/>
              <a:gd name="connsiteY9" fmla="*/ 21960 h 4392000"/>
              <a:gd name="connsiteX10" fmla="*/ 41295 w 8892000"/>
              <a:gd name="connsiteY10" fmla="*/ 265365 h 4392000"/>
              <a:gd name="connsiteX11" fmla="*/ 41295 w 8892000"/>
              <a:gd name="connsiteY11" fmla="*/ 4126635 h 4392000"/>
              <a:gd name="connsiteX12" fmla="*/ 284701 w 8892000"/>
              <a:gd name="connsiteY12" fmla="*/ 4370040 h 4392000"/>
              <a:gd name="connsiteX13" fmla="*/ 5280375 w 8892000"/>
              <a:gd name="connsiteY13" fmla="*/ 4370040 h 4392000"/>
              <a:gd name="connsiteX14" fmla="*/ 5824949 w 8892000"/>
              <a:gd name="connsiteY14" fmla="*/ 4370040 h 4392000"/>
              <a:gd name="connsiteX15" fmla="*/ 5824949 w 8892000"/>
              <a:gd name="connsiteY15" fmla="*/ 4370760 h 4392000"/>
              <a:gd name="connsiteX16" fmla="*/ 8892000 w 8892000"/>
              <a:gd name="connsiteY16" fmla="*/ 4370760 h 4392000"/>
              <a:gd name="connsiteX17" fmla="*/ 8892000 w 8892000"/>
              <a:gd name="connsiteY17" fmla="*/ 4392000 h 4392000"/>
              <a:gd name="connsiteX18" fmla="*/ 8646136 w 8892000"/>
              <a:gd name="connsiteY18" fmla="*/ 4392000 h 4392000"/>
              <a:gd name="connsiteX19" fmla="*/ 5292000 w 8892000"/>
              <a:gd name="connsiteY19" fmla="*/ 4392000 h 4392000"/>
              <a:gd name="connsiteX20" fmla="*/ 245864 w 8892000"/>
              <a:gd name="connsiteY20" fmla="*/ 4392000 h 4392000"/>
              <a:gd name="connsiteX21" fmla="*/ 0 w 8892000"/>
              <a:gd name="connsiteY21" fmla="*/ 4146136 h 4392000"/>
              <a:gd name="connsiteX22" fmla="*/ 0 w 8892000"/>
              <a:gd name="connsiteY22" fmla="*/ 245864 h 4392000"/>
              <a:gd name="connsiteX23" fmla="*/ 245864 w 8892000"/>
              <a:gd name="connsiteY23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1960"/>
                </a:lnTo>
                <a:lnTo>
                  <a:pt x="8844375" y="21960"/>
                </a:lnTo>
                <a:lnTo>
                  <a:pt x="8600970" y="21960"/>
                </a:lnTo>
                <a:lnTo>
                  <a:pt x="5824949" y="21960"/>
                </a:lnTo>
                <a:lnTo>
                  <a:pt x="5280375" y="21960"/>
                </a:lnTo>
                <a:lnTo>
                  <a:pt x="284701" y="21960"/>
                </a:lnTo>
                <a:cubicBezTo>
                  <a:pt x="150271" y="21960"/>
                  <a:pt x="41295" y="130936"/>
                  <a:pt x="41295" y="265365"/>
                </a:cubicBezTo>
                <a:lnTo>
                  <a:pt x="41295" y="4126635"/>
                </a:lnTo>
                <a:cubicBezTo>
                  <a:pt x="41295" y="4261064"/>
                  <a:pt x="150271" y="4370040"/>
                  <a:pt x="284701" y="4370040"/>
                </a:cubicBezTo>
                <a:lnTo>
                  <a:pt x="5280375" y="4370040"/>
                </a:lnTo>
                <a:lnTo>
                  <a:pt x="5824949" y="4370040"/>
                </a:lnTo>
                <a:lnTo>
                  <a:pt x="5824949" y="4370760"/>
                </a:lnTo>
                <a:lnTo>
                  <a:pt x="8892000" y="4370760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25137250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1" r:id="rId1"/>
    <p:sldLayoutId id="2147483922" r:id="rId2"/>
    <p:sldLayoutId id="2147483923" r:id="rId3"/>
    <p:sldLayoutId id="2147483924" r:id="rId4"/>
    <p:sldLayoutId id="2147483925" r:id="rId5"/>
    <p:sldLayoutId id="2147483926" r:id="rId6"/>
    <p:sldLayoutId id="2147483927" r:id="rId7"/>
    <p:sldLayoutId id="2147483928" r:id="rId8"/>
    <p:sldLayoutId id="2147483929" r:id="rId9"/>
    <p:sldLayoutId id="2147483930" r:id="rId10"/>
    <p:sldLayoutId id="2147483931" r:id="rId11"/>
    <p:sldLayoutId id="2147483932" r:id="rId12"/>
    <p:sldLayoutId id="2147483933" r:id="rId13"/>
    <p:sldLayoutId id="2147483934" r:id="rId14"/>
    <p:sldLayoutId id="2147483936" r:id="rId15"/>
    <p:sldLayoutId id="2147483937" r:id="rId16"/>
  </p:sldLayoutIdLst>
  <p:hf hdr="0"/>
  <p:txStyles>
    <p:titleStyle>
      <a:lvl1pPr algn="l" defTabSz="914341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3733" b="1" kern="1200" cap="none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59991" indent="-359991" algn="l" defTabSz="914341" rtl="0" eaLnBrk="1" latinLnBrk="0" hangingPunct="1">
        <a:lnSpc>
          <a:spcPct val="82000"/>
        </a:lnSpc>
        <a:spcBef>
          <a:spcPts val="0"/>
        </a:spcBef>
        <a:spcAft>
          <a:spcPts val="1600"/>
        </a:spcAft>
        <a:buSzPct val="80000"/>
        <a:buFont typeface="Wingdings" pitchFamily="2" charset="2"/>
        <a:buChar char="n"/>
        <a:defRPr sz="1867" b="1" kern="1200" cap="none" baseline="0">
          <a:solidFill>
            <a:schemeClr val="accent1"/>
          </a:solidFill>
          <a:latin typeface="+mn-lt"/>
          <a:ea typeface="+mn-ea"/>
          <a:cs typeface="+mn-cs"/>
        </a:defRPr>
      </a:lvl1pPr>
      <a:lvl2pPr marL="815980" indent="-239994" algn="l" defTabSz="914341" rtl="0" eaLnBrk="1" latinLnBrk="0" hangingPunct="1">
        <a:lnSpc>
          <a:spcPct val="82000"/>
        </a:lnSpc>
        <a:spcBef>
          <a:spcPts val="0"/>
        </a:spcBef>
        <a:spcAft>
          <a:spcPts val="1600"/>
        </a:spcAft>
        <a:buSzPct val="100000"/>
        <a:buFont typeface="Wingdings" pitchFamily="2" charset="2"/>
        <a:buChar char="§"/>
        <a:defRPr sz="1867" kern="1200" cap="none">
          <a:solidFill>
            <a:schemeClr val="tx1"/>
          </a:solidFill>
          <a:latin typeface="+mn-lt"/>
          <a:ea typeface="+mn-ea"/>
          <a:cs typeface="+mn-cs"/>
        </a:defRPr>
      </a:lvl2pPr>
      <a:lvl3pPr marL="1391965" indent="-239994" algn="l" defTabSz="914341" rtl="0" eaLnBrk="1" latinLnBrk="0" hangingPunct="1">
        <a:lnSpc>
          <a:spcPct val="82000"/>
        </a:lnSpc>
        <a:spcBef>
          <a:spcPts val="0"/>
        </a:spcBef>
        <a:spcAft>
          <a:spcPts val="1600"/>
        </a:spcAft>
        <a:buClr>
          <a:schemeClr val="accent3"/>
        </a:buClr>
        <a:buSzPct val="100000"/>
        <a:buFont typeface="Wingdings" pitchFamily="2" charset="2"/>
        <a:buChar char="§"/>
        <a:defRPr sz="1867" kern="1200" cap="none">
          <a:solidFill>
            <a:schemeClr val="accent3"/>
          </a:solidFill>
          <a:latin typeface="+mn-lt"/>
          <a:ea typeface="+mn-ea"/>
          <a:cs typeface="+mn-cs"/>
        </a:defRPr>
      </a:lvl3pPr>
      <a:lvl4pPr marL="1967951" indent="-239994" algn="l" defTabSz="914341" rtl="0" eaLnBrk="1" latinLnBrk="0" hangingPunct="1">
        <a:lnSpc>
          <a:spcPct val="82000"/>
        </a:lnSpc>
        <a:spcBef>
          <a:spcPts val="0"/>
        </a:spcBef>
        <a:spcAft>
          <a:spcPts val="1600"/>
        </a:spcAft>
        <a:buClr>
          <a:schemeClr val="accent1"/>
        </a:buClr>
        <a:buSzPct val="100000"/>
        <a:buFont typeface="Wingdings" pitchFamily="2" charset="2"/>
        <a:buChar char="§"/>
        <a:defRPr sz="1867" b="0" kern="1200" cap="none" baseline="0">
          <a:solidFill>
            <a:schemeClr val="tx1"/>
          </a:solidFill>
          <a:latin typeface="+mn-lt"/>
          <a:ea typeface="+mn-ea"/>
          <a:cs typeface="+mn-cs"/>
        </a:defRPr>
      </a:lvl4pPr>
      <a:lvl5pPr marL="2543936" indent="-239994" algn="l" defTabSz="914341" rtl="0" eaLnBrk="1" latinLnBrk="0" hangingPunct="1">
        <a:lnSpc>
          <a:spcPct val="95000"/>
        </a:lnSpc>
        <a:spcBef>
          <a:spcPts val="0"/>
        </a:spcBef>
        <a:spcAft>
          <a:spcPts val="1600"/>
        </a:spcAft>
        <a:buClr>
          <a:schemeClr val="accent1"/>
        </a:buClr>
        <a:buSzPct val="100000"/>
        <a:buFont typeface="Wingdings" pitchFamily="2" charset="2"/>
        <a:buChar char="§"/>
        <a:defRPr sz="1867" kern="1200" cap="none">
          <a:solidFill>
            <a:schemeClr val="tx1"/>
          </a:solidFill>
          <a:latin typeface="+mn-lt"/>
          <a:ea typeface="+mn-ea"/>
          <a:cs typeface="+mn-cs"/>
        </a:defRPr>
      </a:lvl5pPr>
      <a:lvl6pPr marL="2514436" indent="-228585" algn="l" defTabSz="91434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7" indent="-228585" algn="l" defTabSz="91434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77" indent="-228585" algn="l" defTabSz="91434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47" indent="-228585" algn="l" defTabSz="91434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1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1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1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2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2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2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3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4708">
          <p15:clr>
            <a:srgbClr val="F26B43"/>
          </p15:clr>
        </p15:guide>
        <p15:guide id="3" pos="1837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2255574" y="381000"/>
            <a:ext cx="9439013" cy="14638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pl-PL" noProof="0" dirty="0"/>
              <a:t>Tytuł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2255573" y="2006621"/>
            <a:ext cx="9439011" cy="40195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pl-PL" noProof="0" dirty="0"/>
              <a:t>Pierwszy poziom tekstu</a:t>
            </a:r>
          </a:p>
          <a:p>
            <a:pPr lvl="1"/>
            <a:r>
              <a:rPr lang="pl-PL" noProof="0" dirty="0"/>
              <a:t>Drugi poziom tekstu</a:t>
            </a:r>
          </a:p>
          <a:p>
            <a:pPr lvl="2"/>
            <a:r>
              <a:rPr lang="pl-PL" noProof="0" dirty="0"/>
              <a:t>Trzeci poziom tekstu</a:t>
            </a:r>
          </a:p>
          <a:p>
            <a:pPr lvl="3"/>
            <a:r>
              <a:rPr lang="pl-PL" noProof="0" dirty="0"/>
              <a:t>Czwarty poziom tekstu</a:t>
            </a:r>
          </a:p>
          <a:p>
            <a:pPr lvl="4"/>
            <a:r>
              <a:rPr lang="pl-PL" noProof="0" dirty="0"/>
              <a:t>Piąty poziom tekstu</a:t>
            </a:r>
          </a:p>
        </p:txBody>
      </p:sp>
      <p:pic>
        <p:nvPicPr>
          <p:cNvPr id="13" name="Image 9" descr="logo_gauche.pdf"/>
          <p:cNvPicPr>
            <a:picLocks noChangeAspect="1"/>
          </p:cNvPicPr>
          <p:nvPr userDrawn="1"/>
        </p:nvPicPr>
        <p:blipFill>
          <a:blip r:embed="rId1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1616061" y="6488445"/>
            <a:ext cx="288000" cy="199111"/>
          </a:xfrm>
          <a:prstGeom prst="rect">
            <a:avLst/>
          </a:prstGeom>
        </p:spPr>
      </p:pic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5797FB04-C354-0A02-AA3B-9B254CE614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8673" y="6429034"/>
            <a:ext cx="94318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67">
                <a:solidFill>
                  <a:srgbClr val="7E93A5"/>
                </a:solidFill>
              </a:defRPr>
            </a:lvl1pPr>
          </a:lstStyle>
          <a:p>
            <a:fld id="{332DF002-2E43-485C-89F8-8DCEF59D6C4F}" type="slidenum">
              <a:rPr lang="pl-PL" smtClean="0"/>
              <a:pPr/>
              <a:t>‹N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519529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9" r:id="rId1"/>
    <p:sldLayoutId id="2147484000" r:id="rId2"/>
    <p:sldLayoutId id="2147484001" r:id="rId3"/>
    <p:sldLayoutId id="2147484002" r:id="rId4"/>
    <p:sldLayoutId id="2147484003" r:id="rId5"/>
    <p:sldLayoutId id="2147484004" r:id="rId6"/>
    <p:sldLayoutId id="2147484005" r:id="rId7"/>
    <p:sldLayoutId id="2147484006" r:id="rId8"/>
    <p:sldLayoutId id="2147484007" r:id="rId9"/>
    <p:sldLayoutId id="2147484008" r:id="rId10"/>
    <p:sldLayoutId id="2147484009" r:id="rId11"/>
    <p:sldLayoutId id="2147484010" r:id="rId12"/>
    <p:sldLayoutId id="2147484011" r:id="rId13"/>
    <p:sldLayoutId id="2147484012" r:id="rId14"/>
  </p:sldLayoutIdLst>
  <p:hf hdr="0" ftr="0" dt="0"/>
  <p:txStyles>
    <p:titleStyle>
      <a:lvl1pPr algn="l" defTabSz="914341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3733" b="1" kern="1200" cap="none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59991" indent="-359991" algn="l" defTabSz="914341" rtl="0" eaLnBrk="1" latinLnBrk="0" hangingPunct="1">
        <a:lnSpc>
          <a:spcPct val="82000"/>
        </a:lnSpc>
        <a:spcBef>
          <a:spcPts val="0"/>
        </a:spcBef>
        <a:spcAft>
          <a:spcPts val="1600"/>
        </a:spcAft>
        <a:buSzPct val="80000"/>
        <a:buFont typeface="Wingdings" pitchFamily="2" charset="2"/>
        <a:buChar char="n"/>
        <a:defRPr sz="1867" b="1" kern="1200" cap="none" baseline="0">
          <a:solidFill>
            <a:schemeClr val="accent1"/>
          </a:solidFill>
          <a:latin typeface="+mn-lt"/>
          <a:ea typeface="+mn-ea"/>
          <a:cs typeface="+mn-cs"/>
        </a:defRPr>
      </a:lvl1pPr>
      <a:lvl2pPr marL="815980" indent="-239994" algn="l" defTabSz="914341" rtl="0" eaLnBrk="1" latinLnBrk="0" hangingPunct="1">
        <a:lnSpc>
          <a:spcPct val="82000"/>
        </a:lnSpc>
        <a:spcBef>
          <a:spcPts val="0"/>
        </a:spcBef>
        <a:spcAft>
          <a:spcPts val="1600"/>
        </a:spcAft>
        <a:buSzPct val="100000"/>
        <a:buFont typeface="Wingdings" pitchFamily="2" charset="2"/>
        <a:buChar char="§"/>
        <a:defRPr sz="1867" kern="1200" cap="none">
          <a:solidFill>
            <a:schemeClr val="tx1"/>
          </a:solidFill>
          <a:latin typeface="+mn-lt"/>
          <a:ea typeface="+mn-ea"/>
          <a:cs typeface="+mn-cs"/>
        </a:defRPr>
      </a:lvl2pPr>
      <a:lvl3pPr marL="1391965" indent="-239994" algn="l" defTabSz="914341" rtl="0" eaLnBrk="1" latinLnBrk="0" hangingPunct="1">
        <a:lnSpc>
          <a:spcPct val="82000"/>
        </a:lnSpc>
        <a:spcBef>
          <a:spcPts val="0"/>
        </a:spcBef>
        <a:spcAft>
          <a:spcPts val="1600"/>
        </a:spcAft>
        <a:buClr>
          <a:schemeClr val="accent3"/>
        </a:buClr>
        <a:buSzPct val="100000"/>
        <a:buFont typeface="Wingdings" pitchFamily="2" charset="2"/>
        <a:buChar char="§"/>
        <a:defRPr sz="1867" kern="1200" cap="none">
          <a:solidFill>
            <a:schemeClr val="accent3"/>
          </a:solidFill>
          <a:latin typeface="+mn-lt"/>
          <a:ea typeface="+mn-ea"/>
          <a:cs typeface="+mn-cs"/>
        </a:defRPr>
      </a:lvl3pPr>
      <a:lvl4pPr marL="1967951" indent="-239994" algn="l" defTabSz="914341" rtl="0" eaLnBrk="1" latinLnBrk="0" hangingPunct="1">
        <a:lnSpc>
          <a:spcPct val="82000"/>
        </a:lnSpc>
        <a:spcBef>
          <a:spcPts val="0"/>
        </a:spcBef>
        <a:spcAft>
          <a:spcPts val="1600"/>
        </a:spcAft>
        <a:buClr>
          <a:schemeClr val="accent1"/>
        </a:buClr>
        <a:buSzPct val="100000"/>
        <a:buFont typeface="Wingdings" pitchFamily="2" charset="2"/>
        <a:buChar char="§"/>
        <a:defRPr sz="1867" b="0" kern="1200" cap="none" baseline="0">
          <a:solidFill>
            <a:schemeClr val="tx1"/>
          </a:solidFill>
          <a:latin typeface="+mn-lt"/>
          <a:ea typeface="+mn-ea"/>
          <a:cs typeface="+mn-cs"/>
        </a:defRPr>
      </a:lvl4pPr>
      <a:lvl5pPr marL="2543936" indent="-239994" algn="l" defTabSz="914341" rtl="0" eaLnBrk="1" latinLnBrk="0" hangingPunct="1">
        <a:lnSpc>
          <a:spcPct val="95000"/>
        </a:lnSpc>
        <a:spcBef>
          <a:spcPts val="0"/>
        </a:spcBef>
        <a:spcAft>
          <a:spcPts val="1600"/>
        </a:spcAft>
        <a:buClr>
          <a:schemeClr val="accent1"/>
        </a:buClr>
        <a:buSzPct val="100000"/>
        <a:buFont typeface="Wingdings" pitchFamily="2" charset="2"/>
        <a:buChar char="§"/>
        <a:defRPr sz="1867" kern="1200" cap="none">
          <a:solidFill>
            <a:schemeClr val="tx1"/>
          </a:solidFill>
          <a:latin typeface="+mn-lt"/>
          <a:ea typeface="+mn-ea"/>
          <a:cs typeface="+mn-cs"/>
        </a:defRPr>
      </a:lvl5pPr>
      <a:lvl6pPr marL="2514436" indent="-228585" algn="l" defTabSz="91434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7" indent="-228585" algn="l" defTabSz="91434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77" indent="-228585" algn="l" defTabSz="91434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47" indent="-228585" algn="l" defTabSz="91434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1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1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1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2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2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2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3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4708">
          <p15:clr>
            <a:srgbClr val="F26B43"/>
          </p15:clr>
        </p15:guide>
        <p15:guide id="3" pos="1837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BF798E53-107F-468D-A86A-B9E27C8FBA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999" y="594000"/>
            <a:ext cx="10800000" cy="900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3116353-A2DB-400D-836D-10B770C82C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999" y="2638800"/>
            <a:ext cx="10800000" cy="3060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FDD59078-F0EA-4B2B-B92A-CB1D0AA4F8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38238" y="6384707"/>
            <a:ext cx="828017" cy="25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1000" b="1">
                <a:solidFill>
                  <a:schemeClr val="bg2"/>
                </a:solidFill>
              </a:defRPr>
            </a:lvl1pPr>
          </a:lstStyle>
          <a:p>
            <a:fld id="{DC00C446-2BD5-4E33-87A6-359237703AFB}" type="datetime1">
              <a:rPr lang="fr-FR" smtClean="0"/>
              <a:t>09/03/2026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6B74129-F7BE-4703-924F-ACEA71B2544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52612" y="6384707"/>
            <a:ext cx="4320000" cy="25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1000" b="1" cap="all" baseline="0">
                <a:solidFill>
                  <a:schemeClr val="accent1"/>
                </a:solidFill>
              </a:defRPr>
            </a:lvl1pPr>
          </a:lstStyle>
          <a:p>
            <a:r>
              <a:rPr lang="fr-FR" dirty="0"/>
              <a:t>-  Les banques de proximité à l’international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A1B493F-9EAA-4161-9132-F480E263F1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5996" y="6384707"/>
            <a:ext cx="540000" cy="25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1000" b="1">
                <a:solidFill>
                  <a:schemeClr val="bg2"/>
                </a:solidFill>
              </a:defRPr>
            </a:lvl1pPr>
          </a:lstStyle>
          <a:p>
            <a:fld id="{975A587B-5814-4D9B-9598-FE9CB954CB01}" type="slidenum">
              <a:rPr lang="fr-FR" smtClean="0"/>
              <a:pPr/>
              <a:t>‹N›</a:t>
            </a:fld>
            <a:endParaRPr lang="fr-FR" dirty="0"/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6CAF1617-1922-47D2-9D0D-C966F5A1F5ED}"/>
              </a:ext>
            </a:extLst>
          </p:cNvPr>
          <p:cNvCxnSpPr/>
          <p:nvPr userDrawn="1"/>
        </p:nvCxnSpPr>
        <p:spPr>
          <a:xfrm>
            <a:off x="804000" y="6330312"/>
            <a:ext cx="1058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 16" descr="Une image contenant capture d’écran&#10;&#10;Description générée automatiquement">
            <a:extLst>
              <a:ext uri="{FF2B5EF4-FFF2-40B4-BE49-F238E27FC236}">
                <a16:creationId xmlns:a16="http://schemas.microsoft.com/office/drawing/2014/main" id="{8BC241DB-E6E3-4C5E-B3F2-C55F451EF5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960404" y="6334031"/>
            <a:ext cx="559595" cy="414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7177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5" r:id="rId1"/>
    <p:sldLayoutId id="2147484016" r:id="rId2"/>
    <p:sldLayoutId id="2147484017" r:id="rId3"/>
    <p:sldLayoutId id="2147484018" r:id="rId4"/>
    <p:sldLayoutId id="2147484019" r:id="rId5"/>
    <p:sldLayoutId id="2147484020" r:id="rId6"/>
    <p:sldLayoutId id="2147484021" r:id="rId7"/>
    <p:sldLayoutId id="2147484133" r:id="rId8"/>
    <p:sldLayoutId id="2147484141" r:id="rId9"/>
    <p:sldLayoutId id="2147484142" r:id="rId10"/>
    <p:sldLayoutId id="2147484143" r:id="rId11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1" kern="1200" cap="all" baseline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144000" algn="l" defTabSz="914400" rtl="0" eaLnBrk="1" latinLnBrk="0" hangingPunct="1">
        <a:lnSpc>
          <a:spcPct val="100000"/>
        </a:lnSpc>
        <a:spcBef>
          <a:spcPts val="2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108000" algn="l" defTabSz="914400" rtl="0" eaLnBrk="1" latinLnBrk="0" hangingPunct="1">
        <a:lnSpc>
          <a:spcPct val="100000"/>
        </a:lnSpc>
        <a:spcBef>
          <a:spcPts val="23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96000" indent="-144000" algn="l" defTabSz="914400" rtl="0" eaLnBrk="1" latinLnBrk="0" hangingPunct="1">
        <a:lnSpc>
          <a:spcPct val="100000"/>
        </a:lnSpc>
        <a:spcBef>
          <a:spcPts val="18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2255574" y="381000"/>
            <a:ext cx="9439013" cy="14638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pl-PL" noProof="0" dirty="0"/>
              <a:t>Tytuł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2255573" y="2006621"/>
            <a:ext cx="9439011" cy="40195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pl-PL" noProof="0" dirty="0"/>
              <a:t>Pierwszy poziom tekstu</a:t>
            </a:r>
          </a:p>
          <a:p>
            <a:pPr lvl="1"/>
            <a:r>
              <a:rPr lang="pl-PL" noProof="0" dirty="0"/>
              <a:t>Drugi poziom tekstu</a:t>
            </a:r>
          </a:p>
          <a:p>
            <a:pPr lvl="2"/>
            <a:r>
              <a:rPr lang="pl-PL" noProof="0" dirty="0"/>
              <a:t>Trzeci poziom tekstu</a:t>
            </a:r>
          </a:p>
          <a:p>
            <a:pPr lvl="3"/>
            <a:r>
              <a:rPr lang="pl-PL" noProof="0" dirty="0"/>
              <a:t>Czwarty poziom tekstu</a:t>
            </a:r>
          </a:p>
          <a:p>
            <a:pPr lvl="4"/>
            <a:r>
              <a:rPr lang="pl-PL" noProof="0" dirty="0"/>
              <a:t>Piąty poziom tekstu</a:t>
            </a:r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5797FB04-C354-0A02-AA3B-9B254CE614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8673" y="6429034"/>
            <a:ext cx="94318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67">
                <a:solidFill>
                  <a:srgbClr val="7E93A5"/>
                </a:solidFill>
              </a:defRPr>
            </a:lvl1pPr>
          </a:lstStyle>
          <a:p>
            <a:fld id="{332DF002-2E43-485C-89F8-8DCEF59D6C4F}" type="slidenum">
              <a:rPr lang="pl-PL" smtClean="0"/>
              <a:pPr/>
              <a:t>‹N›</a:t>
            </a:fld>
            <a:endParaRPr lang="pl-PL" dirty="0"/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85C55573-AE94-4FE8-B8CE-2C1E83ADE971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11373670" y="6360000"/>
            <a:ext cx="320914" cy="23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915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1" r:id="rId1"/>
    <p:sldLayoutId id="2147484042" r:id="rId2"/>
    <p:sldLayoutId id="2147484043" r:id="rId3"/>
    <p:sldLayoutId id="2147484044" r:id="rId4"/>
    <p:sldLayoutId id="2147484045" r:id="rId5"/>
    <p:sldLayoutId id="2147484046" r:id="rId6"/>
    <p:sldLayoutId id="2147484047" r:id="rId7"/>
    <p:sldLayoutId id="2147484048" r:id="rId8"/>
    <p:sldLayoutId id="2147484049" r:id="rId9"/>
    <p:sldLayoutId id="2147484050" r:id="rId10"/>
    <p:sldLayoutId id="2147484051" r:id="rId11"/>
    <p:sldLayoutId id="2147484052" r:id="rId12"/>
    <p:sldLayoutId id="2147484053" r:id="rId13"/>
    <p:sldLayoutId id="2147484054" r:id="rId14"/>
  </p:sldLayoutIdLst>
  <p:hf hdr="0" ftr="0" dt="0"/>
  <p:txStyles>
    <p:titleStyle>
      <a:lvl1pPr algn="l" defTabSz="914341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3733" b="1" kern="1200" cap="none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59991" indent="-359991" algn="l" defTabSz="914341" rtl="0" eaLnBrk="1" latinLnBrk="0" hangingPunct="1">
        <a:lnSpc>
          <a:spcPct val="82000"/>
        </a:lnSpc>
        <a:spcBef>
          <a:spcPts val="0"/>
        </a:spcBef>
        <a:spcAft>
          <a:spcPts val="1600"/>
        </a:spcAft>
        <a:buSzPct val="80000"/>
        <a:buFont typeface="Wingdings" pitchFamily="2" charset="2"/>
        <a:buChar char="n"/>
        <a:defRPr sz="1867" b="1" kern="1200" cap="none" baseline="0">
          <a:solidFill>
            <a:schemeClr val="accent1"/>
          </a:solidFill>
          <a:latin typeface="+mn-lt"/>
          <a:ea typeface="+mn-ea"/>
          <a:cs typeface="+mn-cs"/>
        </a:defRPr>
      </a:lvl1pPr>
      <a:lvl2pPr marL="815980" indent="-239994" algn="l" defTabSz="914341" rtl="0" eaLnBrk="1" latinLnBrk="0" hangingPunct="1">
        <a:lnSpc>
          <a:spcPct val="82000"/>
        </a:lnSpc>
        <a:spcBef>
          <a:spcPts val="0"/>
        </a:spcBef>
        <a:spcAft>
          <a:spcPts val="1600"/>
        </a:spcAft>
        <a:buSzPct val="100000"/>
        <a:buFont typeface="Wingdings" pitchFamily="2" charset="2"/>
        <a:buChar char="§"/>
        <a:defRPr sz="1867" kern="1200" cap="none">
          <a:solidFill>
            <a:schemeClr val="tx1"/>
          </a:solidFill>
          <a:latin typeface="+mn-lt"/>
          <a:ea typeface="+mn-ea"/>
          <a:cs typeface="+mn-cs"/>
        </a:defRPr>
      </a:lvl2pPr>
      <a:lvl3pPr marL="1391965" indent="-239994" algn="l" defTabSz="914341" rtl="0" eaLnBrk="1" latinLnBrk="0" hangingPunct="1">
        <a:lnSpc>
          <a:spcPct val="82000"/>
        </a:lnSpc>
        <a:spcBef>
          <a:spcPts val="0"/>
        </a:spcBef>
        <a:spcAft>
          <a:spcPts val="1600"/>
        </a:spcAft>
        <a:buClr>
          <a:schemeClr val="accent3"/>
        </a:buClr>
        <a:buSzPct val="100000"/>
        <a:buFont typeface="Wingdings" pitchFamily="2" charset="2"/>
        <a:buChar char="§"/>
        <a:defRPr sz="1867" kern="1200" cap="none">
          <a:solidFill>
            <a:schemeClr val="accent3"/>
          </a:solidFill>
          <a:latin typeface="+mn-lt"/>
          <a:ea typeface="+mn-ea"/>
          <a:cs typeface="+mn-cs"/>
        </a:defRPr>
      </a:lvl3pPr>
      <a:lvl4pPr marL="1967951" indent="-239994" algn="l" defTabSz="914341" rtl="0" eaLnBrk="1" latinLnBrk="0" hangingPunct="1">
        <a:lnSpc>
          <a:spcPct val="82000"/>
        </a:lnSpc>
        <a:spcBef>
          <a:spcPts val="0"/>
        </a:spcBef>
        <a:spcAft>
          <a:spcPts val="1600"/>
        </a:spcAft>
        <a:buClr>
          <a:schemeClr val="accent1"/>
        </a:buClr>
        <a:buSzPct val="100000"/>
        <a:buFont typeface="Wingdings" pitchFamily="2" charset="2"/>
        <a:buChar char="§"/>
        <a:defRPr sz="1867" b="0" kern="1200" cap="none" baseline="0">
          <a:solidFill>
            <a:schemeClr val="tx1"/>
          </a:solidFill>
          <a:latin typeface="+mn-lt"/>
          <a:ea typeface="+mn-ea"/>
          <a:cs typeface="+mn-cs"/>
        </a:defRPr>
      </a:lvl4pPr>
      <a:lvl5pPr marL="2543936" indent="-239994" algn="l" defTabSz="914341" rtl="0" eaLnBrk="1" latinLnBrk="0" hangingPunct="1">
        <a:lnSpc>
          <a:spcPct val="95000"/>
        </a:lnSpc>
        <a:spcBef>
          <a:spcPts val="0"/>
        </a:spcBef>
        <a:spcAft>
          <a:spcPts val="1600"/>
        </a:spcAft>
        <a:buClr>
          <a:schemeClr val="accent1"/>
        </a:buClr>
        <a:buSzPct val="100000"/>
        <a:buFont typeface="Wingdings" pitchFamily="2" charset="2"/>
        <a:buChar char="§"/>
        <a:defRPr sz="1867" kern="1200" cap="none">
          <a:solidFill>
            <a:schemeClr val="tx1"/>
          </a:solidFill>
          <a:latin typeface="+mn-lt"/>
          <a:ea typeface="+mn-ea"/>
          <a:cs typeface="+mn-cs"/>
        </a:defRPr>
      </a:lvl5pPr>
      <a:lvl6pPr marL="2514436" indent="-228585" algn="l" defTabSz="91434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7" indent="-228585" algn="l" defTabSz="91434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77" indent="-228585" algn="l" defTabSz="91434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47" indent="-228585" algn="l" defTabSz="91434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1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1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1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2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2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2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3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4708">
          <p15:clr>
            <a:srgbClr val="F26B43"/>
          </p15:clr>
        </p15:guide>
        <p15:guide id="3" pos="1837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7841DC6-0250-42B4-819E-D14B80B33F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9" imgH="309" progId="TCLayout.ActiveDocument.1">
                  <p:embed/>
                </p:oleObj>
              </mc:Choice>
              <mc:Fallback>
                <p:oleObj name="think-cell Slide" r:id="rId5" imgW="309" imgH="3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7841DC6-0250-42B4-819E-D14B80B33F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660401" y="457200"/>
            <a:ext cx="11034187" cy="13876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pl-PL" noProof="0" dirty="0"/>
              <a:t>Tytuł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660400" y="2006622"/>
            <a:ext cx="11034184" cy="40195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pl-PL" noProof="0" dirty="0"/>
              <a:t>Pierwszy poziom tekstu</a:t>
            </a:r>
          </a:p>
          <a:p>
            <a:pPr lvl="1"/>
            <a:r>
              <a:rPr lang="pl-PL" noProof="0" dirty="0"/>
              <a:t>Drugi poziom tekstu</a:t>
            </a:r>
          </a:p>
          <a:p>
            <a:pPr lvl="2"/>
            <a:r>
              <a:rPr lang="pl-PL" noProof="0" dirty="0"/>
              <a:t>Trzeci poziom tekstu</a:t>
            </a:r>
          </a:p>
          <a:p>
            <a:pPr lvl="3"/>
            <a:r>
              <a:rPr lang="pl-PL" noProof="0" dirty="0"/>
              <a:t>Czwarty poziom tekstu</a:t>
            </a:r>
          </a:p>
          <a:p>
            <a:pPr lvl="4"/>
            <a:r>
              <a:rPr lang="pl-PL" noProof="0" dirty="0"/>
              <a:t>Piąty poziom tekstu</a:t>
            </a:r>
          </a:p>
        </p:txBody>
      </p:sp>
      <p:pic>
        <p:nvPicPr>
          <p:cNvPr id="15" name="Picture 2" descr="\\casnas100\dfs_root\Commun\Commun160\DCG-CM\Marque\Logos\Frise marques et Picto groupe\Frise Groupe\Logo groupe CA\E_Bloc_marque\E_CAGroup_BlocMarqueHorizontal-EN\3-BUREAUTIQUE\20151738E_CAGroup_BMH-EN_RVB.pn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5" r="95"/>
          <a:stretch/>
        </p:blipFill>
        <p:spPr bwMode="auto">
          <a:xfrm>
            <a:off x="9936428" y="6404129"/>
            <a:ext cx="1970475" cy="244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 cap="all" baseline="0">
                <a:solidFill>
                  <a:schemeClr val="tx1">
                    <a:alpha val="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fr-FR" dirty="0"/>
          </a:p>
        </p:txBody>
      </p:sp>
      <p:pic>
        <p:nvPicPr>
          <p:cNvPr id="26" name="Image 9" descr="logo_gauche.pdf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33561" y="6404131"/>
            <a:ext cx="288000" cy="199111"/>
          </a:xfrm>
          <a:prstGeom prst="rect">
            <a:avLst/>
          </a:prstGeom>
        </p:spPr>
      </p:pic>
      <p:pic>
        <p:nvPicPr>
          <p:cNvPr id="13" name="Image 9" descr="logo_gauche.pdf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333561" y="6404131"/>
            <a:ext cx="288000" cy="199111"/>
          </a:xfrm>
          <a:prstGeom prst="rect">
            <a:avLst/>
          </a:prstGeom>
        </p:spPr>
      </p:pic>
      <p:sp>
        <p:nvSpPr>
          <p:cNvPr id="28" name="Espace réservé du numéro de diapositive 5"/>
          <p:cNvSpPr txBox="1">
            <a:spLocks/>
          </p:cNvSpPr>
          <p:nvPr userDrawn="1"/>
        </p:nvSpPr>
        <p:spPr bwMode="gray">
          <a:xfrm>
            <a:off x="2040940" y="6480335"/>
            <a:ext cx="391321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733" b="0" kern="1200" cap="none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C140CD-8AED-46FF-A9A2-77308F3F39AE}" type="slidenum">
              <a:rPr kumimoji="0" lang="fr-FR" sz="733" b="0" i="0" u="none" strike="noStrike" kern="1200" cap="none" spc="0" normalizeH="0" baseline="0" noProof="0" smtClean="0">
                <a:ln>
                  <a:noFill/>
                </a:ln>
                <a:solidFill>
                  <a:srgbClr val="7E93A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4675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fr-FR" sz="733" b="0" i="0" u="none" strike="noStrike" kern="1200" cap="none" spc="0" normalizeH="0" baseline="0" noProof="0" dirty="0">
              <a:ln>
                <a:noFill/>
              </a:ln>
              <a:solidFill>
                <a:srgbClr val="7E93A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6336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8" r:id="rId1"/>
    <p:sldLayoutId id="2147484070" r:id="rId2"/>
  </p:sldLayoutIdLst>
  <p:hf hdr="0" ftr="0"/>
  <p:txStyles>
    <p:titleStyle>
      <a:lvl1pPr algn="l" defTabSz="914318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3600" b="1" kern="1200" cap="none" baseline="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359982" indent="-359982" algn="l" defTabSz="914318" rtl="0" eaLnBrk="1" latinLnBrk="0" hangingPunct="1">
        <a:lnSpc>
          <a:spcPct val="82000"/>
        </a:lnSpc>
        <a:spcBef>
          <a:spcPts val="0"/>
        </a:spcBef>
        <a:spcAft>
          <a:spcPts val="1200"/>
        </a:spcAft>
        <a:buSzPct val="80000"/>
        <a:buFont typeface="Wingdings" pitchFamily="2" charset="2"/>
        <a:buChar char="n"/>
        <a:defRPr sz="1800" b="1" kern="1200" cap="none" baseline="0">
          <a:solidFill>
            <a:schemeClr val="accent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815960" indent="-239989" algn="l" defTabSz="914318" rtl="0" eaLnBrk="1" latinLnBrk="0" hangingPunct="1">
        <a:lnSpc>
          <a:spcPct val="82000"/>
        </a:lnSpc>
        <a:spcBef>
          <a:spcPts val="0"/>
        </a:spcBef>
        <a:spcAft>
          <a:spcPts val="1200"/>
        </a:spcAft>
        <a:buSzPct val="100000"/>
        <a:buFont typeface="Wingdings" pitchFamily="2" charset="2"/>
        <a:buChar char="§"/>
        <a:defRPr sz="1800" kern="1200" cap="none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1391931" indent="-239989" algn="l" defTabSz="914318" rtl="0" eaLnBrk="1" latinLnBrk="0" hangingPunct="1">
        <a:lnSpc>
          <a:spcPct val="82000"/>
        </a:lnSpc>
        <a:spcBef>
          <a:spcPts val="0"/>
        </a:spcBef>
        <a:spcAft>
          <a:spcPts val="1200"/>
        </a:spcAft>
        <a:buClr>
          <a:schemeClr val="accent3"/>
        </a:buClr>
        <a:buSzPct val="100000"/>
        <a:buFont typeface="Wingdings" pitchFamily="2" charset="2"/>
        <a:buChar char="§"/>
        <a:defRPr sz="1800" kern="1200" cap="none">
          <a:solidFill>
            <a:schemeClr val="accent3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1967901" indent="-239989" algn="l" defTabSz="914318" rtl="0" eaLnBrk="1" latinLnBrk="0" hangingPunct="1">
        <a:lnSpc>
          <a:spcPct val="82000"/>
        </a:lnSpc>
        <a:spcBef>
          <a:spcPts val="0"/>
        </a:spcBef>
        <a:spcAft>
          <a:spcPts val="1200"/>
        </a:spcAft>
        <a:buClr>
          <a:schemeClr val="accent1"/>
        </a:buClr>
        <a:buSzPct val="100000"/>
        <a:buFont typeface="Wingdings" pitchFamily="2" charset="2"/>
        <a:buChar char="§"/>
        <a:defRPr sz="1800" b="0" kern="1200" cap="none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2543872" indent="-239989" algn="l" defTabSz="914318" rtl="0" eaLnBrk="1" latinLnBrk="0" hangingPunct="1">
        <a:lnSpc>
          <a:spcPct val="95000"/>
        </a:lnSpc>
        <a:spcBef>
          <a:spcPts val="0"/>
        </a:spcBef>
        <a:spcAft>
          <a:spcPts val="1200"/>
        </a:spcAft>
        <a:buClr>
          <a:schemeClr val="accent1"/>
        </a:buClr>
        <a:buSzPct val="100000"/>
        <a:buFont typeface="Wingdings" pitchFamily="2" charset="2"/>
        <a:buChar char="§"/>
        <a:defRPr sz="1800" kern="1200" cap="none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514373" indent="-228580" algn="l" defTabSz="91431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32" indent="-228580" algn="l" defTabSz="91431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92" indent="-228580" algn="l" defTabSz="91431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50" indent="-228580" algn="l" defTabSz="91431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9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8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6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36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95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54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12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71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6277">
          <p15:clr>
            <a:srgbClr val="F26B43"/>
          </p15:clr>
        </p15:guide>
        <p15:guide id="3" pos="2449">
          <p15:clr>
            <a:srgbClr val="F26B43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iekt 3" hidden="1">
            <a:extLst>
              <a:ext uri="{FF2B5EF4-FFF2-40B4-BE49-F238E27FC236}">
                <a16:creationId xmlns:a16="http://schemas.microsoft.com/office/drawing/2014/main" id="{8BBD3C5E-A669-4D3C-A879-7717433F10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08" imgH="408" progId="TCLayout.ActiveDocument.1">
                  <p:embed/>
                </p:oleObj>
              </mc:Choice>
              <mc:Fallback>
                <p:oleObj name="think-cell Slide" r:id="rId17" imgW="408" imgH="408" progId="TCLayout.ActiveDocument.1">
                  <p:embed/>
                  <p:pic>
                    <p:nvPicPr>
                      <p:cNvPr id="4" name="Obiekt 3" hidden="1">
                        <a:extLst>
                          <a:ext uri="{FF2B5EF4-FFF2-40B4-BE49-F238E27FC236}">
                            <a16:creationId xmlns:a16="http://schemas.microsoft.com/office/drawing/2014/main" id="{8BBD3C5E-A669-4D3C-A879-7717433F10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2255574" y="381000"/>
            <a:ext cx="9439013" cy="14638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pl-PL" noProof="0" dirty="0"/>
              <a:t>Tytuł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2255573" y="2006621"/>
            <a:ext cx="9439011" cy="40195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pl-PL" noProof="0" dirty="0"/>
              <a:t>Pierwszy poziom tekstu</a:t>
            </a:r>
          </a:p>
          <a:p>
            <a:pPr lvl="1"/>
            <a:r>
              <a:rPr lang="pl-PL" noProof="0" dirty="0"/>
              <a:t>Drugi poziom tekstu</a:t>
            </a:r>
          </a:p>
          <a:p>
            <a:pPr lvl="2"/>
            <a:r>
              <a:rPr lang="pl-PL" noProof="0" dirty="0"/>
              <a:t>Trzeci poziom tekstu</a:t>
            </a:r>
          </a:p>
          <a:p>
            <a:pPr lvl="3"/>
            <a:r>
              <a:rPr lang="pl-PL" noProof="0" dirty="0"/>
              <a:t>Czwarty poziom tekstu</a:t>
            </a:r>
          </a:p>
          <a:p>
            <a:pPr lvl="4"/>
            <a:r>
              <a:rPr lang="pl-PL" noProof="0" dirty="0"/>
              <a:t>Piąty poziom tekstu</a:t>
            </a:r>
          </a:p>
        </p:txBody>
      </p:sp>
      <p:pic>
        <p:nvPicPr>
          <p:cNvPr id="13" name="Image 9" descr="logo_gauche.pdf"/>
          <p:cNvPicPr>
            <a:picLocks noChangeAspect="1"/>
          </p:cNvPicPr>
          <p:nvPr userDrawn="1"/>
        </p:nvPicPr>
        <p:blipFill>
          <a:blip r:embed="rId1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1616061" y="6488445"/>
            <a:ext cx="288000" cy="199111"/>
          </a:xfrm>
          <a:prstGeom prst="rect">
            <a:avLst/>
          </a:prstGeom>
        </p:spPr>
      </p:pic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5797FB04-C354-0A02-AA3B-9B254CE614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8673" y="6429034"/>
            <a:ext cx="94318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67">
                <a:solidFill>
                  <a:srgbClr val="7E93A5"/>
                </a:solidFill>
              </a:defRPr>
            </a:lvl1pPr>
          </a:lstStyle>
          <a:p>
            <a:fld id="{332DF002-2E43-485C-89F8-8DCEF59D6C4F}" type="slidenum">
              <a:rPr lang="pl-PL" smtClean="0"/>
              <a:pPr/>
              <a:t>‹N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852068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3" r:id="rId1"/>
    <p:sldLayoutId id="2147484074" r:id="rId2"/>
    <p:sldLayoutId id="2147484075" r:id="rId3"/>
    <p:sldLayoutId id="2147484076" r:id="rId4"/>
    <p:sldLayoutId id="2147484077" r:id="rId5"/>
    <p:sldLayoutId id="2147484078" r:id="rId6"/>
    <p:sldLayoutId id="2147484079" r:id="rId7"/>
    <p:sldLayoutId id="2147484080" r:id="rId8"/>
    <p:sldLayoutId id="2147484081" r:id="rId9"/>
    <p:sldLayoutId id="2147484082" r:id="rId10"/>
    <p:sldLayoutId id="2147484083" r:id="rId11"/>
    <p:sldLayoutId id="2147484084" r:id="rId12"/>
    <p:sldLayoutId id="2147484085" r:id="rId13"/>
    <p:sldLayoutId id="2147484086" r:id="rId14"/>
  </p:sldLayoutIdLst>
  <p:hf hdr="0" ftr="0" dt="0"/>
  <p:txStyles>
    <p:titleStyle>
      <a:lvl1pPr algn="l" defTabSz="914341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3733" b="1" kern="1200" cap="none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59991" indent="-359991" algn="l" defTabSz="914341" rtl="0" eaLnBrk="1" latinLnBrk="0" hangingPunct="1">
        <a:lnSpc>
          <a:spcPct val="82000"/>
        </a:lnSpc>
        <a:spcBef>
          <a:spcPts val="0"/>
        </a:spcBef>
        <a:spcAft>
          <a:spcPts val="1600"/>
        </a:spcAft>
        <a:buSzPct val="80000"/>
        <a:buFont typeface="Wingdings" pitchFamily="2" charset="2"/>
        <a:buChar char="n"/>
        <a:defRPr sz="1867" b="1" kern="1200" cap="none" baseline="0">
          <a:solidFill>
            <a:schemeClr val="accent1"/>
          </a:solidFill>
          <a:latin typeface="+mn-lt"/>
          <a:ea typeface="+mn-ea"/>
          <a:cs typeface="+mn-cs"/>
        </a:defRPr>
      </a:lvl1pPr>
      <a:lvl2pPr marL="815980" indent="-239994" algn="l" defTabSz="914341" rtl="0" eaLnBrk="1" latinLnBrk="0" hangingPunct="1">
        <a:lnSpc>
          <a:spcPct val="82000"/>
        </a:lnSpc>
        <a:spcBef>
          <a:spcPts val="0"/>
        </a:spcBef>
        <a:spcAft>
          <a:spcPts val="1600"/>
        </a:spcAft>
        <a:buSzPct val="100000"/>
        <a:buFont typeface="Wingdings" pitchFamily="2" charset="2"/>
        <a:buChar char="§"/>
        <a:defRPr sz="1867" kern="1200" cap="none">
          <a:solidFill>
            <a:schemeClr val="tx1"/>
          </a:solidFill>
          <a:latin typeface="+mn-lt"/>
          <a:ea typeface="+mn-ea"/>
          <a:cs typeface="+mn-cs"/>
        </a:defRPr>
      </a:lvl2pPr>
      <a:lvl3pPr marL="1391965" indent="-239994" algn="l" defTabSz="914341" rtl="0" eaLnBrk="1" latinLnBrk="0" hangingPunct="1">
        <a:lnSpc>
          <a:spcPct val="82000"/>
        </a:lnSpc>
        <a:spcBef>
          <a:spcPts val="0"/>
        </a:spcBef>
        <a:spcAft>
          <a:spcPts val="1600"/>
        </a:spcAft>
        <a:buClr>
          <a:schemeClr val="accent3"/>
        </a:buClr>
        <a:buSzPct val="100000"/>
        <a:buFont typeface="Wingdings" pitchFamily="2" charset="2"/>
        <a:buChar char="§"/>
        <a:defRPr sz="1867" kern="1200" cap="none">
          <a:solidFill>
            <a:schemeClr val="accent3"/>
          </a:solidFill>
          <a:latin typeface="+mn-lt"/>
          <a:ea typeface="+mn-ea"/>
          <a:cs typeface="+mn-cs"/>
        </a:defRPr>
      </a:lvl3pPr>
      <a:lvl4pPr marL="1967951" indent="-239994" algn="l" defTabSz="914341" rtl="0" eaLnBrk="1" latinLnBrk="0" hangingPunct="1">
        <a:lnSpc>
          <a:spcPct val="82000"/>
        </a:lnSpc>
        <a:spcBef>
          <a:spcPts val="0"/>
        </a:spcBef>
        <a:spcAft>
          <a:spcPts val="1600"/>
        </a:spcAft>
        <a:buClr>
          <a:schemeClr val="accent1"/>
        </a:buClr>
        <a:buSzPct val="100000"/>
        <a:buFont typeface="Wingdings" pitchFamily="2" charset="2"/>
        <a:buChar char="§"/>
        <a:defRPr sz="1867" b="0" kern="1200" cap="none" baseline="0">
          <a:solidFill>
            <a:schemeClr val="tx1"/>
          </a:solidFill>
          <a:latin typeface="+mn-lt"/>
          <a:ea typeface="+mn-ea"/>
          <a:cs typeface="+mn-cs"/>
        </a:defRPr>
      </a:lvl4pPr>
      <a:lvl5pPr marL="2543936" indent="-239994" algn="l" defTabSz="914341" rtl="0" eaLnBrk="1" latinLnBrk="0" hangingPunct="1">
        <a:lnSpc>
          <a:spcPct val="95000"/>
        </a:lnSpc>
        <a:spcBef>
          <a:spcPts val="0"/>
        </a:spcBef>
        <a:spcAft>
          <a:spcPts val="1600"/>
        </a:spcAft>
        <a:buClr>
          <a:schemeClr val="accent1"/>
        </a:buClr>
        <a:buSzPct val="100000"/>
        <a:buFont typeface="Wingdings" pitchFamily="2" charset="2"/>
        <a:buChar char="§"/>
        <a:defRPr sz="1867" kern="1200" cap="none">
          <a:solidFill>
            <a:schemeClr val="tx1"/>
          </a:solidFill>
          <a:latin typeface="+mn-lt"/>
          <a:ea typeface="+mn-ea"/>
          <a:cs typeface="+mn-cs"/>
        </a:defRPr>
      </a:lvl5pPr>
      <a:lvl6pPr marL="2514436" indent="-228585" algn="l" defTabSz="91434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7" indent="-228585" algn="l" defTabSz="91434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77" indent="-228585" algn="l" defTabSz="91434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47" indent="-228585" algn="l" defTabSz="91434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1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1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1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2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2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2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3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4708">
          <p15:clr>
            <a:srgbClr val="F26B43"/>
          </p15:clr>
        </p15:guide>
        <p15:guide id="3" pos="1837">
          <p15:clr>
            <a:srgbClr val="F26B43"/>
          </p15:clr>
        </p15:guide>
      </p15:sldGuideLst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2255575" y="381000"/>
            <a:ext cx="9439015" cy="14638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pl-PL" noProof="0" dirty="0"/>
              <a:t>Tytuł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2255576" y="2006623"/>
            <a:ext cx="9439011" cy="40195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pl-PL" noProof="0" dirty="0"/>
              <a:t>Pierwszy poziom tekstu</a:t>
            </a:r>
          </a:p>
          <a:p>
            <a:pPr lvl="1"/>
            <a:r>
              <a:rPr lang="pl-PL" noProof="0" dirty="0"/>
              <a:t>Drugi poziom tekstu</a:t>
            </a:r>
          </a:p>
          <a:p>
            <a:pPr lvl="2"/>
            <a:r>
              <a:rPr lang="pl-PL" noProof="0" dirty="0"/>
              <a:t>Trzeci poziom tekstu</a:t>
            </a:r>
          </a:p>
          <a:p>
            <a:pPr lvl="3"/>
            <a:r>
              <a:rPr lang="pl-PL" noProof="0" dirty="0"/>
              <a:t>Czwarty poziom tekstu</a:t>
            </a:r>
          </a:p>
          <a:p>
            <a:pPr lvl="4"/>
            <a:r>
              <a:rPr lang="pl-PL" noProof="0" dirty="0"/>
              <a:t>Piąty poziom tekstu</a:t>
            </a:r>
          </a:p>
        </p:txBody>
      </p:sp>
      <p:pic>
        <p:nvPicPr>
          <p:cNvPr id="13" name="Image 9" descr="logo_gauche.pdf"/>
          <p:cNvPicPr>
            <a:picLocks noChangeAspect="1"/>
          </p:cNvPicPr>
          <p:nvPr userDrawn="1"/>
        </p:nvPicPr>
        <p:blipFill>
          <a:blip r:embed="rId1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1616063" y="6488447"/>
            <a:ext cx="288000" cy="199111"/>
          </a:xfrm>
          <a:prstGeom prst="rect">
            <a:avLst/>
          </a:prstGeom>
        </p:spPr>
      </p:pic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5797FB04-C354-0A02-AA3B-9B254CE614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8675" y="6429037"/>
            <a:ext cx="94318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67">
                <a:solidFill>
                  <a:srgbClr val="7E93A5"/>
                </a:solidFill>
              </a:defRPr>
            </a:lvl1pPr>
          </a:lstStyle>
          <a:p>
            <a:fld id="{332DF002-2E43-485C-89F8-8DCEF59D6C4F}" type="slidenum">
              <a:rPr lang="pl-PL" smtClean="0"/>
              <a:pPr/>
              <a:t>‹N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0450529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8" r:id="rId1"/>
    <p:sldLayoutId id="2147484089" r:id="rId2"/>
    <p:sldLayoutId id="2147484090" r:id="rId3"/>
    <p:sldLayoutId id="2147484091" r:id="rId4"/>
    <p:sldLayoutId id="2147484092" r:id="rId5"/>
    <p:sldLayoutId id="2147484093" r:id="rId6"/>
    <p:sldLayoutId id="2147484094" r:id="rId7"/>
    <p:sldLayoutId id="2147484095" r:id="rId8"/>
    <p:sldLayoutId id="2147484096" r:id="rId9"/>
    <p:sldLayoutId id="2147484097" r:id="rId10"/>
    <p:sldLayoutId id="2147484098" r:id="rId11"/>
    <p:sldLayoutId id="2147484099" r:id="rId12"/>
    <p:sldLayoutId id="2147484100" r:id="rId13"/>
    <p:sldLayoutId id="2147484101" r:id="rId14"/>
  </p:sldLayoutIdLst>
  <mc:AlternateContent xmlns:mc="http://schemas.openxmlformats.org/markup-compatibility/2006" xmlns:p14="http://schemas.microsoft.com/office/powerpoint/2010/main">
    <mc:Choice Requires="p14">
      <p:transition spd="slow" p14:dur="1500">
        <p:push dir="u"/>
      </p:transition>
    </mc:Choice>
    <mc:Fallback xmlns="">
      <p:transition spd="slow">
        <p:push dir="u"/>
      </p:transition>
    </mc:Fallback>
  </mc:AlternateContent>
  <p:hf sldNum="0" hdr="0" ftr="0" dt="0"/>
  <p:txStyles>
    <p:titleStyle>
      <a:lvl1pPr algn="l" defTabSz="914330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3735" b="1" kern="1200" cap="none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59987" indent="-359987" algn="l" defTabSz="914330" rtl="0" eaLnBrk="1" latinLnBrk="0" hangingPunct="1">
        <a:lnSpc>
          <a:spcPct val="82000"/>
        </a:lnSpc>
        <a:spcBef>
          <a:spcPts val="0"/>
        </a:spcBef>
        <a:spcAft>
          <a:spcPts val="1600"/>
        </a:spcAft>
        <a:buSzPct val="80000"/>
        <a:buFont typeface="Wingdings" pitchFamily="2" charset="2"/>
        <a:buChar char="n"/>
        <a:defRPr sz="1867" b="1" kern="1200" cap="none" baseline="0">
          <a:solidFill>
            <a:schemeClr val="accent1"/>
          </a:solidFill>
          <a:latin typeface="+mn-lt"/>
          <a:ea typeface="+mn-ea"/>
          <a:cs typeface="+mn-cs"/>
        </a:defRPr>
      </a:lvl1pPr>
      <a:lvl2pPr marL="815970" indent="-239991" algn="l" defTabSz="914330" rtl="0" eaLnBrk="1" latinLnBrk="0" hangingPunct="1">
        <a:lnSpc>
          <a:spcPct val="82000"/>
        </a:lnSpc>
        <a:spcBef>
          <a:spcPts val="0"/>
        </a:spcBef>
        <a:spcAft>
          <a:spcPts val="1600"/>
        </a:spcAft>
        <a:buSzPct val="100000"/>
        <a:buFont typeface="Wingdings" pitchFamily="2" charset="2"/>
        <a:buChar char="§"/>
        <a:defRPr sz="1867" kern="1200" cap="none">
          <a:solidFill>
            <a:schemeClr val="tx1"/>
          </a:solidFill>
          <a:latin typeface="+mn-lt"/>
          <a:ea typeface="+mn-ea"/>
          <a:cs typeface="+mn-cs"/>
        </a:defRPr>
      </a:lvl2pPr>
      <a:lvl3pPr marL="1391949" indent="-239991" algn="l" defTabSz="914330" rtl="0" eaLnBrk="1" latinLnBrk="0" hangingPunct="1">
        <a:lnSpc>
          <a:spcPct val="82000"/>
        </a:lnSpc>
        <a:spcBef>
          <a:spcPts val="0"/>
        </a:spcBef>
        <a:spcAft>
          <a:spcPts val="1600"/>
        </a:spcAft>
        <a:buClr>
          <a:schemeClr val="accent3"/>
        </a:buClr>
        <a:buSzPct val="100000"/>
        <a:buFont typeface="Wingdings" pitchFamily="2" charset="2"/>
        <a:buChar char="§"/>
        <a:defRPr sz="1867" kern="1200" cap="none">
          <a:solidFill>
            <a:schemeClr val="accent3"/>
          </a:solidFill>
          <a:latin typeface="+mn-lt"/>
          <a:ea typeface="+mn-ea"/>
          <a:cs typeface="+mn-cs"/>
        </a:defRPr>
      </a:lvl3pPr>
      <a:lvl4pPr marL="1967927" indent="-239991" algn="l" defTabSz="914330" rtl="0" eaLnBrk="1" latinLnBrk="0" hangingPunct="1">
        <a:lnSpc>
          <a:spcPct val="82000"/>
        </a:lnSpc>
        <a:spcBef>
          <a:spcPts val="0"/>
        </a:spcBef>
        <a:spcAft>
          <a:spcPts val="1600"/>
        </a:spcAft>
        <a:buClr>
          <a:schemeClr val="accent1"/>
        </a:buClr>
        <a:buSzPct val="100000"/>
        <a:buFont typeface="Wingdings" pitchFamily="2" charset="2"/>
        <a:buChar char="§"/>
        <a:defRPr sz="1867" b="0" kern="1200" cap="none" baseline="0">
          <a:solidFill>
            <a:schemeClr val="tx1"/>
          </a:solidFill>
          <a:latin typeface="+mn-lt"/>
          <a:ea typeface="+mn-ea"/>
          <a:cs typeface="+mn-cs"/>
        </a:defRPr>
      </a:lvl4pPr>
      <a:lvl5pPr marL="2543904" indent="-239991" algn="l" defTabSz="914330" rtl="0" eaLnBrk="1" latinLnBrk="0" hangingPunct="1">
        <a:lnSpc>
          <a:spcPct val="95000"/>
        </a:lnSpc>
        <a:spcBef>
          <a:spcPts val="0"/>
        </a:spcBef>
        <a:spcAft>
          <a:spcPts val="1600"/>
        </a:spcAft>
        <a:buClr>
          <a:schemeClr val="accent1"/>
        </a:buClr>
        <a:buSzPct val="100000"/>
        <a:buFont typeface="Wingdings" pitchFamily="2" charset="2"/>
        <a:buChar char="§"/>
        <a:defRPr sz="1867" kern="1200" cap="none">
          <a:solidFill>
            <a:schemeClr val="tx1"/>
          </a:solidFill>
          <a:latin typeface="+mn-lt"/>
          <a:ea typeface="+mn-ea"/>
          <a:cs typeface="+mn-cs"/>
        </a:defRPr>
      </a:lvl5pPr>
      <a:lvl6pPr marL="2514405" indent="-228584" algn="l" defTabSz="91433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0" indent="-228584" algn="l" defTabSz="91433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36" indent="-228584" algn="l" defTabSz="91433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99" indent="-228584" algn="l" defTabSz="91433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0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4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0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26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89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52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19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4708">
          <p15:clr>
            <a:srgbClr val="F26B43"/>
          </p15:clr>
        </p15:guide>
        <p15:guide id="3" pos="183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BF798E53-107F-468D-A86A-B9E27C8FBA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999" y="594000"/>
            <a:ext cx="10800000" cy="900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3116353-A2DB-400D-836D-10B770C82C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999" y="2638800"/>
            <a:ext cx="10800000" cy="3060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FDD59078-F0EA-4B2B-B92A-CB1D0AA4F8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38238" y="6174395"/>
            <a:ext cx="828017" cy="25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1000" b="1">
                <a:solidFill>
                  <a:schemeClr val="bg2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6B74129-F7BE-4703-924F-ACEA71B2544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52612" y="6174395"/>
            <a:ext cx="4320000" cy="25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1000" b="1" cap="all" baseline="0">
                <a:solidFill>
                  <a:schemeClr val="accent1"/>
                </a:solidFill>
              </a:defRPr>
            </a:lvl1pPr>
          </a:lstStyle>
          <a:p>
            <a:r>
              <a:rPr lang="pt-BR"/>
              <a:t>BPI - AAP</a:t>
            </a:r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A1B493F-9EAA-4161-9132-F480E263F1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5996" y="6174395"/>
            <a:ext cx="540000" cy="25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1000" b="1">
                <a:solidFill>
                  <a:schemeClr val="bg2"/>
                </a:solidFill>
              </a:defRPr>
            </a:lvl1pPr>
          </a:lstStyle>
          <a:p>
            <a:fld id="{975A587B-5814-4D9B-9598-FE9CB954CB01}" type="slidenum">
              <a:rPr lang="fr-FR" smtClean="0"/>
              <a:pPr/>
              <a:t>‹N›</a:t>
            </a:fld>
            <a:endParaRPr lang="fr-FR" dirty="0"/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6CAF1617-1922-47D2-9D0D-C966F5A1F5ED}"/>
              </a:ext>
            </a:extLst>
          </p:cNvPr>
          <p:cNvCxnSpPr/>
          <p:nvPr userDrawn="1"/>
        </p:nvCxnSpPr>
        <p:spPr>
          <a:xfrm>
            <a:off x="804000" y="6120000"/>
            <a:ext cx="1058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 16" descr="Une image contenant capture d’écran&#10;&#10;Description générée automatiquement">
            <a:extLst>
              <a:ext uri="{FF2B5EF4-FFF2-40B4-BE49-F238E27FC236}">
                <a16:creationId xmlns:a16="http://schemas.microsoft.com/office/drawing/2014/main" id="{8BC241DB-E6E3-4C5E-B3F2-C55F451EF5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94217" y="6174580"/>
            <a:ext cx="559595" cy="414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9365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3" r:id="rId8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1" kern="1200" cap="all" baseline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144000" algn="l" defTabSz="914400" rtl="0" eaLnBrk="1" latinLnBrk="0" hangingPunct="1">
        <a:lnSpc>
          <a:spcPct val="100000"/>
        </a:lnSpc>
        <a:spcBef>
          <a:spcPts val="2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108000" algn="l" defTabSz="914400" rtl="0" eaLnBrk="1" latinLnBrk="0" hangingPunct="1">
        <a:lnSpc>
          <a:spcPct val="100000"/>
        </a:lnSpc>
        <a:spcBef>
          <a:spcPts val="23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96000" indent="-144000" algn="l" defTabSz="914400" rtl="0" eaLnBrk="1" latinLnBrk="0" hangingPunct="1">
        <a:lnSpc>
          <a:spcPct val="100000"/>
        </a:lnSpc>
        <a:spcBef>
          <a:spcPts val="18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B7B6533-99DD-4506-B0FA-6E9B1250F162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2" y="622803"/>
            <a:ext cx="10933351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2" y="1825625"/>
            <a:ext cx="10933351" cy="43513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8220698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10" r:id="rId14"/>
    <p:sldLayoutId id="2147483711" r:id="rId15"/>
  </p:sldLayoutIdLst>
  <mc:AlternateContent xmlns:mc="http://schemas.openxmlformats.org/markup-compatibility/2006" xmlns:p14="http://schemas.microsoft.com/office/powerpoint/2010/main">
    <mc:Choice Requires="p14">
      <p:transition spd="slow" p14:dur="1500">
        <p:push dir="u"/>
      </p:transition>
    </mc:Choice>
    <mc:Fallback xmlns="">
      <p:transition spd="slow">
        <p:push dir="u"/>
      </p:transition>
    </mc:Fallback>
  </mc:AlternateContent>
  <p:hf sldNum="0" hdr="0" ft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354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84386" indent="-172792" algn="l" defTabSz="914354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11174" indent="-165592" algn="l" defTabSz="914354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914354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91435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69861" indent="-152392" algn="l" defTabSz="914354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914354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914354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914354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2255574" y="381000"/>
            <a:ext cx="9439013" cy="14638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pl-PL" noProof="0" dirty="0"/>
              <a:t>Tytuł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2255573" y="2006621"/>
            <a:ext cx="9439011" cy="40195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pl-PL" noProof="0" dirty="0"/>
              <a:t>Pierwszy poziom tekstu</a:t>
            </a:r>
          </a:p>
          <a:p>
            <a:pPr lvl="1"/>
            <a:r>
              <a:rPr lang="pl-PL" noProof="0" dirty="0"/>
              <a:t>Drugi poziom tekstu</a:t>
            </a:r>
          </a:p>
          <a:p>
            <a:pPr lvl="2"/>
            <a:r>
              <a:rPr lang="pl-PL" noProof="0" dirty="0"/>
              <a:t>Trzeci poziom tekstu</a:t>
            </a:r>
          </a:p>
          <a:p>
            <a:pPr lvl="3"/>
            <a:r>
              <a:rPr lang="pl-PL" noProof="0" dirty="0"/>
              <a:t>Czwarty poziom tekstu</a:t>
            </a:r>
          </a:p>
          <a:p>
            <a:pPr lvl="4"/>
            <a:r>
              <a:rPr lang="pl-PL" noProof="0" dirty="0"/>
              <a:t>Piąty poziom tekstu</a:t>
            </a:r>
          </a:p>
        </p:txBody>
      </p:sp>
      <p:pic>
        <p:nvPicPr>
          <p:cNvPr id="15" name="Picture 2" descr="\\casnas100\dfs_root\Commun\Commun160\DCG-CM\Marque\Logos\Frise marques et Picto groupe\Frise Groupe\Logo groupe CA\E_Bloc_marque\E_CAGroup_BlocMarqueHorizontal-EN\3-BUREAUTIQUE\20151738E_CAGroup_BMH-EN_RVB.png"/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36427" y="6404129"/>
            <a:ext cx="1970475" cy="244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924311" y="6480335"/>
            <a:ext cx="659188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733" baseline="0">
                <a:solidFill>
                  <a:schemeClr val="accent3"/>
                </a:solidFill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  <p:sp>
        <p:nvSpPr>
          <p:cNvPr id="23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 cap="all" baseline="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24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2040938" y="6480335"/>
            <a:ext cx="391321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733" b="0" cap="none" baseline="0">
                <a:solidFill>
                  <a:schemeClr val="accent3"/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25" name="ZoneTexte 8"/>
          <p:cNvSpPr txBox="1"/>
          <p:nvPr/>
        </p:nvSpPr>
        <p:spPr bwMode="gray">
          <a:xfrm>
            <a:off x="1624093" y="6480335"/>
            <a:ext cx="192021" cy="1127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733">
                <a:solidFill>
                  <a:schemeClr val="accent3"/>
                </a:solidFill>
              </a:rPr>
              <a:t>l</a:t>
            </a:r>
          </a:p>
        </p:txBody>
      </p:sp>
      <p:pic>
        <p:nvPicPr>
          <p:cNvPr id="26" name="Image 9" descr="logo_gauche.pdf"/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33561" y="6404130"/>
            <a:ext cx="288000" cy="199111"/>
          </a:xfrm>
          <a:prstGeom prst="rect">
            <a:avLst/>
          </a:prstGeom>
        </p:spPr>
      </p:pic>
      <p:sp>
        <p:nvSpPr>
          <p:cNvPr id="29" name="Forme libre 32"/>
          <p:cNvSpPr/>
          <p:nvPr/>
        </p:nvSpPr>
        <p:spPr>
          <a:xfrm>
            <a:off x="340220" y="32502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1960 h 4392000"/>
              <a:gd name="connsiteX5" fmla="*/ 8844375 w 8892000"/>
              <a:gd name="connsiteY5" fmla="*/ 21960 h 4392000"/>
              <a:gd name="connsiteX6" fmla="*/ 8600970 w 8892000"/>
              <a:gd name="connsiteY6" fmla="*/ 21960 h 4392000"/>
              <a:gd name="connsiteX7" fmla="*/ 5824949 w 8892000"/>
              <a:gd name="connsiteY7" fmla="*/ 21960 h 4392000"/>
              <a:gd name="connsiteX8" fmla="*/ 5280375 w 8892000"/>
              <a:gd name="connsiteY8" fmla="*/ 21960 h 4392000"/>
              <a:gd name="connsiteX9" fmla="*/ 284701 w 8892000"/>
              <a:gd name="connsiteY9" fmla="*/ 21960 h 4392000"/>
              <a:gd name="connsiteX10" fmla="*/ 41295 w 8892000"/>
              <a:gd name="connsiteY10" fmla="*/ 265365 h 4392000"/>
              <a:gd name="connsiteX11" fmla="*/ 41295 w 8892000"/>
              <a:gd name="connsiteY11" fmla="*/ 4126635 h 4392000"/>
              <a:gd name="connsiteX12" fmla="*/ 284701 w 8892000"/>
              <a:gd name="connsiteY12" fmla="*/ 4370040 h 4392000"/>
              <a:gd name="connsiteX13" fmla="*/ 5280375 w 8892000"/>
              <a:gd name="connsiteY13" fmla="*/ 4370040 h 4392000"/>
              <a:gd name="connsiteX14" fmla="*/ 5824949 w 8892000"/>
              <a:gd name="connsiteY14" fmla="*/ 4370040 h 4392000"/>
              <a:gd name="connsiteX15" fmla="*/ 5824949 w 8892000"/>
              <a:gd name="connsiteY15" fmla="*/ 4370760 h 4392000"/>
              <a:gd name="connsiteX16" fmla="*/ 8892000 w 8892000"/>
              <a:gd name="connsiteY16" fmla="*/ 4370760 h 4392000"/>
              <a:gd name="connsiteX17" fmla="*/ 8892000 w 8892000"/>
              <a:gd name="connsiteY17" fmla="*/ 4392000 h 4392000"/>
              <a:gd name="connsiteX18" fmla="*/ 8646136 w 8892000"/>
              <a:gd name="connsiteY18" fmla="*/ 4392000 h 4392000"/>
              <a:gd name="connsiteX19" fmla="*/ 5292000 w 8892000"/>
              <a:gd name="connsiteY19" fmla="*/ 4392000 h 4392000"/>
              <a:gd name="connsiteX20" fmla="*/ 245864 w 8892000"/>
              <a:gd name="connsiteY20" fmla="*/ 4392000 h 4392000"/>
              <a:gd name="connsiteX21" fmla="*/ 0 w 8892000"/>
              <a:gd name="connsiteY21" fmla="*/ 4146136 h 4392000"/>
              <a:gd name="connsiteX22" fmla="*/ 0 w 8892000"/>
              <a:gd name="connsiteY22" fmla="*/ 245864 h 4392000"/>
              <a:gd name="connsiteX23" fmla="*/ 245864 w 8892000"/>
              <a:gd name="connsiteY23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1960"/>
                </a:lnTo>
                <a:lnTo>
                  <a:pt x="8844375" y="21960"/>
                </a:lnTo>
                <a:lnTo>
                  <a:pt x="8600970" y="21960"/>
                </a:lnTo>
                <a:lnTo>
                  <a:pt x="5824949" y="21960"/>
                </a:lnTo>
                <a:lnTo>
                  <a:pt x="5280375" y="21960"/>
                </a:lnTo>
                <a:lnTo>
                  <a:pt x="284701" y="21960"/>
                </a:lnTo>
                <a:cubicBezTo>
                  <a:pt x="150271" y="21960"/>
                  <a:pt x="41295" y="130936"/>
                  <a:pt x="41295" y="265365"/>
                </a:cubicBezTo>
                <a:lnTo>
                  <a:pt x="41295" y="4126635"/>
                </a:lnTo>
                <a:cubicBezTo>
                  <a:pt x="41295" y="4261064"/>
                  <a:pt x="150271" y="4370040"/>
                  <a:pt x="284701" y="4370040"/>
                </a:cubicBezTo>
                <a:lnTo>
                  <a:pt x="5280375" y="4370040"/>
                </a:lnTo>
                <a:lnTo>
                  <a:pt x="5824949" y="4370040"/>
                </a:lnTo>
                <a:lnTo>
                  <a:pt x="5824949" y="4370760"/>
                </a:lnTo>
                <a:lnTo>
                  <a:pt x="8892000" y="4370760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2" name="ZoneTexte 8"/>
          <p:cNvSpPr txBox="1"/>
          <p:nvPr userDrawn="1"/>
        </p:nvSpPr>
        <p:spPr bwMode="gray">
          <a:xfrm>
            <a:off x="1624093" y="6480335"/>
            <a:ext cx="192021" cy="1127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733">
                <a:solidFill>
                  <a:schemeClr val="accent3"/>
                </a:solidFill>
              </a:rPr>
              <a:t>l</a:t>
            </a:r>
          </a:p>
        </p:txBody>
      </p:sp>
      <p:pic>
        <p:nvPicPr>
          <p:cNvPr id="13" name="Image 9" descr="logo_gauche.pdf"/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33561" y="6404130"/>
            <a:ext cx="288000" cy="199111"/>
          </a:xfrm>
          <a:prstGeom prst="rect">
            <a:avLst/>
          </a:prstGeom>
        </p:spPr>
      </p:pic>
      <p:sp>
        <p:nvSpPr>
          <p:cNvPr id="14" name="Forme libre 32"/>
          <p:cNvSpPr/>
          <p:nvPr userDrawn="1"/>
        </p:nvSpPr>
        <p:spPr>
          <a:xfrm>
            <a:off x="340220" y="32502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1960 h 4392000"/>
              <a:gd name="connsiteX5" fmla="*/ 8844375 w 8892000"/>
              <a:gd name="connsiteY5" fmla="*/ 21960 h 4392000"/>
              <a:gd name="connsiteX6" fmla="*/ 8600970 w 8892000"/>
              <a:gd name="connsiteY6" fmla="*/ 21960 h 4392000"/>
              <a:gd name="connsiteX7" fmla="*/ 5824949 w 8892000"/>
              <a:gd name="connsiteY7" fmla="*/ 21960 h 4392000"/>
              <a:gd name="connsiteX8" fmla="*/ 5280375 w 8892000"/>
              <a:gd name="connsiteY8" fmla="*/ 21960 h 4392000"/>
              <a:gd name="connsiteX9" fmla="*/ 284701 w 8892000"/>
              <a:gd name="connsiteY9" fmla="*/ 21960 h 4392000"/>
              <a:gd name="connsiteX10" fmla="*/ 41295 w 8892000"/>
              <a:gd name="connsiteY10" fmla="*/ 265365 h 4392000"/>
              <a:gd name="connsiteX11" fmla="*/ 41295 w 8892000"/>
              <a:gd name="connsiteY11" fmla="*/ 4126635 h 4392000"/>
              <a:gd name="connsiteX12" fmla="*/ 284701 w 8892000"/>
              <a:gd name="connsiteY12" fmla="*/ 4370040 h 4392000"/>
              <a:gd name="connsiteX13" fmla="*/ 5280375 w 8892000"/>
              <a:gd name="connsiteY13" fmla="*/ 4370040 h 4392000"/>
              <a:gd name="connsiteX14" fmla="*/ 5824949 w 8892000"/>
              <a:gd name="connsiteY14" fmla="*/ 4370040 h 4392000"/>
              <a:gd name="connsiteX15" fmla="*/ 5824949 w 8892000"/>
              <a:gd name="connsiteY15" fmla="*/ 4370760 h 4392000"/>
              <a:gd name="connsiteX16" fmla="*/ 8892000 w 8892000"/>
              <a:gd name="connsiteY16" fmla="*/ 4370760 h 4392000"/>
              <a:gd name="connsiteX17" fmla="*/ 8892000 w 8892000"/>
              <a:gd name="connsiteY17" fmla="*/ 4392000 h 4392000"/>
              <a:gd name="connsiteX18" fmla="*/ 8646136 w 8892000"/>
              <a:gd name="connsiteY18" fmla="*/ 4392000 h 4392000"/>
              <a:gd name="connsiteX19" fmla="*/ 5292000 w 8892000"/>
              <a:gd name="connsiteY19" fmla="*/ 4392000 h 4392000"/>
              <a:gd name="connsiteX20" fmla="*/ 245864 w 8892000"/>
              <a:gd name="connsiteY20" fmla="*/ 4392000 h 4392000"/>
              <a:gd name="connsiteX21" fmla="*/ 0 w 8892000"/>
              <a:gd name="connsiteY21" fmla="*/ 4146136 h 4392000"/>
              <a:gd name="connsiteX22" fmla="*/ 0 w 8892000"/>
              <a:gd name="connsiteY22" fmla="*/ 245864 h 4392000"/>
              <a:gd name="connsiteX23" fmla="*/ 245864 w 8892000"/>
              <a:gd name="connsiteY23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1960"/>
                </a:lnTo>
                <a:lnTo>
                  <a:pt x="8844375" y="21960"/>
                </a:lnTo>
                <a:lnTo>
                  <a:pt x="8600970" y="21960"/>
                </a:lnTo>
                <a:lnTo>
                  <a:pt x="5824949" y="21960"/>
                </a:lnTo>
                <a:lnTo>
                  <a:pt x="5280375" y="21960"/>
                </a:lnTo>
                <a:lnTo>
                  <a:pt x="284701" y="21960"/>
                </a:lnTo>
                <a:cubicBezTo>
                  <a:pt x="150271" y="21960"/>
                  <a:pt x="41295" y="130936"/>
                  <a:pt x="41295" y="265365"/>
                </a:cubicBezTo>
                <a:lnTo>
                  <a:pt x="41295" y="4126635"/>
                </a:lnTo>
                <a:cubicBezTo>
                  <a:pt x="41295" y="4261064"/>
                  <a:pt x="150271" y="4370040"/>
                  <a:pt x="284701" y="4370040"/>
                </a:cubicBezTo>
                <a:lnTo>
                  <a:pt x="5280375" y="4370040"/>
                </a:lnTo>
                <a:lnTo>
                  <a:pt x="5824949" y="4370040"/>
                </a:lnTo>
                <a:lnTo>
                  <a:pt x="5824949" y="4370760"/>
                </a:lnTo>
                <a:lnTo>
                  <a:pt x="8892000" y="4370760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24868574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</p:sldLayoutIdLst>
  <p:hf hdr="0"/>
  <p:txStyles>
    <p:titleStyle>
      <a:lvl1pPr algn="l" defTabSz="914341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3733" b="1" kern="1200" cap="none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59991" indent="-359991" algn="l" defTabSz="914341" rtl="0" eaLnBrk="1" latinLnBrk="0" hangingPunct="1">
        <a:lnSpc>
          <a:spcPct val="82000"/>
        </a:lnSpc>
        <a:spcBef>
          <a:spcPts val="0"/>
        </a:spcBef>
        <a:spcAft>
          <a:spcPts val="1600"/>
        </a:spcAft>
        <a:buSzPct val="80000"/>
        <a:buFont typeface="Wingdings" pitchFamily="2" charset="2"/>
        <a:buChar char="n"/>
        <a:defRPr sz="1867" b="1" kern="1200" cap="none" baseline="0">
          <a:solidFill>
            <a:schemeClr val="accent1"/>
          </a:solidFill>
          <a:latin typeface="+mn-lt"/>
          <a:ea typeface="+mn-ea"/>
          <a:cs typeface="+mn-cs"/>
        </a:defRPr>
      </a:lvl1pPr>
      <a:lvl2pPr marL="815980" indent="-239994" algn="l" defTabSz="914341" rtl="0" eaLnBrk="1" latinLnBrk="0" hangingPunct="1">
        <a:lnSpc>
          <a:spcPct val="82000"/>
        </a:lnSpc>
        <a:spcBef>
          <a:spcPts val="0"/>
        </a:spcBef>
        <a:spcAft>
          <a:spcPts val="1600"/>
        </a:spcAft>
        <a:buSzPct val="100000"/>
        <a:buFont typeface="Wingdings" pitchFamily="2" charset="2"/>
        <a:buChar char="§"/>
        <a:defRPr sz="1867" kern="1200" cap="none">
          <a:solidFill>
            <a:schemeClr val="tx1"/>
          </a:solidFill>
          <a:latin typeface="+mn-lt"/>
          <a:ea typeface="+mn-ea"/>
          <a:cs typeface="+mn-cs"/>
        </a:defRPr>
      </a:lvl2pPr>
      <a:lvl3pPr marL="1391965" indent="-239994" algn="l" defTabSz="914341" rtl="0" eaLnBrk="1" latinLnBrk="0" hangingPunct="1">
        <a:lnSpc>
          <a:spcPct val="82000"/>
        </a:lnSpc>
        <a:spcBef>
          <a:spcPts val="0"/>
        </a:spcBef>
        <a:spcAft>
          <a:spcPts val="1600"/>
        </a:spcAft>
        <a:buClr>
          <a:schemeClr val="accent3"/>
        </a:buClr>
        <a:buSzPct val="100000"/>
        <a:buFont typeface="Wingdings" pitchFamily="2" charset="2"/>
        <a:buChar char="§"/>
        <a:defRPr sz="1867" kern="1200" cap="none">
          <a:solidFill>
            <a:schemeClr val="accent3"/>
          </a:solidFill>
          <a:latin typeface="+mn-lt"/>
          <a:ea typeface="+mn-ea"/>
          <a:cs typeface="+mn-cs"/>
        </a:defRPr>
      </a:lvl3pPr>
      <a:lvl4pPr marL="1967951" indent="-239994" algn="l" defTabSz="914341" rtl="0" eaLnBrk="1" latinLnBrk="0" hangingPunct="1">
        <a:lnSpc>
          <a:spcPct val="82000"/>
        </a:lnSpc>
        <a:spcBef>
          <a:spcPts val="0"/>
        </a:spcBef>
        <a:spcAft>
          <a:spcPts val="1600"/>
        </a:spcAft>
        <a:buClr>
          <a:schemeClr val="accent1"/>
        </a:buClr>
        <a:buSzPct val="100000"/>
        <a:buFont typeface="Wingdings" pitchFamily="2" charset="2"/>
        <a:buChar char="§"/>
        <a:defRPr sz="1867" b="0" kern="1200" cap="none" baseline="0">
          <a:solidFill>
            <a:schemeClr val="tx1"/>
          </a:solidFill>
          <a:latin typeface="+mn-lt"/>
          <a:ea typeface="+mn-ea"/>
          <a:cs typeface="+mn-cs"/>
        </a:defRPr>
      </a:lvl4pPr>
      <a:lvl5pPr marL="2543936" indent="-239994" algn="l" defTabSz="914341" rtl="0" eaLnBrk="1" latinLnBrk="0" hangingPunct="1">
        <a:lnSpc>
          <a:spcPct val="95000"/>
        </a:lnSpc>
        <a:spcBef>
          <a:spcPts val="0"/>
        </a:spcBef>
        <a:spcAft>
          <a:spcPts val="1600"/>
        </a:spcAft>
        <a:buClr>
          <a:schemeClr val="accent1"/>
        </a:buClr>
        <a:buSzPct val="100000"/>
        <a:buFont typeface="Wingdings" pitchFamily="2" charset="2"/>
        <a:buChar char="§"/>
        <a:defRPr sz="1867" kern="1200" cap="none">
          <a:solidFill>
            <a:schemeClr val="tx1"/>
          </a:solidFill>
          <a:latin typeface="+mn-lt"/>
          <a:ea typeface="+mn-ea"/>
          <a:cs typeface="+mn-cs"/>
        </a:defRPr>
      </a:lvl5pPr>
      <a:lvl6pPr marL="2514436" indent="-228585" algn="l" defTabSz="91434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7" indent="-228585" algn="l" defTabSz="91434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77" indent="-228585" algn="l" defTabSz="91434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47" indent="-228585" algn="l" defTabSz="91434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1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1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1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2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2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2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3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4708">
          <p15:clr>
            <a:srgbClr val="F26B43"/>
          </p15:clr>
        </p15:guide>
        <p15:guide id="3" pos="1837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9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2" imgW="270" imgH="270" progId="TCLayout.ActiveDocument.1">
                  <p:embed/>
                </p:oleObj>
              </mc:Choice>
              <mc:Fallback>
                <p:oleObj name="think-cell Slide" r:id="rId7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3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B7B6533-99DD-4506-B0FA-6E9B1250F162}"/>
              </a:ext>
            </a:extLst>
          </p:cNvPr>
          <p:cNvSpPr/>
          <p:nvPr>
            <p:custDataLst>
              <p:tags r:id="rId70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1" y="622802"/>
            <a:ext cx="10933351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1" y="1825625"/>
            <a:ext cx="10933351" cy="43513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graphicFrame>
        <p:nvGraphicFramePr>
          <p:cNvPr id="8" name="Obiekt 7" hidden="1"/>
          <p:cNvGraphicFramePr>
            <a:graphicFrameLocks noChangeAspect="1"/>
          </p:cNvGraphicFramePr>
          <p:nvPr userDrawn="1">
            <p:custDataLst>
              <p:tags r:id="rId7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4" imgW="523" imgH="499" progId="TCLayout.ActiveDocument.1">
                  <p:embed/>
                </p:oleObj>
              </mc:Choice>
              <mc:Fallback>
                <p:oleObj name="think-cell Slide" r:id="rId74" imgW="523" imgH="499" progId="TCLayout.ActiveDocument.1">
                  <p:embed/>
                  <p:pic>
                    <p:nvPicPr>
                      <p:cNvPr id="8" name="Obiekt 7" hidden="1"/>
                      <p:cNvPicPr/>
                      <p:nvPr/>
                    </p:nvPicPr>
                    <p:blipFill>
                      <a:blip r:embed="rId7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ymbol zastępczy numeru slajdu 5"/>
          <p:cNvSpPr>
            <a:spLocks noGrp="1"/>
          </p:cNvSpPr>
          <p:nvPr>
            <p:ph type="sldNum" sz="quarter" idx="4"/>
          </p:nvPr>
        </p:nvSpPr>
        <p:spPr>
          <a:xfrm>
            <a:off x="11732546" y="6492875"/>
            <a:ext cx="2743200" cy="365125"/>
          </a:xfrm>
          <a:prstGeom prst="rect">
            <a:avLst/>
          </a:prstGeom>
        </p:spPr>
        <p:txBody>
          <a:bodyPr/>
          <a:lstStyle/>
          <a:p>
            <a:fld id="{31DB095D-7733-4F8B-BC34-59D470EFC6A7}" type="slidenum">
              <a:rPr lang="pl-PL" smtClean="0"/>
              <a:t>‹N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510484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58" r:id="rId19"/>
    <p:sldLayoutId id="2147483759" r:id="rId20"/>
    <p:sldLayoutId id="2147483760" r:id="rId21"/>
    <p:sldLayoutId id="2147483761" r:id="rId22"/>
    <p:sldLayoutId id="2147483762" r:id="rId23"/>
    <p:sldLayoutId id="2147483763" r:id="rId24"/>
    <p:sldLayoutId id="2147483764" r:id="rId25"/>
    <p:sldLayoutId id="2147483765" r:id="rId26"/>
    <p:sldLayoutId id="2147483766" r:id="rId27"/>
    <p:sldLayoutId id="2147483767" r:id="rId28"/>
    <p:sldLayoutId id="2147483768" r:id="rId29"/>
    <p:sldLayoutId id="2147483769" r:id="rId30"/>
    <p:sldLayoutId id="2147483770" r:id="rId31"/>
    <p:sldLayoutId id="2147483771" r:id="rId32"/>
    <p:sldLayoutId id="2147483772" r:id="rId33"/>
    <p:sldLayoutId id="2147483773" r:id="rId34"/>
    <p:sldLayoutId id="2147483774" r:id="rId35"/>
    <p:sldLayoutId id="2147483775" r:id="rId36"/>
    <p:sldLayoutId id="2147483776" r:id="rId37"/>
    <p:sldLayoutId id="2147483777" r:id="rId38"/>
    <p:sldLayoutId id="2147483778" r:id="rId39"/>
    <p:sldLayoutId id="2147483779" r:id="rId40"/>
    <p:sldLayoutId id="2147483780" r:id="rId41"/>
    <p:sldLayoutId id="2147483781" r:id="rId42"/>
    <p:sldLayoutId id="2147483782" r:id="rId43"/>
    <p:sldLayoutId id="2147483783" r:id="rId44"/>
    <p:sldLayoutId id="2147483784" r:id="rId45"/>
    <p:sldLayoutId id="2147483785" r:id="rId46"/>
    <p:sldLayoutId id="2147483786" r:id="rId47"/>
    <p:sldLayoutId id="2147483787" r:id="rId48"/>
    <p:sldLayoutId id="2147483788" r:id="rId49"/>
    <p:sldLayoutId id="2147483789" r:id="rId50"/>
    <p:sldLayoutId id="2147483790" r:id="rId51"/>
    <p:sldLayoutId id="2147483791" r:id="rId52"/>
    <p:sldLayoutId id="2147483792" r:id="rId53"/>
    <p:sldLayoutId id="2147483793" r:id="rId54"/>
    <p:sldLayoutId id="2147483794" r:id="rId55"/>
    <p:sldLayoutId id="2147483795" r:id="rId56"/>
    <p:sldLayoutId id="2147483796" r:id="rId57"/>
    <p:sldLayoutId id="2147483797" r:id="rId58"/>
    <p:sldLayoutId id="2147483798" r:id="rId59"/>
    <p:sldLayoutId id="2147483799" r:id="rId60"/>
    <p:sldLayoutId id="2147483800" r:id="rId61"/>
    <p:sldLayoutId id="2147483801" r:id="rId62"/>
    <p:sldLayoutId id="2147483802" r:id="rId63"/>
    <p:sldLayoutId id="2147483803" r:id="rId64"/>
    <p:sldLayoutId id="2147483804" r:id="rId65"/>
    <p:sldLayoutId id="2147483805" r:id="rId66"/>
    <p:sldLayoutId id="2147483806" r:id="rId6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377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84393" indent="-172796" algn="l" defTabSz="914377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11187" indent="-165596" algn="l" defTabSz="914377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914377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69868" indent="-152396" algn="l" defTabSz="914377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914377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914377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  <p15:guide id="5" orient="horz" pos="1620">
          <p15:clr>
            <a:srgbClr val="F26B43"/>
          </p15:clr>
        </p15:guide>
        <p15:guide id="6" pos="4708">
          <p15:clr>
            <a:srgbClr val="F26B43"/>
          </p15:clr>
        </p15:guide>
        <p15:guide id="7" pos="1837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7841DC6-0250-42B4-819E-D14B80B33F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09" imgH="309" progId="TCLayout.ActiveDocument.1">
                  <p:embed/>
                </p:oleObj>
              </mc:Choice>
              <mc:Fallback>
                <p:oleObj name="think-cell Slide" r:id="rId21" imgW="309" imgH="3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7841DC6-0250-42B4-819E-D14B80B33F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660401" y="457200"/>
            <a:ext cx="11034187" cy="13876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pl-PL" noProof="0" dirty="0"/>
              <a:t>Tytuł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660400" y="2006622"/>
            <a:ext cx="11034184" cy="40195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pl-PL" noProof="0" dirty="0"/>
              <a:t>Pierwszy poziom tekstu</a:t>
            </a:r>
          </a:p>
          <a:p>
            <a:pPr lvl="1"/>
            <a:r>
              <a:rPr lang="pl-PL" noProof="0" dirty="0"/>
              <a:t>Drugi poziom tekstu</a:t>
            </a:r>
          </a:p>
          <a:p>
            <a:pPr lvl="2"/>
            <a:r>
              <a:rPr lang="pl-PL" noProof="0" dirty="0"/>
              <a:t>Trzeci poziom tekstu</a:t>
            </a:r>
          </a:p>
          <a:p>
            <a:pPr lvl="3"/>
            <a:r>
              <a:rPr lang="pl-PL" noProof="0" dirty="0"/>
              <a:t>Czwarty poziom tekstu</a:t>
            </a:r>
          </a:p>
          <a:p>
            <a:pPr lvl="4"/>
            <a:r>
              <a:rPr lang="pl-PL" noProof="0" dirty="0"/>
              <a:t>Piąty poziom tekstu</a:t>
            </a:r>
          </a:p>
        </p:txBody>
      </p:sp>
      <p:pic>
        <p:nvPicPr>
          <p:cNvPr id="15" name="Picture 2" descr="\\casnas100\dfs_root\Commun\Commun160\DCG-CM\Marque\Logos\Frise marques et Picto groupe\Frise Groupe\Logo groupe CA\E_Bloc_marque\E_CAGroup_BlocMarqueHorizontal-EN\3-BUREAUTIQUE\20151738E_CAGroup_BMH-EN_RVB.png"/>
          <p:cNvPicPr>
            <a:picLocks noChangeAspect="1" noChangeArrowheads="1"/>
          </p:cNvPicPr>
          <p:nvPr/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5" r="95"/>
          <a:stretch/>
        </p:blipFill>
        <p:spPr bwMode="auto">
          <a:xfrm>
            <a:off x="9936428" y="6404129"/>
            <a:ext cx="1970475" cy="244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 cap="all" baseline="0">
                <a:solidFill>
                  <a:schemeClr val="tx1">
                    <a:alpha val="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fr-FR"/>
          </a:p>
        </p:txBody>
      </p:sp>
      <p:pic>
        <p:nvPicPr>
          <p:cNvPr id="26" name="Image 9" descr="logo_gauche.pdf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33561" y="6404131"/>
            <a:ext cx="288000" cy="199111"/>
          </a:xfrm>
          <a:prstGeom prst="rect">
            <a:avLst/>
          </a:prstGeom>
        </p:spPr>
      </p:pic>
      <p:pic>
        <p:nvPicPr>
          <p:cNvPr id="13" name="Image 9" descr="logo_gauche.pdf"/>
          <p:cNvPicPr>
            <a:picLocks noChangeAspect="1"/>
          </p:cNvPicPr>
          <p:nvPr userDrawn="1"/>
        </p:nvPicPr>
        <p:blipFill rotWithShape="1"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333561" y="6404131"/>
            <a:ext cx="288000" cy="199111"/>
          </a:xfrm>
          <a:prstGeom prst="rect">
            <a:avLst/>
          </a:prstGeom>
        </p:spPr>
      </p:pic>
      <p:sp>
        <p:nvSpPr>
          <p:cNvPr id="28" name="Espace réservé du numéro de diapositive 5"/>
          <p:cNvSpPr txBox="1">
            <a:spLocks/>
          </p:cNvSpPr>
          <p:nvPr userDrawn="1"/>
        </p:nvSpPr>
        <p:spPr bwMode="gray">
          <a:xfrm>
            <a:off x="2040940" y="6480335"/>
            <a:ext cx="391321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733" b="0" kern="1200" cap="none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67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C140CD-8AED-46FF-A9A2-77308F3F39AE}" type="slidenum">
              <a:rPr kumimoji="0" lang="fr-FR" sz="733" b="0" i="0" u="none" strike="noStrike" kern="1200" cap="none" spc="0" normalizeH="0" baseline="0" noProof="0" smtClean="0">
                <a:ln>
                  <a:noFill/>
                </a:ln>
                <a:solidFill>
                  <a:srgbClr val="7E93A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4675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fr-FR" sz="733" b="0" i="0" u="none" strike="noStrike" kern="1200" cap="none" spc="0" normalizeH="0" baseline="0" noProof="0">
              <a:ln>
                <a:noFill/>
              </a:ln>
              <a:solidFill>
                <a:srgbClr val="7E93A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3664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8" r:id="rId1"/>
    <p:sldLayoutId id="2147483809" r:id="rId2"/>
    <p:sldLayoutId id="2147483810" r:id="rId3"/>
    <p:sldLayoutId id="2147483811" r:id="rId4"/>
    <p:sldLayoutId id="2147483812" r:id="rId5"/>
    <p:sldLayoutId id="2147483813" r:id="rId6"/>
    <p:sldLayoutId id="2147483814" r:id="rId7"/>
    <p:sldLayoutId id="2147483815" r:id="rId8"/>
    <p:sldLayoutId id="2147483816" r:id="rId9"/>
    <p:sldLayoutId id="2147483817" r:id="rId10"/>
    <p:sldLayoutId id="2147483818" r:id="rId11"/>
    <p:sldLayoutId id="2147483819" r:id="rId12"/>
    <p:sldLayoutId id="2147483820" r:id="rId13"/>
    <p:sldLayoutId id="2147483821" r:id="rId14"/>
    <p:sldLayoutId id="2147483822" r:id="rId15"/>
    <p:sldLayoutId id="2147483823" r:id="rId16"/>
    <p:sldLayoutId id="2147483824" r:id="rId17"/>
    <p:sldLayoutId id="2147483825" r:id="rId18"/>
  </p:sldLayoutIdLst>
  <p:hf hdr="0"/>
  <p:txStyles>
    <p:titleStyle>
      <a:lvl1pPr algn="l" defTabSz="914318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3600" b="1" kern="1200" cap="none" baseline="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359982" indent="-359982" algn="l" defTabSz="914318" rtl="0" eaLnBrk="1" latinLnBrk="0" hangingPunct="1">
        <a:lnSpc>
          <a:spcPct val="82000"/>
        </a:lnSpc>
        <a:spcBef>
          <a:spcPts val="0"/>
        </a:spcBef>
        <a:spcAft>
          <a:spcPts val="1200"/>
        </a:spcAft>
        <a:buSzPct val="80000"/>
        <a:buFont typeface="Wingdings" pitchFamily="2" charset="2"/>
        <a:buChar char="n"/>
        <a:defRPr sz="1800" b="1" kern="1200" cap="none" baseline="0">
          <a:solidFill>
            <a:schemeClr val="accent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815960" indent="-239989" algn="l" defTabSz="914318" rtl="0" eaLnBrk="1" latinLnBrk="0" hangingPunct="1">
        <a:lnSpc>
          <a:spcPct val="82000"/>
        </a:lnSpc>
        <a:spcBef>
          <a:spcPts val="0"/>
        </a:spcBef>
        <a:spcAft>
          <a:spcPts val="1200"/>
        </a:spcAft>
        <a:buSzPct val="100000"/>
        <a:buFont typeface="Wingdings" pitchFamily="2" charset="2"/>
        <a:buChar char="§"/>
        <a:defRPr sz="1800" kern="1200" cap="none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1391931" indent="-239989" algn="l" defTabSz="914318" rtl="0" eaLnBrk="1" latinLnBrk="0" hangingPunct="1">
        <a:lnSpc>
          <a:spcPct val="82000"/>
        </a:lnSpc>
        <a:spcBef>
          <a:spcPts val="0"/>
        </a:spcBef>
        <a:spcAft>
          <a:spcPts val="1200"/>
        </a:spcAft>
        <a:buClr>
          <a:schemeClr val="accent3"/>
        </a:buClr>
        <a:buSzPct val="100000"/>
        <a:buFont typeface="Wingdings" pitchFamily="2" charset="2"/>
        <a:buChar char="§"/>
        <a:defRPr sz="1800" kern="1200" cap="none">
          <a:solidFill>
            <a:schemeClr val="accent3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1967901" indent="-239989" algn="l" defTabSz="914318" rtl="0" eaLnBrk="1" latinLnBrk="0" hangingPunct="1">
        <a:lnSpc>
          <a:spcPct val="82000"/>
        </a:lnSpc>
        <a:spcBef>
          <a:spcPts val="0"/>
        </a:spcBef>
        <a:spcAft>
          <a:spcPts val="1200"/>
        </a:spcAft>
        <a:buClr>
          <a:schemeClr val="accent1"/>
        </a:buClr>
        <a:buSzPct val="100000"/>
        <a:buFont typeface="Wingdings" pitchFamily="2" charset="2"/>
        <a:buChar char="§"/>
        <a:defRPr sz="1800" b="0" kern="1200" cap="none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2543872" indent="-239989" algn="l" defTabSz="914318" rtl="0" eaLnBrk="1" latinLnBrk="0" hangingPunct="1">
        <a:lnSpc>
          <a:spcPct val="95000"/>
        </a:lnSpc>
        <a:spcBef>
          <a:spcPts val="0"/>
        </a:spcBef>
        <a:spcAft>
          <a:spcPts val="1200"/>
        </a:spcAft>
        <a:buClr>
          <a:schemeClr val="accent1"/>
        </a:buClr>
        <a:buSzPct val="100000"/>
        <a:buFont typeface="Wingdings" pitchFamily="2" charset="2"/>
        <a:buChar char="§"/>
        <a:defRPr sz="1800" kern="1200" cap="none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514373" indent="-228580" algn="l" defTabSz="91431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32" indent="-228580" algn="l" defTabSz="91431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92" indent="-228580" algn="l" defTabSz="91431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50" indent="-228580" algn="l" defTabSz="91431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9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8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6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36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95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54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12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71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6277">
          <p15:clr>
            <a:srgbClr val="F26B43"/>
          </p15:clr>
        </p15:guide>
        <p15:guide id="3" pos="2449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2255574" y="381000"/>
            <a:ext cx="9439013" cy="14638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pl-PL" noProof="0" dirty="0"/>
              <a:t>Tytuł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2255573" y="2006621"/>
            <a:ext cx="9439011" cy="40195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pl-PL" noProof="0" dirty="0"/>
              <a:t>Pierwszy poziom tekstu</a:t>
            </a:r>
          </a:p>
          <a:p>
            <a:pPr lvl="1"/>
            <a:r>
              <a:rPr lang="pl-PL" noProof="0" dirty="0"/>
              <a:t>Drugi poziom tekstu</a:t>
            </a:r>
          </a:p>
          <a:p>
            <a:pPr lvl="2"/>
            <a:r>
              <a:rPr lang="pl-PL" noProof="0" dirty="0"/>
              <a:t>Trzeci poziom tekstu</a:t>
            </a:r>
          </a:p>
          <a:p>
            <a:pPr lvl="3"/>
            <a:r>
              <a:rPr lang="pl-PL" noProof="0" dirty="0"/>
              <a:t>Czwarty poziom tekstu</a:t>
            </a:r>
          </a:p>
          <a:p>
            <a:pPr lvl="4"/>
            <a:r>
              <a:rPr lang="pl-PL" noProof="0" dirty="0"/>
              <a:t>Piąty poziom tekstu</a:t>
            </a:r>
          </a:p>
        </p:txBody>
      </p:sp>
      <p:pic>
        <p:nvPicPr>
          <p:cNvPr id="15" name="Picture 2" descr="\\casnas100\dfs_root\Commun\Commun160\DCG-CM\Marque\Logos\Frise marques et Picto groupe\Frise Groupe\Logo groupe CA\E_Bloc_marque\E_CAGroup_BlocMarqueHorizontal-EN\3-BUREAUTIQUE\20151738E_CAGroup_BMH-EN_RVB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36427" y="6404129"/>
            <a:ext cx="1970475" cy="244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924311" y="6480335"/>
            <a:ext cx="659188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733" baseline="0">
                <a:solidFill>
                  <a:schemeClr val="accent3"/>
                </a:solidFill>
              </a:defRPr>
            </a:lvl1pPr>
          </a:lstStyle>
          <a:p>
            <a:fld id="{F5A1E3C4-625B-4EFA-ADA7-C7500A7CDA54}" type="datetime1">
              <a:rPr lang="pl-PL" smtClean="0"/>
              <a:t>09.03.2026</a:t>
            </a:fld>
            <a:endParaRPr lang="fr-FR"/>
          </a:p>
        </p:txBody>
      </p:sp>
      <p:sp>
        <p:nvSpPr>
          <p:cNvPr id="23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 cap="all" baseline="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24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2040938" y="6480335"/>
            <a:ext cx="391321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733" b="0" cap="none" baseline="0">
                <a:solidFill>
                  <a:schemeClr val="accent3"/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25" name="ZoneTexte 8"/>
          <p:cNvSpPr txBox="1"/>
          <p:nvPr/>
        </p:nvSpPr>
        <p:spPr bwMode="gray">
          <a:xfrm>
            <a:off x="1624093" y="6480335"/>
            <a:ext cx="192021" cy="1127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733">
                <a:solidFill>
                  <a:schemeClr val="accent3"/>
                </a:solidFill>
              </a:rPr>
              <a:t>l</a:t>
            </a:r>
          </a:p>
        </p:txBody>
      </p:sp>
      <p:pic>
        <p:nvPicPr>
          <p:cNvPr id="26" name="Image 9" descr="logo_gauche.pdf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33561" y="6404130"/>
            <a:ext cx="288000" cy="199111"/>
          </a:xfrm>
          <a:prstGeom prst="rect">
            <a:avLst/>
          </a:prstGeom>
        </p:spPr>
      </p:pic>
      <p:sp>
        <p:nvSpPr>
          <p:cNvPr id="29" name="Forme libre 32"/>
          <p:cNvSpPr/>
          <p:nvPr/>
        </p:nvSpPr>
        <p:spPr>
          <a:xfrm>
            <a:off x="340220" y="32502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1960 h 4392000"/>
              <a:gd name="connsiteX5" fmla="*/ 8844375 w 8892000"/>
              <a:gd name="connsiteY5" fmla="*/ 21960 h 4392000"/>
              <a:gd name="connsiteX6" fmla="*/ 8600970 w 8892000"/>
              <a:gd name="connsiteY6" fmla="*/ 21960 h 4392000"/>
              <a:gd name="connsiteX7" fmla="*/ 5824949 w 8892000"/>
              <a:gd name="connsiteY7" fmla="*/ 21960 h 4392000"/>
              <a:gd name="connsiteX8" fmla="*/ 5280375 w 8892000"/>
              <a:gd name="connsiteY8" fmla="*/ 21960 h 4392000"/>
              <a:gd name="connsiteX9" fmla="*/ 284701 w 8892000"/>
              <a:gd name="connsiteY9" fmla="*/ 21960 h 4392000"/>
              <a:gd name="connsiteX10" fmla="*/ 41295 w 8892000"/>
              <a:gd name="connsiteY10" fmla="*/ 265365 h 4392000"/>
              <a:gd name="connsiteX11" fmla="*/ 41295 w 8892000"/>
              <a:gd name="connsiteY11" fmla="*/ 4126635 h 4392000"/>
              <a:gd name="connsiteX12" fmla="*/ 284701 w 8892000"/>
              <a:gd name="connsiteY12" fmla="*/ 4370040 h 4392000"/>
              <a:gd name="connsiteX13" fmla="*/ 5280375 w 8892000"/>
              <a:gd name="connsiteY13" fmla="*/ 4370040 h 4392000"/>
              <a:gd name="connsiteX14" fmla="*/ 5824949 w 8892000"/>
              <a:gd name="connsiteY14" fmla="*/ 4370040 h 4392000"/>
              <a:gd name="connsiteX15" fmla="*/ 5824949 w 8892000"/>
              <a:gd name="connsiteY15" fmla="*/ 4370760 h 4392000"/>
              <a:gd name="connsiteX16" fmla="*/ 8892000 w 8892000"/>
              <a:gd name="connsiteY16" fmla="*/ 4370760 h 4392000"/>
              <a:gd name="connsiteX17" fmla="*/ 8892000 w 8892000"/>
              <a:gd name="connsiteY17" fmla="*/ 4392000 h 4392000"/>
              <a:gd name="connsiteX18" fmla="*/ 8646136 w 8892000"/>
              <a:gd name="connsiteY18" fmla="*/ 4392000 h 4392000"/>
              <a:gd name="connsiteX19" fmla="*/ 5292000 w 8892000"/>
              <a:gd name="connsiteY19" fmla="*/ 4392000 h 4392000"/>
              <a:gd name="connsiteX20" fmla="*/ 245864 w 8892000"/>
              <a:gd name="connsiteY20" fmla="*/ 4392000 h 4392000"/>
              <a:gd name="connsiteX21" fmla="*/ 0 w 8892000"/>
              <a:gd name="connsiteY21" fmla="*/ 4146136 h 4392000"/>
              <a:gd name="connsiteX22" fmla="*/ 0 w 8892000"/>
              <a:gd name="connsiteY22" fmla="*/ 245864 h 4392000"/>
              <a:gd name="connsiteX23" fmla="*/ 245864 w 8892000"/>
              <a:gd name="connsiteY23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1960"/>
                </a:lnTo>
                <a:lnTo>
                  <a:pt x="8844375" y="21960"/>
                </a:lnTo>
                <a:lnTo>
                  <a:pt x="8600970" y="21960"/>
                </a:lnTo>
                <a:lnTo>
                  <a:pt x="5824949" y="21960"/>
                </a:lnTo>
                <a:lnTo>
                  <a:pt x="5280375" y="21960"/>
                </a:lnTo>
                <a:lnTo>
                  <a:pt x="284701" y="21960"/>
                </a:lnTo>
                <a:cubicBezTo>
                  <a:pt x="150271" y="21960"/>
                  <a:pt x="41295" y="130936"/>
                  <a:pt x="41295" y="265365"/>
                </a:cubicBezTo>
                <a:lnTo>
                  <a:pt x="41295" y="4126635"/>
                </a:lnTo>
                <a:cubicBezTo>
                  <a:pt x="41295" y="4261064"/>
                  <a:pt x="150271" y="4370040"/>
                  <a:pt x="284701" y="4370040"/>
                </a:cubicBezTo>
                <a:lnTo>
                  <a:pt x="5280375" y="4370040"/>
                </a:lnTo>
                <a:lnTo>
                  <a:pt x="5824949" y="4370040"/>
                </a:lnTo>
                <a:lnTo>
                  <a:pt x="5824949" y="4370760"/>
                </a:lnTo>
                <a:lnTo>
                  <a:pt x="8892000" y="4370760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2" name="ZoneTexte 8"/>
          <p:cNvSpPr txBox="1"/>
          <p:nvPr userDrawn="1"/>
        </p:nvSpPr>
        <p:spPr bwMode="gray">
          <a:xfrm>
            <a:off x="1624093" y="6480335"/>
            <a:ext cx="192021" cy="1127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733">
                <a:solidFill>
                  <a:schemeClr val="accent3"/>
                </a:solidFill>
              </a:rPr>
              <a:t>l</a:t>
            </a:r>
          </a:p>
        </p:txBody>
      </p:sp>
      <p:pic>
        <p:nvPicPr>
          <p:cNvPr id="13" name="Image 9" descr="logo_gauche.pdf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33561" y="6404130"/>
            <a:ext cx="288000" cy="199111"/>
          </a:xfrm>
          <a:prstGeom prst="rect">
            <a:avLst/>
          </a:prstGeom>
        </p:spPr>
      </p:pic>
      <p:sp>
        <p:nvSpPr>
          <p:cNvPr id="14" name="Forme libre 32"/>
          <p:cNvSpPr/>
          <p:nvPr userDrawn="1"/>
        </p:nvSpPr>
        <p:spPr>
          <a:xfrm>
            <a:off x="340220" y="32502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1960 h 4392000"/>
              <a:gd name="connsiteX5" fmla="*/ 8844375 w 8892000"/>
              <a:gd name="connsiteY5" fmla="*/ 21960 h 4392000"/>
              <a:gd name="connsiteX6" fmla="*/ 8600970 w 8892000"/>
              <a:gd name="connsiteY6" fmla="*/ 21960 h 4392000"/>
              <a:gd name="connsiteX7" fmla="*/ 5824949 w 8892000"/>
              <a:gd name="connsiteY7" fmla="*/ 21960 h 4392000"/>
              <a:gd name="connsiteX8" fmla="*/ 5280375 w 8892000"/>
              <a:gd name="connsiteY8" fmla="*/ 21960 h 4392000"/>
              <a:gd name="connsiteX9" fmla="*/ 284701 w 8892000"/>
              <a:gd name="connsiteY9" fmla="*/ 21960 h 4392000"/>
              <a:gd name="connsiteX10" fmla="*/ 41295 w 8892000"/>
              <a:gd name="connsiteY10" fmla="*/ 265365 h 4392000"/>
              <a:gd name="connsiteX11" fmla="*/ 41295 w 8892000"/>
              <a:gd name="connsiteY11" fmla="*/ 4126635 h 4392000"/>
              <a:gd name="connsiteX12" fmla="*/ 284701 w 8892000"/>
              <a:gd name="connsiteY12" fmla="*/ 4370040 h 4392000"/>
              <a:gd name="connsiteX13" fmla="*/ 5280375 w 8892000"/>
              <a:gd name="connsiteY13" fmla="*/ 4370040 h 4392000"/>
              <a:gd name="connsiteX14" fmla="*/ 5824949 w 8892000"/>
              <a:gd name="connsiteY14" fmla="*/ 4370040 h 4392000"/>
              <a:gd name="connsiteX15" fmla="*/ 5824949 w 8892000"/>
              <a:gd name="connsiteY15" fmla="*/ 4370760 h 4392000"/>
              <a:gd name="connsiteX16" fmla="*/ 8892000 w 8892000"/>
              <a:gd name="connsiteY16" fmla="*/ 4370760 h 4392000"/>
              <a:gd name="connsiteX17" fmla="*/ 8892000 w 8892000"/>
              <a:gd name="connsiteY17" fmla="*/ 4392000 h 4392000"/>
              <a:gd name="connsiteX18" fmla="*/ 8646136 w 8892000"/>
              <a:gd name="connsiteY18" fmla="*/ 4392000 h 4392000"/>
              <a:gd name="connsiteX19" fmla="*/ 5292000 w 8892000"/>
              <a:gd name="connsiteY19" fmla="*/ 4392000 h 4392000"/>
              <a:gd name="connsiteX20" fmla="*/ 245864 w 8892000"/>
              <a:gd name="connsiteY20" fmla="*/ 4392000 h 4392000"/>
              <a:gd name="connsiteX21" fmla="*/ 0 w 8892000"/>
              <a:gd name="connsiteY21" fmla="*/ 4146136 h 4392000"/>
              <a:gd name="connsiteX22" fmla="*/ 0 w 8892000"/>
              <a:gd name="connsiteY22" fmla="*/ 245864 h 4392000"/>
              <a:gd name="connsiteX23" fmla="*/ 245864 w 8892000"/>
              <a:gd name="connsiteY23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1960"/>
                </a:lnTo>
                <a:lnTo>
                  <a:pt x="8844375" y="21960"/>
                </a:lnTo>
                <a:lnTo>
                  <a:pt x="8600970" y="21960"/>
                </a:lnTo>
                <a:lnTo>
                  <a:pt x="5824949" y="21960"/>
                </a:lnTo>
                <a:lnTo>
                  <a:pt x="5280375" y="21960"/>
                </a:lnTo>
                <a:lnTo>
                  <a:pt x="284701" y="21960"/>
                </a:lnTo>
                <a:cubicBezTo>
                  <a:pt x="150271" y="21960"/>
                  <a:pt x="41295" y="130936"/>
                  <a:pt x="41295" y="265365"/>
                </a:cubicBezTo>
                <a:lnTo>
                  <a:pt x="41295" y="4126635"/>
                </a:lnTo>
                <a:cubicBezTo>
                  <a:pt x="41295" y="4261064"/>
                  <a:pt x="150271" y="4370040"/>
                  <a:pt x="284701" y="4370040"/>
                </a:cubicBezTo>
                <a:lnTo>
                  <a:pt x="5280375" y="4370040"/>
                </a:lnTo>
                <a:lnTo>
                  <a:pt x="5824949" y="4370040"/>
                </a:lnTo>
                <a:lnTo>
                  <a:pt x="5824949" y="4370760"/>
                </a:lnTo>
                <a:lnTo>
                  <a:pt x="8892000" y="4370760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6118754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9" r:id="rId2"/>
    <p:sldLayoutId id="2147483830" r:id="rId3"/>
    <p:sldLayoutId id="2147483831" r:id="rId4"/>
    <p:sldLayoutId id="2147483832" r:id="rId5"/>
    <p:sldLayoutId id="2147483833" r:id="rId6"/>
    <p:sldLayoutId id="2147483834" r:id="rId7"/>
    <p:sldLayoutId id="2147483835" r:id="rId8"/>
    <p:sldLayoutId id="2147483836" r:id="rId9"/>
    <p:sldLayoutId id="2147483837" r:id="rId10"/>
    <p:sldLayoutId id="2147483838" r:id="rId11"/>
    <p:sldLayoutId id="2147483839" r:id="rId12"/>
    <p:sldLayoutId id="2147483840" r:id="rId13"/>
    <p:sldLayoutId id="2147483841" r:id="rId14"/>
    <p:sldLayoutId id="2147483842" r:id="rId15"/>
  </p:sldLayoutIdLst>
  <p:hf hdr="0"/>
  <p:txStyles>
    <p:titleStyle>
      <a:lvl1pPr algn="l" defTabSz="914341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3733" b="1" kern="1200" cap="none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59991" indent="-359991" algn="l" defTabSz="914341" rtl="0" eaLnBrk="1" latinLnBrk="0" hangingPunct="1">
        <a:lnSpc>
          <a:spcPct val="82000"/>
        </a:lnSpc>
        <a:spcBef>
          <a:spcPts val="0"/>
        </a:spcBef>
        <a:spcAft>
          <a:spcPts val="1600"/>
        </a:spcAft>
        <a:buSzPct val="80000"/>
        <a:buFont typeface="Wingdings" pitchFamily="2" charset="2"/>
        <a:buChar char="n"/>
        <a:defRPr sz="1867" b="1" kern="1200" cap="none" baseline="0">
          <a:solidFill>
            <a:schemeClr val="accent1"/>
          </a:solidFill>
          <a:latin typeface="+mn-lt"/>
          <a:ea typeface="+mn-ea"/>
          <a:cs typeface="+mn-cs"/>
        </a:defRPr>
      </a:lvl1pPr>
      <a:lvl2pPr marL="815980" indent="-239994" algn="l" defTabSz="914341" rtl="0" eaLnBrk="1" latinLnBrk="0" hangingPunct="1">
        <a:lnSpc>
          <a:spcPct val="82000"/>
        </a:lnSpc>
        <a:spcBef>
          <a:spcPts val="0"/>
        </a:spcBef>
        <a:spcAft>
          <a:spcPts val="1600"/>
        </a:spcAft>
        <a:buSzPct val="100000"/>
        <a:buFont typeface="Wingdings" pitchFamily="2" charset="2"/>
        <a:buChar char="§"/>
        <a:defRPr sz="1867" kern="1200" cap="none">
          <a:solidFill>
            <a:schemeClr val="tx1"/>
          </a:solidFill>
          <a:latin typeface="+mn-lt"/>
          <a:ea typeface="+mn-ea"/>
          <a:cs typeface="+mn-cs"/>
        </a:defRPr>
      </a:lvl2pPr>
      <a:lvl3pPr marL="1391965" indent="-239994" algn="l" defTabSz="914341" rtl="0" eaLnBrk="1" latinLnBrk="0" hangingPunct="1">
        <a:lnSpc>
          <a:spcPct val="82000"/>
        </a:lnSpc>
        <a:spcBef>
          <a:spcPts val="0"/>
        </a:spcBef>
        <a:spcAft>
          <a:spcPts val="1600"/>
        </a:spcAft>
        <a:buClr>
          <a:schemeClr val="accent3"/>
        </a:buClr>
        <a:buSzPct val="100000"/>
        <a:buFont typeface="Wingdings" pitchFamily="2" charset="2"/>
        <a:buChar char="§"/>
        <a:defRPr sz="1867" kern="1200" cap="none">
          <a:solidFill>
            <a:schemeClr val="accent3"/>
          </a:solidFill>
          <a:latin typeface="+mn-lt"/>
          <a:ea typeface="+mn-ea"/>
          <a:cs typeface="+mn-cs"/>
        </a:defRPr>
      </a:lvl3pPr>
      <a:lvl4pPr marL="1967951" indent="-239994" algn="l" defTabSz="914341" rtl="0" eaLnBrk="1" latinLnBrk="0" hangingPunct="1">
        <a:lnSpc>
          <a:spcPct val="82000"/>
        </a:lnSpc>
        <a:spcBef>
          <a:spcPts val="0"/>
        </a:spcBef>
        <a:spcAft>
          <a:spcPts val="1600"/>
        </a:spcAft>
        <a:buClr>
          <a:schemeClr val="accent1"/>
        </a:buClr>
        <a:buSzPct val="100000"/>
        <a:buFont typeface="Wingdings" pitchFamily="2" charset="2"/>
        <a:buChar char="§"/>
        <a:defRPr sz="1867" b="0" kern="1200" cap="none" baseline="0">
          <a:solidFill>
            <a:schemeClr val="tx1"/>
          </a:solidFill>
          <a:latin typeface="+mn-lt"/>
          <a:ea typeface="+mn-ea"/>
          <a:cs typeface="+mn-cs"/>
        </a:defRPr>
      </a:lvl4pPr>
      <a:lvl5pPr marL="2543936" indent="-239994" algn="l" defTabSz="914341" rtl="0" eaLnBrk="1" latinLnBrk="0" hangingPunct="1">
        <a:lnSpc>
          <a:spcPct val="95000"/>
        </a:lnSpc>
        <a:spcBef>
          <a:spcPts val="0"/>
        </a:spcBef>
        <a:spcAft>
          <a:spcPts val="1600"/>
        </a:spcAft>
        <a:buClr>
          <a:schemeClr val="accent1"/>
        </a:buClr>
        <a:buSzPct val="100000"/>
        <a:buFont typeface="Wingdings" pitchFamily="2" charset="2"/>
        <a:buChar char="§"/>
        <a:defRPr sz="1867" kern="1200" cap="none">
          <a:solidFill>
            <a:schemeClr val="tx1"/>
          </a:solidFill>
          <a:latin typeface="+mn-lt"/>
          <a:ea typeface="+mn-ea"/>
          <a:cs typeface="+mn-cs"/>
        </a:defRPr>
      </a:lvl5pPr>
      <a:lvl6pPr marL="2514436" indent="-228585" algn="l" defTabSz="91434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7" indent="-228585" algn="l" defTabSz="91434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77" indent="-228585" algn="l" defTabSz="91434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47" indent="-228585" algn="l" defTabSz="91434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1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1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1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2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2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2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3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4708">
          <p15:clr>
            <a:srgbClr val="F26B43"/>
          </p15:clr>
        </p15:guide>
        <p15:guide id="3" pos="1837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2" descr="\\casnas100\dfs_root\Commun\Commun160\DCG-CM\Marque\Logos\Frise marques et Picto groupe\Frise Groupe\Logo groupe CA\E_Bloc_marque\E_CAGroup_BlocMarqueHorizontal-EN\3-BUREAUTIQUE\20151738E_CAGroup_BMH-EN_RVB.png"/>
          <p:cNvPicPr>
            <a:picLocks noChangeAspect="1" noChangeArrowheads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36427" y="6404129"/>
            <a:ext cx="1970475" cy="244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2255574" y="381002"/>
            <a:ext cx="9439012" cy="146382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noProof="0" dirty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2255573" y="2006620"/>
            <a:ext cx="9439011" cy="401953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924311" y="6480335"/>
            <a:ext cx="659188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733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23.11.2016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 cap="all" baseline="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2040938" y="6480335"/>
            <a:ext cx="391321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733" b="0" cap="none" baseline="0">
                <a:solidFill>
                  <a:schemeClr val="accent3"/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›</a:t>
            </a:fld>
            <a:endParaRPr lang="fr-FR" dirty="0"/>
          </a:p>
        </p:txBody>
      </p:sp>
      <p:sp>
        <p:nvSpPr>
          <p:cNvPr id="9" name="ZoneTexte 8"/>
          <p:cNvSpPr txBox="1"/>
          <p:nvPr/>
        </p:nvSpPr>
        <p:spPr bwMode="gray">
          <a:xfrm>
            <a:off x="1624093" y="6480335"/>
            <a:ext cx="192021" cy="1127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733" dirty="0">
                <a:solidFill>
                  <a:schemeClr val="accent3"/>
                </a:solidFill>
              </a:rPr>
              <a:t>l</a:t>
            </a:r>
          </a:p>
        </p:txBody>
      </p:sp>
      <p:pic>
        <p:nvPicPr>
          <p:cNvPr id="10" name="Image 9" descr="logo_gauche.pdf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33561" y="6404130"/>
            <a:ext cx="288000" cy="199111"/>
          </a:xfrm>
          <a:prstGeom prst="rect">
            <a:avLst/>
          </a:prstGeom>
        </p:spPr>
      </p:pic>
      <p:sp>
        <p:nvSpPr>
          <p:cNvPr id="33" name="Forme libre 32"/>
          <p:cNvSpPr/>
          <p:nvPr/>
        </p:nvSpPr>
        <p:spPr>
          <a:xfrm>
            <a:off x="340220" y="32502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1960 h 4392000"/>
              <a:gd name="connsiteX5" fmla="*/ 8844375 w 8892000"/>
              <a:gd name="connsiteY5" fmla="*/ 21960 h 4392000"/>
              <a:gd name="connsiteX6" fmla="*/ 8600970 w 8892000"/>
              <a:gd name="connsiteY6" fmla="*/ 21960 h 4392000"/>
              <a:gd name="connsiteX7" fmla="*/ 5824949 w 8892000"/>
              <a:gd name="connsiteY7" fmla="*/ 21960 h 4392000"/>
              <a:gd name="connsiteX8" fmla="*/ 5280375 w 8892000"/>
              <a:gd name="connsiteY8" fmla="*/ 21960 h 4392000"/>
              <a:gd name="connsiteX9" fmla="*/ 284701 w 8892000"/>
              <a:gd name="connsiteY9" fmla="*/ 21960 h 4392000"/>
              <a:gd name="connsiteX10" fmla="*/ 41295 w 8892000"/>
              <a:gd name="connsiteY10" fmla="*/ 265365 h 4392000"/>
              <a:gd name="connsiteX11" fmla="*/ 41295 w 8892000"/>
              <a:gd name="connsiteY11" fmla="*/ 4126635 h 4392000"/>
              <a:gd name="connsiteX12" fmla="*/ 284701 w 8892000"/>
              <a:gd name="connsiteY12" fmla="*/ 4370040 h 4392000"/>
              <a:gd name="connsiteX13" fmla="*/ 5280375 w 8892000"/>
              <a:gd name="connsiteY13" fmla="*/ 4370040 h 4392000"/>
              <a:gd name="connsiteX14" fmla="*/ 5824949 w 8892000"/>
              <a:gd name="connsiteY14" fmla="*/ 4370040 h 4392000"/>
              <a:gd name="connsiteX15" fmla="*/ 5824949 w 8892000"/>
              <a:gd name="connsiteY15" fmla="*/ 4370760 h 4392000"/>
              <a:gd name="connsiteX16" fmla="*/ 8892000 w 8892000"/>
              <a:gd name="connsiteY16" fmla="*/ 4370760 h 4392000"/>
              <a:gd name="connsiteX17" fmla="*/ 8892000 w 8892000"/>
              <a:gd name="connsiteY17" fmla="*/ 4392000 h 4392000"/>
              <a:gd name="connsiteX18" fmla="*/ 8646136 w 8892000"/>
              <a:gd name="connsiteY18" fmla="*/ 4392000 h 4392000"/>
              <a:gd name="connsiteX19" fmla="*/ 5292000 w 8892000"/>
              <a:gd name="connsiteY19" fmla="*/ 4392000 h 4392000"/>
              <a:gd name="connsiteX20" fmla="*/ 245864 w 8892000"/>
              <a:gd name="connsiteY20" fmla="*/ 4392000 h 4392000"/>
              <a:gd name="connsiteX21" fmla="*/ 0 w 8892000"/>
              <a:gd name="connsiteY21" fmla="*/ 4146136 h 4392000"/>
              <a:gd name="connsiteX22" fmla="*/ 0 w 8892000"/>
              <a:gd name="connsiteY22" fmla="*/ 245864 h 4392000"/>
              <a:gd name="connsiteX23" fmla="*/ 245864 w 8892000"/>
              <a:gd name="connsiteY23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1960"/>
                </a:lnTo>
                <a:lnTo>
                  <a:pt x="8844375" y="21960"/>
                </a:lnTo>
                <a:lnTo>
                  <a:pt x="8600970" y="21960"/>
                </a:lnTo>
                <a:lnTo>
                  <a:pt x="5824949" y="21960"/>
                </a:lnTo>
                <a:lnTo>
                  <a:pt x="5280375" y="21960"/>
                </a:lnTo>
                <a:lnTo>
                  <a:pt x="284701" y="21960"/>
                </a:lnTo>
                <a:cubicBezTo>
                  <a:pt x="150271" y="21960"/>
                  <a:pt x="41295" y="130936"/>
                  <a:pt x="41295" y="265365"/>
                </a:cubicBezTo>
                <a:lnTo>
                  <a:pt x="41295" y="4126635"/>
                </a:lnTo>
                <a:cubicBezTo>
                  <a:pt x="41295" y="4261064"/>
                  <a:pt x="150271" y="4370040"/>
                  <a:pt x="284701" y="4370040"/>
                </a:cubicBezTo>
                <a:lnTo>
                  <a:pt x="5280375" y="4370040"/>
                </a:lnTo>
                <a:lnTo>
                  <a:pt x="5824949" y="4370040"/>
                </a:lnTo>
                <a:lnTo>
                  <a:pt x="5824949" y="4370760"/>
                </a:lnTo>
                <a:lnTo>
                  <a:pt x="8892000" y="4370760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2475512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55" r:id="rId11"/>
    <p:sldLayoutId id="2147483856" r:id="rId12"/>
    <p:sldLayoutId id="2147483857" r:id="rId13"/>
    <p:sldLayoutId id="2147483858" r:id="rId14"/>
    <p:sldLayoutId id="2147483859" r:id="rId15"/>
    <p:sldLayoutId id="2147483860" r:id="rId16"/>
    <p:sldLayoutId id="2147483861" r:id="rId17"/>
  </p:sldLayoutIdLst>
  <p:transition spd="slow">
    <p:push dir="u"/>
  </p:transition>
  <p:hf hdr="0"/>
  <p:txStyles>
    <p:titleStyle>
      <a:lvl1pPr algn="l" defTabSz="1219170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5333" b="1" kern="1200" cap="none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59991" indent="-359991" algn="l" defTabSz="1219170" rtl="0" eaLnBrk="1" latinLnBrk="0" hangingPunct="1">
        <a:lnSpc>
          <a:spcPct val="82000"/>
        </a:lnSpc>
        <a:spcBef>
          <a:spcPts val="0"/>
        </a:spcBef>
        <a:spcAft>
          <a:spcPts val="0"/>
        </a:spcAft>
        <a:buSzPct val="80000"/>
        <a:buFont typeface="Wingdings" pitchFamily="2" charset="2"/>
        <a:buChar char="n"/>
        <a:defRPr sz="2200" b="1" kern="1200" cap="none" baseline="0">
          <a:solidFill>
            <a:schemeClr val="accent1"/>
          </a:solidFill>
          <a:latin typeface="+mn-lt"/>
          <a:ea typeface="+mn-ea"/>
          <a:cs typeface="+mn-cs"/>
        </a:defRPr>
      </a:lvl1pPr>
      <a:lvl2pPr marL="575986" indent="239994" algn="l" defTabSz="1219170" rtl="0" eaLnBrk="1" latinLnBrk="0" hangingPunct="1">
        <a:lnSpc>
          <a:spcPct val="82000"/>
        </a:lnSpc>
        <a:spcBef>
          <a:spcPts val="0"/>
        </a:spcBef>
        <a:spcAft>
          <a:spcPts val="0"/>
        </a:spcAft>
        <a:buSzPct val="100000"/>
        <a:buFont typeface="Wingdings" pitchFamily="2" charset="2"/>
        <a:buChar char="§"/>
        <a:defRPr sz="2200" kern="1200" cap="none">
          <a:solidFill>
            <a:schemeClr val="tx1"/>
          </a:solidFill>
          <a:latin typeface="+mn-lt"/>
          <a:ea typeface="+mn-ea"/>
          <a:cs typeface="+mn-cs"/>
        </a:defRPr>
      </a:lvl2pPr>
      <a:lvl3pPr marL="1151971" indent="239994" algn="l" defTabSz="1219170" rtl="0" eaLnBrk="1" latinLnBrk="0" hangingPunct="1">
        <a:lnSpc>
          <a:spcPct val="82000"/>
        </a:lnSpc>
        <a:spcBef>
          <a:spcPts val="0"/>
        </a:spcBef>
        <a:spcAft>
          <a:spcPts val="0"/>
        </a:spcAft>
        <a:buSzPct val="100000"/>
        <a:buFont typeface="Wingdings" pitchFamily="2" charset="2"/>
        <a:buChar char="§"/>
        <a:defRPr sz="2200" kern="1200" cap="none">
          <a:solidFill>
            <a:schemeClr val="accent3"/>
          </a:solidFill>
          <a:latin typeface="+mn-lt"/>
          <a:ea typeface="+mn-ea"/>
          <a:cs typeface="+mn-cs"/>
        </a:defRPr>
      </a:lvl3pPr>
      <a:lvl4pPr marL="1727957" indent="239994" algn="l" defTabSz="1219170" rtl="0" eaLnBrk="1" latinLnBrk="0" hangingPunct="1">
        <a:lnSpc>
          <a:spcPct val="82000"/>
        </a:lnSpc>
        <a:spcBef>
          <a:spcPts val="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defRPr sz="2200" b="0" kern="1200" cap="none">
          <a:solidFill>
            <a:schemeClr val="tx1"/>
          </a:solidFill>
          <a:latin typeface="+mn-lt"/>
          <a:ea typeface="+mn-ea"/>
          <a:cs typeface="+mn-cs"/>
        </a:defRPr>
      </a:lvl4pPr>
      <a:lvl5pPr marL="2303942" indent="239994" algn="l" defTabSz="1219170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defRPr sz="2200" kern="1200" cap="none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iekt 3" hidden="1"/>
          <p:cNvGraphicFramePr>
            <a:graphicFrameLocks noChangeAspect="1"/>
          </p:cNvGraphicFramePr>
          <p:nvPr userDrawn="1">
            <p:custDataLst>
              <p:tags r:id="rId18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4" name="Obiekt 3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2255574" y="381000"/>
            <a:ext cx="9439013" cy="14638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pl-PL" noProof="0" dirty="0"/>
              <a:t>Tytuł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2255573" y="2006621"/>
            <a:ext cx="9439011" cy="40195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pl-PL" noProof="0" dirty="0"/>
              <a:t>Pierwszy poziom tekstu</a:t>
            </a:r>
          </a:p>
          <a:p>
            <a:pPr lvl="1"/>
            <a:r>
              <a:rPr lang="pl-PL" noProof="0" dirty="0"/>
              <a:t>Drugi poziom tekstu</a:t>
            </a:r>
          </a:p>
          <a:p>
            <a:pPr lvl="2"/>
            <a:r>
              <a:rPr lang="pl-PL" noProof="0" dirty="0"/>
              <a:t>Trzeci poziom tekstu</a:t>
            </a:r>
          </a:p>
          <a:p>
            <a:pPr lvl="3"/>
            <a:r>
              <a:rPr lang="pl-PL" noProof="0" dirty="0"/>
              <a:t>Czwarty poziom tekstu</a:t>
            </a:r>
          </a:p>
          <a:p>
            <a:pPr lvl="4"/>
            <a:r>
              <a:rPr lang="pl-PL" noProof="0" dirty="0"/>
              <a:t>Piąty poziom tekstu</a:t>
            </a:r>
          </a:p>
        </p:txBody>
      </p:sp>
      <p:pic>
        <p:nvPicPr>
          <p:cNvPr id="15" name="Picture 2" descr="\\casnas100\dfs_root\Commun\Commun160\DCG-CM\Marque\Logos\Frise marques et Picto groupe\Frise Groupe\Logo groupe CA\E_Bloc_marque\E_CAGroup_BlocMarqueHorizontal-EN\3-BUREAUTIQUE\20151738E_CAGroup_BMH-EN_RVB.png"/>
          <p:cNvPicPr>
            <a:picLocks noChangeAspect="1" noChangeArrowheads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36427" y="6404129"/>
            <a:ext cx="1970475" cy="244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924311" y="6480335"/>
            <a:ext cx="659188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733" baseline="0">
                <a:solidFill>
                  <a:schemeClr val="accent3"/>
                </a:solidFill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  <p:sp>
        <p:nvSpPr>
          <p:cNvPr id="23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 cap="all" baseline="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24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2040938" y="6480335"/>
            <a:ext cx="391321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733" b="0" cap="none" baseline="0">
                <a:solidFill>
                  <a:schemeClr val="accent3"/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25" name="ZoneTexte 8"/>
          <p:cNvSpPr txBox="1"/>
          <p:nvPr/>
        </p:nvSpPr>
        <p:spPr bwMode="gray">
          <a:xfrm>
            <a:off x="1624093" y="6480335"/>
            <a:ext cx="192021" cy="1127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733">
                <a:solidFill>
                  <a:schemeClr val="accent3"/>
                </a:solidFill>
              </a:rPr>
              <a:t>l</a:t>
            </a:r>
          </a:p>
        </p:txBody>
      </p:sp>
      <p:pic>
        <p:nvPicPr>
          <p:cNvPr id="26" name="Image 9" descr="logo_gauche.pdf"/>
          <p:cNvPicPr>
            <a:picLocks noChangeAspect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33561" y="6404130"/>
            <a:ext cx="288000" cy="199111"/>
          </a:xfrm>
          <a:prstGeom prst="rect">
            <a:avLst/>
          </a:prstGeom>
        </p:spPr>
      </p:pic>
      <p:sp>
        <p:nvSpPr>
          <p:cNvPr id="29" name="Forme libre 32"/>
          <p:cNvSpPr/>
          <p:nvPr/>
        </p:nvSpPr>
        <p:spPr>
          <a:xfrm>
            <a:off x="340220" y="32502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1960 h 4392000"/>
              <a:gd name="connsiteX5" fmla="*/ 8844375 w 8892000"/>
              <a:gd name="connsiteY5" fmla="*/ 21960 h 4392000"/>
              <a:gd name="connsiteX6" fmla="*/ 8600970 w 8892000"/>
              <a:gd name="connsiteY6" fmla="*/ 21960 h 4392000"/>
              <a:gd name="connsiteX7" fmla="*/ 5824949 w 8892000"/>
              <a:gd name="connsiteY7" fmla="*/ 21960 h 4392000"/>
              <a:gd name="connsiteX8" fmla="*/ 5280375 w 8892000"/>
              <a:gd name="connsiteY8" fmla="*/ 21960 h 4392000"/>
              <a:gd name="connsiteX9" fmla="*/ 284701 w 8892000"/>
              <a:gd name="connsiteY9" fmla="*/ 21960 h 4392000"/>
              <a:gd name="connsiteX10" fmla="*/ 41295 w 8892000"/>
              <a:gd name="connsiteY10" fmla="*/ 265365 h 4392000"/>
              <a:gd name="connsiteX11" fmla="*/ 41295 w 8892000"/>
              <a:gd name="connsiteY11" fmla="*/ 4126635 h 4392000"/>
              <a:gd name="connsiteX12" fmla="*/ 284701 w 8892000"/>
              <a:gd name="connsiteY12" fmla="*/ 4370040 h 4392000"/>
              <a:gd name="connsiteX13" fmla="*/ 5280375 w 8892000"/>
              <a:gd name="connsiteY13" fmla="*/ 4370040 h 4392000"/>
              <a:gd name="connsiteX14" fmla="*/ 5824949 w 8892000"/>
              <a:gd name="connsiteY14" fmla="*/ 4370040 h 4392000"/>
              <a:gd name="connsiteX15" fmla="*/ 5824949 w 8892000"/>
              <a:gd name="connsiteY15" fmla="*/ 4370760 h 4392000"/>
              <a:gd name="connsiteX16" fmla="*/ 8892000 w 8892000"/>
              <a:gd name="connsiteY16" fmla="*/ 4370760 h 4392000"/>
              <a:gd name="connsiteX17" fmla="*/ 8892000 w 8892000"/>
              <a:gd name="connsiteY17" fmla="*/ 4392000 h 4392000"/>
              <a:gd name="connsiteX18" fmla="*/ 8646136 w 8892000"/>
              <a:gd name="connsiteY18" fmla="*/ 4392000 h 4392000"/>
              <a:gd name="connsiteX19" fmla="*/ 5292000 w 8892000"/>
              <a:gd name="connsiteY19" fmla="*/ 4392000 h 4392000"/>
              <a:gd name="connsiteX20" fmla="*/ 245864 w 8892000"/>
              <a:gd name="connsiteY20" fmla="*/ 4392000 h 4392000"/>
              <a:gd name="connsiteX21" fmla="*/ 0 w 8892000"/>
              <a:gd name="connsiteY21" fmla="*/ 4146136 h 4392000"/>
              <a:gd name="connsiteX22" fmla="*/ 0 w 8892000"/>
              <a:gd name="connsiteY22" fmla="*/ 245864 h 4392000"/>
              <a:gd name="connsiteX23" fmla="*/ 245864 w 8892000"/>
              <a:gd name="connsiteY23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1960"/>
                </a:lnTo>
                <a:lnTo>
                  <a:pt x="8844375" y="21960"/>
                </a:lnTo>
                <a:lnTo>
                  <a:pt x="8600970" y="21960"/>
                </a:lnTo>
                <a:lnTo>
                  <a:pt x="5824949" y="21960"/>
                </a:lnTo>
                <a:lnTo>
                  <a:pt x="5280375" y="21960"/>
                </a:lnTo>
                <a:lnTo>
                  <a:pt x="284701" y="21960"/>
                </a:lnTo>
                <a:cubicBezTo>
                  <a:pt x="150271" y="21960"/>
                  <a:pt x="41295" y="130936"/>
                  <a:pt x="41295" y="265365"/>
                </a:cubicBezTo>
                <a:lnTo>
                  <a:pt x="41295" y="4126635"/>
                </a:lnTo>
                <a:cubicBezTo>
                  <a:pt x="41295" y="4261064"/>
                  <a:pt x="150271" y="4370040"/>
                  <a:pt x="284701" y="4370040"/>
                </a:cubicBezTo>
                <a:lnTo>
                  <a:pt x="5280375" y="4370040"/>
                </a:lnTo>
                <a:lnTo>
                  <a:pt x="5824949" y="4370040"/>
                </a:lnTo>
                <a:lnTo>
                  <a:pt x="5824949" y="4370760"/>
                </a:lnTo>
                <a:lnTo>
                  <a:pt x="8892000" y="4370760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2" name="ZoneTexte 8"/>
          <p:cNvSpPr txBox="1"/>
          <p:nvPr userDrawn="1"/>
        </p:nvSpPr>
        <p:spPr bwMode="gray">
          <a:xfrm>
            <a:off x="1624093" y="6480335"/>
            <a:ext cx="192021" cy="1127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733">
                <a:solidFill>
                  <a:schemeClr val="accent3"/>
                </a:solidFill>
              </a:rPr>
              <a:t>l</a:t>
            </a:r>
          </a:p>
        </p:txBody>
      </p:sp>
      <p:pic>
        <p:nvPicPr>
          <p:cNvPr id="13" name="Image 9" descr="logo_gauche.pdf"/>
          <p:cNvPicPr>
            <a:picLocks noChangeAspect="1"/>
          </p:cNvPicPr>
          <p:nvPr userDrawn="1"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33561" y="6404130"/>
            <a:ext cx="288000" cy="199111"/>
          </a:xfrm>
          <a:prstGeom prst="rect">
            <a:avLst/>
          </a:prstGeom>
        </p:spPr>
      </p:pic>
      <p:sp>
        <p:nvSpPr>
          <p:cNvPr id="14" name="Forme libre 32"/>
          <p:cNvSpPr/>
          <p:nvPr userDrawn="1"/>
        </p:nvSpPr>
        <p:spPr>
          <a:xfrm>
            <a:off x="340220" y="32502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1960 h 4392000"/>
              <a:gd name="connsiteX5" fmla="*/ 8844375 w 8892000"/>
              <a:gd name="connsiteY5" fmla="*/ 21960 h 4392000"/>
              <a:gd name="connsiteX6" fmla="*/ 8600970 w 8892000"/>
              <a:gd name="connsiteY6" fmla="*/ 21960 h 4392000"/>
              <a:gd name="connsiteX7" fmla="*/ 5824949 w 8892000"/>
              <a:gd name="connsiteY7" fmla="*/ 21960 h 4392000"/>
              <a:gd name="connsiteX8" fmla="*/ 5280375 w 8892000"/>
              <a:gd name="connsiteY8" fmla="*/ 21960 h 4392000"/>
              <a:gd name="connsiteX9" fmla="*/ 284701 w 8892000"/>
              <a:gd name="connsiteY9" fmla="*/ 21960 h 4392000"/>
              <a:gd name="connsiteX10" fmla="*/ 41295 w 8892000"/>
              <a:gd name="connsiteY10" fmla="*/ 265365 h 4392000"/>
              <a:gd name="connsiteX11" fmla="*/ 41295 w 8892000"/>
              <a:gd name="connsiteY11" fmla="*/ 4126635 h 4392000"/>
              <a:gd name="connsiteX12" fmla="*/ 284701 w 8892000"/>
              <a:gd name="connsiteY12" fmla="*/ 4370040 h 4392000"/>
              <a:gd name="connsiteX13" fmla="*/ 5280375 w 8892000"/>
              <a:gd name="connsiteY13" fmla="*/ 4370040 h 4392000"/>
              <a:gd name="connsiteX14" fmla="*/ 5824949 w 8892000"/>
              <a:gd name="connsiteY14" fmla="*/ 4370040 h 4392000"/>
              <a:gd name="connsiteX15" fmla="*/ 5824949 w 8892000"/>
              <a:gd name="connsiteY15" fmla="*/ 4370760 h 4392000"/>
              <a:gd name="connsiteX16" fmla="*/ 8892000 w 8892000"/>
              <a:gd name="connsiteY16" fmla="*/ 4370760 h 4392000"/>
              <a:gd name="connsiteX17" fmla="*/ 8892000 w 8892000"/>
              <a:gd name="connsiteY17" fmla="*/ 4392000 h 4392000"/>
              <a:gd name="connsiteX18" fmla="*/ 8646136 w 8892000"/>
              <a:gd name="connsiteY18" fmla="*/ 4392000 h 4392000"/>
              <a:gd name="connsiteX19" fmla="*/ 5292000 w 8892000"/>
              <a:gd name="connsiteY19" fmla="*/ 4392000 h 4392000"/>
              <a:gd name="connsiteX20" fmla="*/ 245864 w 8892000"/>
              <a:gd name="connsiteY20" fmla="*/ 4392000 h 4392000"/>
              <a:gd name="connsiteX21" fmla="*/ 0 w 8892000"/>
              <a:gd name="connsiteY21" fmla="*/ 4146136 h 4392000"/>
              <a:gd name="connsiteX22" fmla="*/ 0 w 8892000"/>
              <a:gd name="connsiteY22" fmla="*/ 245864 h 4392000"/>
              <a:gd name="connsiteX23" fmla="*/ 245864 w 8892000"/>
              <a:gd name="connsiteY23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1960"/>
                </a:lnTo>
                <a:lnTo>
                  <a:pt x="8844375" y="21960"/>
                </a:lnTo>
                <a:lnTo>
                  <a:pt x="8600970" y="21960"/>
                </a:lnTo>
                <a:lnTo>
                  <a:pt x="5824949" y="21960"/>
                </a:lnTo>
                <a:lnTo>
                  <a:pt x="5280375" y="21960"/>
                </a:lnTo>
                <a:lnTo>
                  <a:pt x="284701" y="21960"/>
                </a:lnTo>
                <a:cubicBezTo>
                  <a:pt x="150271" y="21960"/>
                  <a:pt x="41295" y="130936"/>
                  <a:pt x="41295" y="265365"/>
                </a:cubicBezTo>
                <a:lnTo>
                  <a:pt x="41295" y="4126635"/>
                </a:lnTo>
                <a:cubicBezTo>
                  <a:pt x="41295" y="4261064"/>
                  <a:pt x="150271" y="4370040"/>
                  <a:pt x="284701" y="4370040"/>
                </a:cubicBezTo>
                <a:lnTo>
                  <a:pt x="5280375" y="4370040"/>
                </a:lnTo>
                <a:lnTo>
                  <a:pt x="5824949" y="4370040"/>
                </a:lnTo>
                <a:lnTo>
                  <a:pt x="5824949" y="4370760"/>
                </a:lnTo>
                <a:lnTo>
                  <a:pt x="8892000" y="4370760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19149757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69" r:id="rId5"/>
    <p:sldLayoutId id="2147483870" r:id="rId6"/>
    <p:sldLayoutId id="2147483871" r:id="rId7"/>
    <p:sldLayoutId id="2147483872" r:id="rId8"/>
    <p:sldLayoutId id="2147483873" r:id="rId9"/>
    <p:sldLayoutId id="2147483874" r:id="rId10"/>
    <p:sldLayoutId id="2147483875" r:id="rId11"/>
    <p:sldLayoutId id="2147483876" r:id="rId12"/>
    <p:sldLayoutId id="2147483877" r:id="rId13"/>
    <p:sldLayoutId id="2147483878" r:id="rId14"/>
    <p:sldLayoutId id="2147483879" r:id="rId15"/>
    <p:sldLayoutId id="2147483880" r:id="rId16"/>
  </p:sldLayoutIdLst>
  <p:hf hdr="0"/>
  <p:txStyles>
    <p:titleStyle>
      <a:lvl1pPr algn="l" defTabSz="914341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3733" b="1" kern="1200" cap="none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59991" indent="-359991" algn="l" defTabSz="914341" rtl="0" eaLnBrk="1" latinLnBrk="0" hangingPunct="1">
        <a:lnSpc>
          <a:spcPct val="82000"/>
        </a:lnSpc>
        <a:spcBef>
          <a:spcPts val="0"/>
        </a:spcBef>
        <a:spcAft>
          <a:spcPts val="1600"/>
        </a:spcAft>
        <a:buSzPct val="80000"/>
        <a:buFont typeface="Wingdings" pitchFamily="2" charset="2"/>
        <a:buChar char="n"/>
        <a:defRPr sz="1867" b="1" kern="1200" cap="none" baseline="0">
          <a:solidFill>
            <a:schemeClr val="accent1"/>
          </a:solidFill>
          <a:latin typeface="+mn-lt"/>
          <a:ea typeface="+mn-ea"/>
          <a:cs typeface="+mn-cs"/>
        </a:defRPr>
      </a:lvl1pPr>
      <a:lvl2pPr marL="815980" indent="-239994" algn="l" defTabSz="914341" rtl="0" eaLnBrk="1" latinLnBrk="0" hangingPunct="1">
        <a:lnSpc>
          <a:spcPct val="82000"/>
        </a:lnSpc>
        <a:spcBef>
          <a:spcPts val="0"/>
        </a:spcBef>
        <a:spcAft>
          <a:spcPts val="1600"/>
        </a:spcAft>
        <a:buSzPct val="100000"/>
        <a:buFont typeface="Wingdings" pitchFamily="2" charset="2"/>
        <a:buChar char="§"/>
        <a:defRPr sz="1867" kern="1200" cap="none">
          <a:solidFill>
            <a:schemeClr val="tx1"/>
          </a:solidFill>
          <a:latin typeface="+mn-lt"/>
          <a:ea typeface="+mn-ea"/>
          <a:cs typeface="+mn-cs"/>
        </a:defRPr>
      </a:lvl2pPr>
      <a:lvl3pPr marL="1391965" indent="-239994" algn="l" defTabSz="914341" rtl="0" eaLnBrk="1" latinLnBrk="0" hangingPunct="1">
        <a:lnSpc>
          <a:spcPct val="82000"/>
        </a:lnSpc>
        <a:spcBef>
          <a:spcPts val="0"/>
        </a:spcBef>
        <a:spcAft>
          <a:spcPts val="1600"/>
        </a:spcAft>
        <a:buClr>
          <a:schemeClr val="accent3"/>
        </a:buClr>
        <a:buSzPct val="100000"/>
        <a:buFont typeface="Wingdings" pitchFamily="2" charset="2"/>
        <a:buChar char="§"/>
        <a:defRPr sz="1867" kern="1200" cap="none">
          <a:solidFill>
            <a:schemeClr val="accent3"/>
          </a:solidFill>
          <a:latin typeface="+mn-lt"/>
          <a:ea typeface="+mn-ea"/>
          <a:cs typeface="+mn-cs"/>
        </a:defRPr>
      </a:lvl3pPr>
      <a:lvl4pPr marL="1967951" indent="-239994" algn="l" defTabSz="914341" rtl="0" eaLnBrk="1" latinLnBrk="0" hangingPunct="1">
        <a:lnSpc>
          <a:spcPct val="82000"/>
        </a:lnSpc>
        <a:spcBef>
          <a:spcPts val="0"/>
        </a:spcBef>
        <a:spcAft>
          <a:spcPts val="1600"/>
        </a:spcAft>
        <a:buClr>
          <a:schemeClr val="accent1"/>
        </a:buClr>
        <a:buSzPct val="100000"/>
        <a:buFont typeface="Wingdings" pitchFamily="2" charset="2"/>
        <a:buChar char="§"/>
        <a:defRPr sz="1867" b="0" kern="1200" cap="none" baseline="0">
          <a:solidFill>
            <a:schemeClr val="tx1"/>
          </a:solidFill>
          <a:latin typeface="+mn-lt"/>
          <a:ea typeface="+mn-ea"/>
          <a:cs typeface="+mn-cs"/>
        </a:defRPr>
      </a:lvl4pPr>
      <a:lvl5pPr marL="2543936" indent="-239994" algn="l" defTabSz="914341" rtl="0" eaLnBrk="1" latinLnBrk="0" hangingPunct="1">
        <a:lnSpc>
          <a:spcPct val="95000"/>
        </a:lnSpc>
        <a:spcBef>
          <a:spcPts val="0"/>
        </a:spcBef>
        <a:spcAft>
          <a:spcPts val="1600"/>
        </a:spcAft>
        <a:buClr>
          <a:schemeClr val="accent1"/>
        </a:buClr>
        <a:buSzPct val="100000"/>
        <a:buFont typeface="Wingdings" pitchFamily="2" charset="2"/>
        <a:buChar char="§"/>
        <a:defRPr sz="1867" kern="1200" cap="none">
          <a:solidFill>
            <a:schemeClr val="tx1"/>
          </a:solidFill>
          <a:latin typeface="+mn-lt"/>
          <a:ea typeface="+mn-ea"/>
          <a:cs typeface="+mn-cs"/>
        </a:defRPr>
      </a:lvl5pPr>
      <a:lvl6pPr marL="2514436" indent="-228585" algn="l" defTabSz="91434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7" indent="-228585" algn="l" defTabSz="91434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77" indent="-228585" algn="l" defTabSz="91434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47" indent="-228585" algn="l" defTabSz="91434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1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1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1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2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2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2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3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4708">
          <p15:clr>
            <a:srgbClr val="F26B43"/>
          </p15:clr>
        </p15:guide>
        <p15:guide id="3" pos="183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63.jpeg"/><Relationship Id="rId4" Type="http://schemas.openxmlformats.org/officeDocument/2006/relationships/image" Target="../media/image62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25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emf"/><Relationship Id="rId1" Type="http://schemas.openxmlformats.org/officeDocument/2006/relationships/slideLayout" Target="../slideLayouts/slideLayout25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3.xml"/><Relationship Id="rId4" Type="http://schemas.openxmlformats.org/officeDocument/2006/relationships/image" Target="../media/image71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25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3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3" Type="http://schemas.openxmlformats.org/officeDocument/2006/relationships/image" Target="../media/image74.png"/><Relationship Id="rId7" Type="http://schemas.openxmlformats.org/officeDocument/2006/relationships/image" Target="../media/image78.png"/><Relationship Id="rId12" Type="http://schemas.openxmlformats.org/officeDocument/2006/relationships/image" Target="../media/image83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265.xml"/><Relationship Id="rId6" Type="http://schemas.openxmlformats.org/officeDocument/2006/relationships/image" Target="../media/image77.png"/><Relationship Id="rId11" Type="http://schemas.openxmlformats.org/officeDocument/2006/relationships/image" Target="../media/image82.png"/><Relationship Id="rId5" Type="http://schemas.openxmlformats.org/officeDocument/2006/relationships/image" Target="../media/image76.png"/><Relationship Id="rId10" Type="http://schemas.openxmlformats.org/officeDocument/2006/relationships/image" Target="../media/image81.png"/><Relationship Id="rId4" Type="http://schemas.openxmlformats.org/officeDocument/2006/relationships/image" Target="../media/image75.png"/><Relationship Id="rId9" Type="http://schemas.openxmlformats.org/officeDocument/2006/relationships/image" Target="../media/image80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chart" Target="../charts/chart1.xml"/><Relationship Id="rId7" Type="http://schemas.openxmlformats.org/officeDocument/2006/relationships/chart" Target="../charts/chart5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2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2.xml"/><Relationship Id="rId4" Type="http://schemas.openxmlformats.org/officeDocument/2006/relationships/image" Target="../media/image65.em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8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75.xml"/><Relationship Id="rId13" Type="http://schemas.openxmlformats.org/officeDocument/2006/relationships/tags" Target="../tags/tag180.xml"/><Relationship Id="rId3" Type="http://schemas.openxmlformats.org/officeDocument/2006/relationships/tags" Target="../tags/tag170.xml"/><Relationship Id="rId7" Type="http://schemas.openxmlformats.org/officeDocument/2006/relationships/tags" Target="../tags/tag174.xml"/><Relationship Id="rId12" Type="http://schemas.openxmlformats.org/officeDocument/2006/relationships/tags" Target="../tags/tag179.xml"/><Relationship Id="rId2" Type="http://schemas.openxmlformats.org/officeDocument/2006/relationships/tags" Target="../tags/tag169.xml"/><Relationship Id="rId16" Type="http://schemas.openxmlformats.org/officeDocument/2006/relationships/slideLayout" Target="../slideLayouts/slideLayout264.xml"/><Relationship Id="rId1" Type="http://schemas.openxmlformats.org/officeDocument/2006/relationships/tags" Target="../tags/tag168.xml"/><Relationship Id="rId6" Type="http://schemas.openxmlformats.org/officeDocument/2006/relationships/tags" Target="../tags/tag173.xml"/><Relationship Id="rId11" Type="http://schemas.openxmlformats.org/officeDocument/2006/relationships/tags" Target="../tags/tag178.xml"/><Relationship Id="rId5" Type="http://schemas.openxmlformats.org/officeDocument/2006/relationships/tags" Target="../tags/tag172.xml"/><Relationship Id="rId15" Type="http://schemas.openxmlformats.org/officeDocument/2006/relationships/tags" Target="../tags/tag182.xml"/><Relationship Id="rId10" Type="http://schemas.openxmlformats.org/officeDocument/2006/relationships/tags" Target="../tags/tag177.xml"/><Relationship Id="rId4" Type="http://schemas.openxmlformats.org/officeDocument/2006/relationships/tags" Target="../tags/tag171.xml"/><Relationship Id="rId9" Type="http://schemas.openxmlformats.org/officeDocument/2006/relationships/tags" Target="../tags/tag176.xml"/><Relationship Id="rId14" Type="http://schemas.openxmlformats.org/officeDocument/2006/relationships/tags" Target="../tags/tag18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image" Target="../media/image66.emf"/><Relationship Id="rId1" Type="http://schemas.openxmlformats.org/officeDocument/2006/relationships/slideLayout" Target="../slideLayouts/slideLayout26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>
            <a:extLst>
              <a:ext uri="{FF2B5EF4-FFF2-40B4-BE49-F238E27FC236}">
                <a16:creationId xmlns:a16="http://schemas.microsoft.com/office/drawing/2014/main" id="{BE8AE2E0-9E6A-4B34-8005-1DCCEF02B1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8310" y="1149468"/>
            <a:ext cx="11697942" cy="2143595"/>
          </a:xfrm>
        </p:spPr>
        <p:txBody>
          <a:bodyPr>
            <a:noAutofit/>
          </a:bodyPr>
          <a:lstStyle/>
          <a:p>
            <a:pPr algn="ctr"/>
            <a:r>
              <a:rPr lang="en-GB" sz="2800" dirty="0"/>
              <a:t>BPIs PRO DAYS </a:t>
            </a:r>
            <a:br>
              <a:rPr lang="en-GB" sz="2800" dirty="0"/>
            </a:br>
            <a:r>
              <a:rPr lang="en-GB" sz="2800" dirty="0"/>
              <a:t>Carrefour Conquest Pro</a:t>
            </a:r>
            <a:br>
              <a:rPr lang="en-GB" sz="2800" dirty="0"/>
            </a:br>
            <a:br>
              <a:rPr lang="en-GB" sz="2800" dirty="0"/>
            </a:br>
            <a:r>
              <a:rPr lang="en-GB" sz="2800" dirty="0"/>
              <a:t> NEW CLIENTS ACQUISITION 2025 full vision &amp; 2026 perspectives</a:t>
            </a:r>
            <a:br>
              <a:rPr lang="en-GB" sz="2800" dirty="0"/>
            </a:br>
            <a:br>
              <a:rPr lang="en-GB" sz="2800" dirty="0"/>
            </a:br>
            <a:endParaRPr lang="en-GB" sz="2800" b="0" dirty="0"/>
          </a:p>
        </p:txBody>
      </p:sp>
      <p:sp>
        <p:nvSpPr>
          <p:cNvPr id="7" name="Espace réservé du texte 2"/>
          <p:cNvSpPr>
            <a:spLocks noGrp="1"/>
          </p:cNvSpPr>
          <p:nvPr>
            <p:ph type="subTitle" idx="1"/>
          </p:nvPr>
        </p:nvSpPr>
        <p:spPr>
          <a:xfrm>
            <a:off x="159590" y="4106444"/>
            <a:ext cx="11697942" cy="567953"/>
          </a:xfrm>
        </p:spPr>
        <p:txBody>
          <a:bodyPr>
            <a:noAutofit/>
          </a:bodyPr>
          <a:lstStyle/>
          <a:p>
            <a:pPr algn="ctr">
              <a:lnSpc>
                <a:spcPct val="100000"/>
              </a:lnSpc>
              <a:spcBef>
                <a:spcPts val="1800"/>
              </a:spcBef>
            </a:pPr>
            <a:r>
              <a:rPr lang="en-GB" sz="2000" dirty="0">
                <a:solidFill>
                  <a:schemeClr val="bg2"/>
                </a:solidFill>
                <a:ea typeface="+mj-ea"/>
                <a:cs typeface="+mj-cs"/>
              </a:rPr>
              <a:t>March 11, 2026</a:t>
            </a:r>
          </a:p>
        </p:txBody>
      </p:sp>
      <p:sp>
        <p:nvSpPr>
          <p:cNvPr id="8" name="Espace réservé du pied de page 3"/>
          <p:cNvSpPr txBox="1">
            <a:spLocks/>
          </p:cNvSpPr>
          <p:nvPr/>
        </p:nvSpPr>
        <p:spPr>
          <a:xfrm>
            <a:off x="3688733" y="6301159"/>
            <a:ext cx="4320000" cy="252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t>DBI - AAP</a:t>
            </a:r>
          </a:p>
        </p:txBody>
      </p:sp>
      <p:pic>
        <p:nvPicPr>
          <p:cNvPr id="2" name="Picture 2" descr="Résultat de recherche d'images pour &quot;drapeau ukraine&quot;">
            <a:extLst>
              <a:ext uri="{FF2B5EF4-FFF2-40B4-BE49-F238E27FC236}">
                <a16:creationId xmlns:a16="http://schemas.microsoft.com/office/drawing/2014/main" id="{9C427B54-F469-9964-904E-D0441CEA5D37}"/>
              </a:ext>
            </a:extLst>
          </p:cNvPr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3605" y="3249748"/>
            <a:ext cx="370567" cy="318939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Poland">
            <a:extLst>
              <a:ext uri="{FF2B5EF4-FFF2-40B4-BE49-F238E27FC236}">
                <a16:creationId xmlns:a16="http://schemas.microsoft.com/office/drawing/2014/main" id="{F27E88CE-B615-9356-29DE-AA81BF0B974B}"/>
              </a:ext>
            </a:extLst>
          </p:cNvPr>
          <p:cNvSpPr>
            <a:spLocks/>
          </p:cNvSpPr>
          <p:nvPr/>
        </p:nvSpPr>
        <p:spPr>
          <a:xfrm>
            <a:off x="5537604" y="3208001"/>
            <a:ext cx="389677" cy="351851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1000" tIns="54000" rIns="81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350" b="0" i="0" u="none" strike="noStrike" kern="1200" cap="none" spc="0" normalizeH="0" baseline="0" noProof="0" dirty="0">
              <a:ln>
                <a:noFill/>
              </a:ln>
              <a:solidFill>
                <a:srgbClr val="503078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86568A47-43FC-35F9-F57A-CAD79298F1FA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6990080" y="3253074"/>
            <a:ext cx="389677" cy="351851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9" name="Picture 2" descr="Résultat d’images pour Le Drapeau Italie">
            <a:extLst>
              <a:ext uri="{FF2B5EF4-FFF2-40B4-BE49-F238E27FC236}">
                <a16:creationId xmlns:a16="http://schemas.microsoft.com/office/drawing/2014/main" id="{3142509B-01A1-9DA9-0369-FB24F1C193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8915" y="3215113"/>
            <a:ext cx="370567" cy="3705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347758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B745BC-3127-5B95-CB16-E5250BB87F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Rettangolo arrotondato 113">
            <a:extLst>
              <a:ext uri="{FF2B5EF4-FFF2-40B4-BE49-F238E27FC236}">
                <a16:creationId xmlns:a16="http://schemas.microsoft.com/office/drawing/2014/main" id="{1F1B6896-35AA-D657-0C32-FDB87F651DA2}"/>
              </a:ext>
            </a:extLst>
          </p:cNvPr>
          <p:cNvSpPr/>
          <p:nvPr/>
        </p:nvSpPr>
        <p:spPr>
          <a:xfrm>
            <a:off x="6096000" y="1325215"/>
            <a:ext cx="5496560" cy="172158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>
            <a:solidFill>
              <a:schemeClr val="accent2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595563" lvl="0" indent="-171450">
              <a:buFont typeface="Arial" panose="020B0604020202020204" pitchFamily="34" charset="0"/>
              <a:buChar char="•"/>
              <a:defRPr/>
            </a:pPr>
            <a:r>
              <a:rPr lang="en-US" sz="1600" b="1" i="1" dirty="0">
                <a:solidFill>
                  <a:srgbClr val="707173">
                    <a:lumMod val="75000"/>
                  </a:srgbClr>
                </a:solidFill>
                <a:latin typeface="Aptos Display" panose="020B0004020202020204" pitchFamily="34" charset="0"/>
                <a:cs typeface="Arial" panose="020B0604020202020204" pitchFamily="34" charset="0"/>
              </a:rPr>
              <a:t>21 AFFARI NP 356 POE</a:t>
            </a:r>
          </a:p>
          <a:p>
            <a:pPr marL="2424113" lvl="0"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424113" lvl="0">
              <a:defRPr/>
            </a:pPr>
            <a:endParaRPr lang="en-US" sz="1200" b="1" dirty="0">
              <a:solidFill>
                <a:srgbClr val="707173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424113" lvl="0"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424113" lvl="0">
              <a:defRPr/>
            </a:pPr>
            <a:endParaRPr lang="en-US" sz="1200" b="1" dirty="0">
              <a:solidFill>
                <a:srgbClr val="707173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424113" lvl="0"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424113" lvl="0"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2" name="Rettangolo arrotondato 111">
            <a:extLst>
              <a:ext uri="{FF2B5EF4-FFF2-40B4-BE49-F238E27FC236}">
                <a16:creationId xmlns:a16="http://schemas.microsoft.com/office/drawing/2014/main" id="{CD0C5AE1-3847-B4D1-773F-2ECE4F1266A4}"/>
              </a:ext>
            </a:extLst>
          </p:cNvPr>
          <p:cNvSpPr/>
          <p:nvPr/>
        </p:nvSpPr>
        <p:spPr>
          <a:xfrm>
            <a:off x="295663" y="1303815"/>
            <a:ext cx="5496559" cy="174298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>
            <a:solidFill>
              <a:schemeClr val="accent2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595563" lvl="0" indent="-171450">
              <a:buFont typeface="Arial" panose="020B0604020202020204" pitchFamily="34" charset="0"/>
              <a:buChar char="•"/>
              <a:defRPr/>
            </a:pPr>
            <a:r>
              <a:rPr lang="en-US" sz="1600" b="1" i="1" dirty="0">
                <a:solidFill>
                  <a:srgbClr val="707173">
                    <a:lumMod val="75000"/>
                  </a:srgbClr>
                </a:solidFill>
                <a:latin typeface="Aptos Display" panose="020B0004020202020204" pitchFamily="34" charset="0"/>
                <a:cs typeface="Arial" panose="020B0604020202020204" pitchFamily="34" charset="0"/>
              </a:rPr>
              <a:t>25 AFFARI 952 POE</a:t>
            </a:r>
          </a:p>
          <a:p>
            <a:pPr marL="2424113" lvl="0">
              <a:defRPr/>
            </a:pPr>
            <a:endParaRPr lang="en-US" sz="1600" b="1" i="1" dirty="0">
              <a:solidFill>
                <a:srgbClr val="707173">
                  <a:lumMod val="75000"/>
                </a:srgbClr>
              </a:solidFill>
              <a:latin typeface="Aptos Display" panose="020B0004020202020204" pitchFamily="34" charset="0"/>
              <a:cs typeface="Arial" panose="020B0604020202020204" pitchFamily="34" charset="0"/>
            </a:endParaRPr>
          </a:p>
          <a:p>
            <a:pPr marL="2595563" lvl="0" indent="-171450">
              <a:buFont typeface="Arial" panose="020B0604020202020204" pitchFamily="34" charset="0"/>
              <a:buChar char="•"/>
              <a:defRPr/>
            </a:pPr>
            <a:r>
              <a:rPr lang="en-US" sz="1600" b="1" i="1" dirty="0">
                <a:solidFill>
                  <a:srgbClr val="707173">
                    <a:lumMod val="75000"/>
                  </a:srgbClr>
                </a:solidFill>
                <a:latin typeface="Aptos Display" panose="020B0004020202020204" pitchFamily="34" charset="0"/>
                <a:cs typeface="Arial" panose="020B0604020202020204" pitchFamily="34" charset="0"/>
              </a:rPr>
              <a:t>1,3 MLN NBI</a:t>
            </a:r>
          </a:p>
          <a:p>
            <a:pPr marL="2595563" lvl="0" indent="-171450">
              <a:buFont typeface="Arial" panose="020B0604020202020204" pitchFamily="34" charset="0"/>
              <a:buChar char="•"/>
              <a:defRPr/>
            </a:pPr>
            <a:r>
              <a:rPr lang="en-US" sz="1600" b="1" i="1" dirty="0">
                <a:solidFill>
                  <a:srgbClr val="707173">
                    <a:lumMod val="75000"/>
                  </a:srgbClr>
                </a:solidFill>
                <a:latin typeface="Aptos Display" panose="020B0004020202020204" pitchFamily="34" charset="0"/>
                <a:cs typeface="Arial" panose="020B0604020202020204" pitchFamily="34" charset="0"/>
              </a:rPr>
              <a:t>61,5 MLN LOANS</a:t>
            </a:r>
          </a:p>
          <a:p>
            <a:pPr marL="2595563" lvl="0" indent="-171450">
              <a:buFont typeface="Arial" panose="020B0604020202020204" pitchFamily="34" charset="0"/>
              <a:buChar char="•"/>
              <a:defRPr/>
            </a:pPr>
            <a:r>
              <a:rPr lang="en-US" sz="1600" b="1" i="1" dirty="0">
                <a:solidFill>
                  <a:srgbClr val="707173">
                    <a:lumMod val="75000"/>
                  </a:srgbClr>
                </a:solidFill>
                <a:latin typeface="Aptos Display" panose="020B0004020202020204" pitchFamily="34" charset="0"/>
                <a:cs typeface="Arial" panose="020B0604020202020204" pitchFamily="34" charset="0"/>
              </a:rPr>
              <a:t>24,8 MLN DEPOSITS</a:t>
            </a:r>
          </a:p>
          <a:p>
            <a:pPr marL="2424113" lvl="0">
              <a:defRPr/>
            </a:pPr>
            <a:endParaRPr lang="en-US" sz="1200" dirty="0">
              <a:solidFill>
                <a:srgbClr val="707173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E1A556A4-7FBC-AA38-F7E4-581DEE87230E}"/>
              </a:ext>
            </a:extLst>
          </p:cNvPr>
          <p:cNvSpPr txBox="1"/>
          <p:nvPr/>
        </p:nvSpPr>
        <p:spPr>
          <a:xfrm>
            <a:off x="49880" y="57371"/>
            <a:ext cx="1205067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all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</a:rPr>
              <a:t>2025 acquisition &amp; loss on liberal professions AFF E POE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A9B4767C-18DC-7C55-E103-9FC8DC9A0927}"/>
              </a:ext>
            </a:extLst>
          </p:cNvPr>
          <p:cNvSpPr txBox="1"/>
          <p:nvPr/>
        </p:nvSpPr>
        <p:spPr>
          <a:xfrm>
            <a:off x="203336" y="6087719"/>
            <a:ext cx="1160110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70717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97" name="Documento 96">
            <a:extLst>
              <a:ext uri="{FF2B5EF4-FFF2-40B4-BE49-F238E27FC236}">
                <a16:creationId xmlns:a16="http://schemas.microsoft.com/office/drawing/2014/main" id="{61B523C0-167C-0086-205C-8B59B9DA29CE}"/>
              </a:ext>
            </a:extLst>
          </p:cNvPr>
          <p:cNvSpPr/>
          <p:nvPr/>
        </p:nvSpPr>
        <p:spPr>
          <a:xfrm>
            <a:off x="295664" y="1322957"/>
            <a:ext cx="2396736" cy="1687179"/>
          </a:xfrm>
          <a:prstGeom prst="flowChartDocumen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accent6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0A59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977 NEW #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rgbClr val="707173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beral professions positions </a:t>
            </a:r>
            <a:r>
              <a:rPr lang="en-US" sz="1200" b="1" dirty="0">
                <a:solidFill>
                  <a:srgbClr val="707173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natural persons +studios)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8" name="Documento 97">
            <a:extLst>
              <a:ext uri="{FF2B5EF4-FFF2-40B4-BE49-F238E27FC236}">
                <a16:creationId xmlns:a16="http://schemas.microsoft.com/office/drawing/2014/main" id="{DBD29C6D-9A06-D0B4-FCEA-49C447812856}"/>
              </a:ext>
            </a:extLst>
          </p:cNvPr>
          <p:cNvSpPr/>
          <p:nvPr/>
        </p:nvSpPr>
        <p:spPr>
          <a:xfrm>
            <a:off x="6096000" y="1325215"/>
            <a:ext cx="2306320" cy="1670482"/>
          </a:xfrm>
          <a:prstGeom prst="flowChartDocumen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accent6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600" b="1" i="1" dirty="0">
                <a:solidFill>
                  <a:srgbClr val="0A59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77 LOSS#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b="1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iberal </a:t>
            </a:r>
            <a:r>
              <a:rPr kumimoji="0" lang="it-IT" b="1" i="0" u="none" strike="noStrike" kern="1200" cap="none" spc="0" normalizeH="0" baseline="0" noProof="0" dirty="0" err="1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fessions</a:t>
            </a:r>
            <a:r>
              <a:rPr kumimoji="0" lang="it-IT" b="1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positions </a:t>
            </a: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</a:t>
            </a:r>
            <a:r>
              <a:rPr lang="it-IT" sz="1200" b="1" dirty="0" err="1">
                <a:solidFill>
                  <a:srgbClr val="707173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tural</a:t>
            </a:r>
            <a:r>
              <a:rPr lang="it-IT" sz="1200" b="1" dirty="0">
                <a:solidFill>
                  <a:srgbClr val="707173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200" b="1" dirty="0" err="1">
                <a:solidFill>
                  <a:srgbClr val="707173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sons</a:t>
            </a:r>
            <a:r>
              <a:rPr lang="it-IT" sz="1200" b="1" dirty="0">
                <a:solidFill>
                  <a:srgbClr val="707173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+ </a:t>
            </a:r>
            <a:r>
              <a:rPr kumimoji="0" lang="it-IT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udios</a:t>
            </a: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21" name="CasellaDiTesto 120">
            <a:extLst>
              <a:ext uri="{FF2B5EF4-FFF2-40B4-BE49-F238E27FC236}">
                <a16:creationId xmlns:a16="http://schemas.microsoft.com/office/drawing/2014/main" id="{24B048F3-A665-22AF-5351-6B5B434A2FFA}"/>
              </a:ext>
            </a:extLst>
          </p:cNvPr>
          <p:cNvSpPr txBox="1"/>
          <p:nvPr/>
        </p:nvSpPr>
        <p:spPr>
          <a:xfrm>
            <a:off x="3288314" y="3442917"/>
            <a:ext cx="2137126" cy="369332"/>
          </a:xfrm>
          <a:prstGeom prst="rect">
            <a:avLst/>
          </a:prstGeom>
          <a:noFill/>
        </p:spPr>
        <p:txBody>
          <a:bodyPr wrap="square" lIns="0" t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050" b="1" i="1" dirty="0">
                <a:solidFill>
                  <a:srgbClr val="0A59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ERS ACQUISITION </a:t>
            </a:r>
            <a:r>
              <a:rPr lang="it-IT" sz="1050" b="1" i="1" dirty="0">
                <a:solidFill>
                  <a:srgbClr val="707173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ST IMPORTANT CATEGORIES</a:t>
            </a:r>
            <a:endParaRPr kumimoji="0" lang="it-IT" sz="1050" b="1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1" name="Ovale 130">
            <a:extLst>
              <a:ext uri="{FF2B5EF4-FFF2-40B4-BE49-F238E27FC236}">
                <a16:creationId xmlns:a16="http://schemas.microsoft.com/office/drawing/2014/main" id="{8DE0238C-2153-AA55-F2A7-26AD104A58BC}"/>
              </a:ext>
            </a:extLst>
          </p:cNvPr>
          <p:cNvSpPr/>
          <p:nvPr/>
        </p:nvSpPr>
        <p:spPr>
          <a:xfrm>
            <a:off x="2581564" y="4006038"/>
            <a:ext cx="648000" cy="648000"/>
          </a:xfrm>
          <a:prstGeom prst="ellipse">
            <a:avLst/>
          </a:prstGeom>
          <a:solidFill>
            <a:schemeClr val="bg1"/>
          </a:solidFill>
          <a:ln w="57150">
            <a:solidFill>
              <a:srgbClr val="00959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100" b="1" dirty="0">
                <a:solidFill>
                  <a:srgbClr val="707173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kumimoji="0" lang="it-IT" sz="1100" b="1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%</a:t>
            </a:r>
          </a:p>
        </p:txBody>
      </p:sp>
      <p:cxnSp>
        <p:nvCxnSpPr>
          <p:cNvPr id="7" name="Connettore diritto 6">
            <a:extLst>
              <a:ext uri="{FF2B5EF4-FFF2-40B4-BE49-F238E27FC236}">
                <a16:creationId xmlns:a16="http://schemas.microsoft.com/office/drawing/2014/main" id="{93B3D0AB-5682-6D0F-393B-0E05CFECFF51}"/>
              </a:ext>
            </a:extLst>
          </p:cNvPr>
          <p:cNvCxnSpPr>
            <a:cxnSpLocks/>
          </p:cNvCxnSpPr>
          <p:nvPr/>
        </p:nvCxnSpPr>
        <p:spPr>
          <a:xfrm>
            <a:off x="3015890" y="3874681"/>
            <a:ext cx="232645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" name="Ovale 37">
            <a:extLst>
              <a:ext uri="{FF2B5EF4-FFF2-40B4-BE49-F238E27FC236}">
                <a16:creationId xmlns:a16="http://schemas.microsoft.com/office/drawing/2014/main" id="{490B3C13-913F-0E23-2EF7-5B62704F2661}"/>
              </a:ext>
            </a:extLst>
          </p:cNvPr>
          <p:cNvSpPr/>
          <p:nvPr/>
        </p:nvSpPr>
        <p:spPr>
          <a:xfrm>
            <a:off x="2588694" y="4786252"/>
            <a:ext cx="648000" cy="648000"/>
          </a:xfrm>
          <a:prstGeom prst="ellipse">
            <a:avLst/>
          </a:prstGeom>
          <a:solidFill>
            <a:schemeClr val="bg1"/>
          </a:solidFill>
          <a:ln w="57150">
            <a:solidFill>
              <a:srgbClr val="00959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100" b="1" dirty="0">
                <a:solidFill>
                  <a:srgbClr val="707173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</a:t>
            </a:r>
            <a:r>
              <a:rPr kumimoji="0" lang="it-IT" sz="1100" b="1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%</a:t>
            </a:r>
          </a:p>
        </p:txBody>
      </p:sp>
      <p:sp>
        <p:nvSpPr>
          <p:cNvPr id="46" name="Ovale 45">
            <a:extLst>
              <a:ext uri="{FF2B5EF4-FFF2-40B4-BE49-F238E27FC236}">
                <a16:creationId xmlns:a16="http://schemas.microsoft.com/office/drawing/2014/main" id="{65F402DA-4554-6FDE-B73A-EC5FA66C545B}"/>
              </a:ext>
            </a:extLst>
          </p:cNvPr>
          <p:cNvSpPr/>
          <p:nvPr/>
        </p:nvSpPr>
        <p:spPr>
          <a:xfrm>
            <a:off x="2588694" y="5549317"/>
            <a:ext cx="648000" cy="648000"/>
          </a:xfrm>
          <a:prstGeom prst="ellipse">
            <a:avLst/>
          </a:prstGeom>
          <a:solidFill>
            <a:schemeClr val="bg1"/>
          </a:solidFill>
          <a:ln w="57150">
            <a:solidFill>
              <a:srgbClr val="00959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100" b="1" dirty="0">
                <a:solidFill>
                  <a:srgbClr val="707173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</a:t>
            </a:r>
            <a:r>
              <a:rPr kumimoji="0" lang="it-IT" sz="1100" b="1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%</a:t>
            </a:r>
          </a:p>
        </p:txBody>
      </p:sp>
      <p:sp>
        <p:nvSpPr>
          <p:cNvPr id="48" name="Ovale 47">
            <a:extLst>
              <a:ext uri="{FF2B5EF4-FFF2-40B4-BE49-F238E27FC236}">
                <a16:creationId xmlns:a16="http://schemas.microsoft.com/office/drawing/2014/main" id="{2CBF75F8-2024-36F4-01DE-8C37B9691586}"/>
              </a:ext>
            </a:extLst>
          </p:cNvPr>
          <p:cNvSpPr/>
          <p:nvPr/>
        </p:nvSpPr>
        <p:spPr>
          <a:xfrm>
            <a:off x="7043909" y="4752167"/>
            <a:ext cx="648000" cy="648000"/>
          </a:xfrm>
          <a:prstGeom prst="ellipse">
            <a:avLst/>
          </a:prstGeom>
          <a:solidFill>
            <a:schemeClr val="bg1"/>
          </a:solidFill>
          <a:ln w="57150">
            <a:solidFill>
              <a:srgbClr val="00959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100" b="1" dirty="0">
                <a:solidFill>
                  <a:srgbClr val="707173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</a:t>
            </a:r>
            <a:r>
              <a:rPr kumimoji="0" lang="it-IT" sz="1100" b="1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%</a:t>
            </a:r>
          </a:p>
        </p:txBody>
      </p:sp>
      <p:sp>
        <p:nvSpPr>
          <p:cNvPr id="49" name="Ovale 48">
            <a:extLst>
              <a:ext uri="{FF2B5EF4-FFF2-40B4-BE49-F238E27FC236}">
                <a16:creationId xmlns:a16="http://schemas.microsoft.com/office/drawing/2014/main" id="{22182830-1A59-58F4-F191-210B75735144}"/>
              </a:ext>
            </a:extLst>
          </p:cNvPr>
          <p:cNvSpPr/>
          <p:nvPr/>
        </p:nvSpPr>
        <p:spPr>
          <a:xfrm>
            <a:off x="7043909" y="3993698"/>
            <a:ext cx="648000" cy="648000"/>
          </a:xfrm>
          <a:prstGeom prst="ellipse">
            <a:avLst/>
          </a:prstGeom>
          <a:solidFill>
            <a:schemeClr val="bg1"/>
          </a:solidFill>
          <a:ln w="57150">
            <a:solidFill>
              <a:srgbClr val="00959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100" b="1" dirty="0">
                <a:solidFill>
                  <a:srgbClr val="707173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4</a:t>
            </a:r>
            <a:r>
              <a:rPr kumimoji="0" lang="it-IT" sz="1100" b="1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%</a:t>
            </a:r>
          </a:p>
        </p:txBody>
      </p:sp>
      <p:sp>
        <p:nvSpPr>
          <p:cNvPr id="50" name="Ovale 49">
            <a:extLst>
              <a:ext uri="{FF2B5EF4-FFF2-40B4-BE49-F238E27FC236}">
                <a16:creationId xmlns:a16="http://schemas.microsoft.com/office/drawing/2014/main" id="{DD5B42AF-0CC3-1050-BFFB-B458F888FE5E}"/>
              </a:ext>
            </a:extLst>
          </p:cNvPr>
          <p:cNvSpPr/>
          <p:nvPr/>
        </p:nvSpPr>
        <p:spPr>
          <a:xfrm>
            <a:off x="7051039" y="5535150"/>
            <a:ext cx="648000" cy="648000"/>
          </a:xfrm>
          <a:prstGeom prst="ellipse">
            <a:avLst/>
          </a:prstGeom>
          <a:solidFill>
            <a:schemeClr val="bg1"/>
          </a:solidFill>
          <a:ln w="57150">
            <a:solidFill>
              <a:srgbClr val="00959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100" b="1" dirty="0">
                <a:solidFill>
                  <a:srgbClr val="707173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.5%</a:t>
            </a:r>
            <a:endParaRPr kumimoji="0" lang="it-IT" sz="1100" b="1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Elaborazione alternativa 5">
            <a:extLst>
              <a:ext uri="{FF2B5EF4-FFF2-40B4-BE49-F238E27FC236}">
                <a16:creationId xmlns:a16="http://schemas.microsoft.com/office/drawing/2014/main" id="{4B7B1CCB-8515-7622-BA48-A6796B4A1C61}"/>
              </a:ext>
            </a:extLst>
          </p:cNvPr>
          <p:cNvSpPr/>
          <p:nvPr/>
        </p:nvSpPr>
        <p:spPr>
          <a:xfrm>
            <a:off x="3332479" y="4063133"/>
            <a:ext cx="2448558" cy="441802"/>
          </a:xfrm>
          <a:prstGeom prst="flowChartAlternateProcess">
            <a:avLst/>
          </a:prstGeom>
          <a:solidFill>
            <a:schemeClr val="bg1"/>
          </a:solidFill>
          <a:ln w="28575">
            <a:solidFill>
              <a:srgbClr val="439D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100" b="1" dirty="0">
                <a:solidFill>
                  <a:srgbClr val="009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 brokers</a:t>
            </a:r>
            <a:endParaRPr kumimoji="0" lang="it-IT" sz="1100" b="1" i="0" u="none" strike="noStrike" kern="1200" cap="none" spc="0" normalizeH="0" baseline="0" noProof="0" dirty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Elaborazione alternativa 7">
            <a:extLst>
              <a:ext uri="{FF2B5EF4-FFF2-40B4-BE49-F238E27FC236}">
                <a16:creationId xmlns:a16="http://schemas.microsoft.com/office/drawing/2014/main" id="{51F9FDB3-6A88-F6F7-EF83-E2EBA27280D1}"/>
              </a:ext>
            </a:extLst>
          </p:cNvPr>
          <p:cNvSpPr/>
          <p:nvPr/>
        </p:nvSpPr>
        <p:spPr>
          <a:xfrm>
            <a:off x="3391335" y="4820635"/>
            <a:ext cx="2389702" cy="441802"/>
          </a:xfrm>
          <a:prstGeom prst="flowChartAlternateProcess">
            <a:avLst/>
          </a:prstGeom>
          <a:solidFill>
            <a:schemeClr val="bg1"/>
          </a:solidFill>
          <a:ln w="28575">
            <a:solidFill>
              <a:srgbClr val="439D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awyers</a:t>
            </a:r>
            <a:r>
              <a:rPr kumimoji="0" lang="it-IT" sz="1100" b="1" i="0" u="none" strike="noStrike" kern="1200" cap="none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r>
              <a:rPr kumimoji="0" lang="it-IT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taries</a:t>
            </a:r>
            <a:r>
              <a:rPr kumimoji="0" lang="it-IT" sz="1100" b="1" i="0" u="none" strike="noStrike" kern="1200" cap="none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r>
              <a:rPr kumimoji="0" lang="it-IT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countants</a:t>
            </a:r>
            <a:endParaRPr kumimoji="0" lang="it-IT" sz="1100" b="1" i="0" u="none" strike="noStrike" kern="1200" cap="none" spc="0" normalizeH="0" baseline="0" noProof="0" dirty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Elaborazione alternativa 8">
            <a:extLst>
              <a:ext uri="{FF2B5EF4-FFF2-40B4-BE49-F238E27FC236}">
                <a16:creationId xmlns:a16="http://schemas.microsoft.com/office/drawing/2014/main" id="{BFCB1782-0845-C2DD-1781-9F2C72FFBDF7}"/>
              </a:ext>
            </a:extLst>
          </p:cNvPr>
          <p:cNvSpPr/>
          <p:nvPr/>
        </p:nvSpPr>
        <p:spPr>
          <a:xfrm>
            <a:off x="3332480" y="5493480"/>
            <a:ext cx="2448559" cy="713328"/>
          </a:xfrm>
          <a:prstGeom prst="flowChartAlternateProcess">
            <a:avLst/>
          </a:prstGeom>
          <a:solidFill>
            <a:schemeClr val="bg1"/>
          </a:solidFill>
          <a:ln w="28575">
            <a:solidFill>
              <a:srgbClr val="439D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100" b="1" dirty="0">
                <a:solidFill>
                  <a:srgbClr val="009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ctors, </a:t>
            </a:r>
            <a:r>
              <a:rPr lang="it-IT" sz="1100" b="1" dirty="0" err="1">
                <a:solidFill>
                  <a:srgbClr val="009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ecialists</a:t>
            </a:r>
            <a:r>
              <a:rPr lang="it-IT" sz="1100" b="1" dirty="0">
                <a:solidFill>
                  <a:srgbClr val="009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it-IT" sz="1100" b="1" dirty="0" err="1">
                <a:solidFill>
                  <a:srgbClr val="009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ntists</a:t>
            </a:r>
            <a:r>
              <a:rPr lang="it-IT" sz="1100" b="1" dirty="0">
                <a:solidFill>
                  <a:srgbClr val="009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it-IT" sz="1100" b="1" dirty="0" err="1">
                <a:solidFill>
                  <a:srgbClr val="009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sychologists</a:t>
            </a:r>
            <a:r>
              <a:rPr lang="it-IT" sz="1100" b="1" dirty="0">
                <a:solidFill>
                  <a:srgbClr val="009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it-IT" sz="1100" b="1" dirty="0" err="1">
                <a:solidFill>
                  <a:srgbClr val="009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ysiotherapists</a:t>
            </a:r>
            <a:endParaRPr kumimoji="0" lang="it-IT" sz="1100" b="1" i="0" u="none" strike="noStrike" kern="1200" cap="none" spc="0" normalizeH="0" baseline="0" noProof="0" dirty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Elaborazione alternativa 10">
            <a:extLst>
              <a:ext uri="{FF2B5EF4-FFF2-40B4-BE49-F238E27FC236}">
                <a16:creationId xmlns:a16="http://schemas.microsoft.com/office/drawing/2014/main" id="{3A80F79A-D79B-3A6E-C315-BA75DF8175F2}"/>
              </a:ext>
            </a:extLst>
          </p:cNvPr>
          <p:cNvSpPr/>
          <p:nvPr/>
        </p:nvSpPr>
        <p:spPr>
          <a:xfrm>
            <a:off x="7823198" y="4077577"/>
            <a:ext cx="2457891" cy="441802"/>
          </a:xfrm>
          <a:prstGeom prst="flowChartAlternateProcess">
            <a:avLst/>
          </a:prstGeom>
          <a:solidFill>
            <a:schemeClr val="bg1"/>
          </a:solidFill>
          <a:ln w="28575">
            <a:solidFill>
              <a:srgbClr val="439D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it-IT" sz="1100" b="1" dirty="0">
                <a:solidFill>
                  <a:srgbClr val="009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 brokers</a:t>
            </a:r>
          </a:p>
        </p:txBody>
      </p:sp>
      <p:sp>
        <p:nvSpPr>
          <p:cNvPr id="12" name="Elaborazione alternativa 11">
            <a:extLst>
              <a:ext uri="{FF2B5EF4-FFF2-40B4-BE49-F238E27FC236}">
                <a16:creationId xmlns:a16="http://schemas.microsoft.com/office/drawing/2014/main" id="{93CE9AB5-2089-5CB1-CBC9-CDD81DA99996}"/>
              </a:ext>
            </a:extLst>
          </p:cNvPr>
          <p:cNvSpPr/>
          <p:nvPr/>
        </p:nvSpPr>
        <p:spPr>
          <a:xfrm>
            <a:off x="7823199" y="4820635"/>
            <a:ext cx="2457891" cy="441802"/>
          </a:xfrm>
          <a:prstGeom prst="flowChartAlternateProcess">
            <a:avLst/>
          </a:prstGeom>
          <a:solidFill>
            <a:schemeClr val="bg1"/>
          </a:solidFill>
          <a:ln w="28575">
            <a:solidFill>
              <a:srgbClr val="439D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100" b="1" dirty="0" err="1">
                <a:solidFill>
                  <a:srgbClr val="009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wyers</a:t>
            </a:r>
            <a:r>
              <a:rPr lang="it-IT" sz="1100" b="1" dirty="0">
                <a:solidFill>
                  <a:srgbClr val="009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it-IT" sz="1100" b="1" dirty="0" err="1">
                <a:solidFill>
                  <a:srgbClr val="009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aries</a:t>
            </a:r>
            <a:r>
              <a:rPr lang="it-IT" sz="1100" b="1" dirty="0">
                <a:solidFill>
                  <a:srgbClr val="009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it-IT" sz="1100" b="1" dirty="0" err="1">
                <a:solidFill>
                  <a:srgbClr val="009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ountants</a:t>
            </a:r>
            <a:endParaRPr kumimoji="0" lang="it-IT" sz="1100" b="1" i="0" u="none" strike="noStrike" kern="1200" cap="none" spc="0" normalizeH="0" baseline="0" noProof="0" dirty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Pentagono 38">
            <a:extLst>
              <a:ext uri="{FF2B5EF4-FFF2-40B4-BE49-F238E27FC236}">
                <a16:creationId xmlns:a16="http://schemas.microsoft.com/office/drawing/2014/main" id="{649A1BE1-1E1A-B46B-865F-D41A97DD987E}"/>
              </a:ext>
            </a:extLst>
          </p:cNvPr>
          <p:cNvSpPr/>
          <p:nvPr/>
        </p:nvSpPr>
        <p:spPr>
          <a:xfrm>
            <a:off x="295664" y="666466"/>
            <a:ext cx="11124176" cy="565664"/>
          </a:xfrm>
          <a:prstGeom prst="homePlate">
            <a:avLst/>
          </a:prstGeom>
          <a:solidFill>
            <a:schemeClr val="bg2">
              <a:alpha val="10196"/>
            </a:schemeClr>
          </a:solidFill>
          <a:ln w="12700">
            <a:solidFill>
              <a:srgbClr val="008B9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it-IT" sz="2000" b="1" i="1" dirty="0">
                <a:solidFill>
                  <a:srgbClr val="0A59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Balance 2025 - </a:t>
            </a:r>
            <a:r>
              <a:rPr lang="it-IT" sz="2000" b="1" i="1" dirty="0" err="1">
                <a:solidFill>
                  <a:srgbClr val="0A59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</a:t>
            </a:r>
            <a:r>
              <a:rPr lang="it-IT" sz="2000" b="1" i="1" dirty="0">
                <a:solidFill>
                  <a:srgbClr val="0A59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2000" b="1" i="1" dirty="0" err="1">
                <a:solidFill>
                  <a:srgbClr val="0A59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ount</a:t>
            </a:r>
            <a:r>
              <a:rPr lang="it-IT" sz="2000" b="1" i="1" dirty="0">
                <a:solidFill>
                  <a:srgbClr val="0A59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liberal </a:t>
            </a:r>
            <a:r>
              <a:rPr lang="it-IT" sz="2000" b="1" i="1" dirty="0" err="1">
                <a:solidFill>
                  <a:srgbClr val="0A59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essions</a:t>
            </a:r>
            <a:r>
              <a:rPr lang="it-IT" sz="2000" b="1" i="1" dirty="0">
                <a:solidFill>
                  <a:srgbClr val="0A59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ents: +600 </a:t>
            </a:r>
          </a:p>
        </p:txBody>
      </p:sp>
      <p:sp>
        <p:nvSpPr>
          <p:cNvPr id="20" name="Freccia a destra 19">
            <a:extLst>
              <a:ext uri="{FF2B5EF4-FFF2-40B4-BE49-F238E27FC236}">
                <a16:creationId xmlns:a16="http://schemas.microsoft.com/office/drawing/2014/main" id="{4FB9DD4C-AE67-7D5E-EED4-A587028CD13B}"/>
              </a:ext>
            </a:extLst>
          </p:cNvPr>
          <p:cNvSpPr/>
          <p:nvPr/>
        </p:nvSpPr>
        <p:spPr>
          <a:xfrm>
            <a:off x="770850" y="5137868"/>
            <a:ext cx="1250330" cy="721282"/>
          </a:xfrm>
          <a:prstGeom prst="rightArrow">
            <a:avLst>
              <a:gd name="adj1" fmla="val 44365"/>
              <a:gd name="adj2" fmla="val 100710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0E115176-7E69-2E03-9543-078C95F5A36B}"/>
              </a:ext>
            </a:extLst>
          </p:cNvPr>
          <p:cNvSpPr/>
          <p:nvPr/>
        </p:nvSpPr>
        <p:spPr>
          <a:xfrm>
            <a:off x="49879" y="6479368"/>
            <a:ext cx="1053986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# </a:t>
            </a:r>
            <a:r>
              <a:rPr lang="it-IT" sz="1200" b="1" i="1" dirty="0" err="1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roximated</a:t>
            </a:r>
            <a:r>
              <a:rPr lang="it-IT" sz="1200" b="1" i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ata due to the </a:t>
            </a:r>
            <a:r>
              <a:rPr lang="it-IT" sz="1200" b="1" i="1" dirty="0" err="1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ck</a:t>
            </a:r>
            <a:r>
              <a:rPr lang="it-IT" sz="1200" b="1" i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some flows in 2024 and to </a:t>
            </a:r>
            <a:r>
              <a:rPr lang="it-IT" sz="1200" b="1" i="1" dirty="0" err="1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fferences</a:t>
            </a:r>
            <a:r>
              <a:rPr lang="it-IT" sz="1200" b="1" i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customers </a:t>
            </a:r>
            <a:r>
              <a:rPr lang="it-IT" sz="1200" b="1" i="1" dirty="0" err="1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gmentation</a:t>
            </a:r>
            <a:r>
              <a:rPr lang="it-IT" sz="1200" b="1" i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the </a:t>
            </a:r>
            <a:r>
              <a:rPr lang="it-IT" sz="1200" b="1" i="1" dirty="0" err="1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wo</a:t>
            </a:r>
            <a:r>
              <a:rPr lang="it-IT" sz="1200" b="1" i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200" b="1" i="1" dirty="0" err="1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years</a:t>
            </a:r>
            <a:endParaRPr kumimoji="0" lang="it-IT" sz="1200" b="1" i="1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75000"/>
                </a:scheme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Elaborazione alternativa 1">
            <a:extLst>
              <a:ext uri="{FF2B5EF4-FFF2-40B4-BE49-F238E27FC236}">
                <a16:creationId xmlns:a16="http://schemas.microsoft.com/office/drawing/2014/main" id="{C2B3B248-5DF3-4CA6-C449-544B10215112}"/>
              </a:ext>
            </a:extLst>
          </p:cNvPr>
          <p:cNvSpPr/>
          <p:nvPr/>
        </p:nvSpPr>
        <p:spPr>
          <a:xfrm>
            <a:off x="7832532" y="5474670"/>
            <a:ext cx="2448559" cy="713328"/>
          </a:xfrm>
          <a:prstGeom prst="flowChartAlternateProcess">
            <a:avLst/>
          </a:prstGeom>
          <a:solidFill>
            <a:schemeClr val="bg1"/>
          </a:solidFill>
          <a:ln w="28575">
            <a:solidFill>
              <a:srgbClr val="439D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100" b="1" dirty="0">
                <a:solidFill>
                  <a:srgbClr val="009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ctors, </a:t>
            </a:r>
            <a:r>
              <a:rPr lang="it-IT" sz="1100" b="1" dirty="0" err="1">
                <a:solidFill>
                  <a:srgbClr val="009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ecialists</a:t>
            </a:r>
            <a:r>
              <a:rPr lang="it-IT" sz="1100" b="1" dirty="0">
                <a:solidFill>
                  <a:srgbClr val="009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it-IT" sz="1100" b="1" dirty="0" err="1">
                <a:solidFill>
                  <a:srgbClr val="009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ntists</a:t>
            </a:r>
            <a:r>
              <a:rPr lang="it-IT" sz="1100" b="1" dirty="0">
                <a:solidFill>
                  <a:srgbClr val="009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it-IT" sz="1100" b="1" dirty="0" err="1">
                <a:solidFill>
                  <a:srgbClr val="009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sychologists</a:t>
            </a:r>
            <a:r>
              <a:rPr lang="it-IT" sz="1100" b="1" dirty="0">
                <a:solidFill>
                  <a:srgbClr val="009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it-IT" sz="1100" b="1" dirty="0" err="1">
                <a:solidFill>
                  <a:srgbClr val="009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ysiotherapists</a:t>
            </a:r>
            <a:endParaRPr kumimoji="0" lang="it-IT" sz="1100" b="1" i="0" u="none" strike="noStrike" kern="1200" cap="none" spc="0" normalizeH="0" baseline="0" noProof="0" dirty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40F44F65-3A07-55C6-8E0A-FBF83D945BCA}"/>
              </a:ext>
            </a:extLst>
          </p:cNvPr>
          <p:cNvSpPr txBox="1"/>
          <p:nvPr/>
        </p:nvSpPr>
        <p:spPr>
          <a:xfrm>
            <a:off x="7852154" y="3431961"/>
            <a:ext cx="2188214" cy="369332"/>
          </a:xfrm>
          <a:prstGeom prst="rect">
            <a:avLst/>
          </a:prstGeom>
          <a:noFill/>
        </p:spPr>
        <p:txBody>
          <a:bodyPr wrap="square" lIns="0" t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050" b="1" i="1" dirty="0">
                <a:solidFill>
                  <a:srgbClr val="0A59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ERS LOS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050" b="1" i="1" dirty="0">
                <a:solidFill>
                  <a:srgbClr val="707173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ST IMPORTANT CATEGORIES</a:t>
            </a:r>
            <a:endParaRPr kumimoji="0" lang="it-IT" sz="1050" b="1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7" name="Connettore diritto 16">
            <a:extLst>
              <a:ext uri="{FF2B5EF4-FFF2-40B4-BE49-F238E27FC236}">
                <a16:creationId xmlns:a16="http://schemas.microsoft.com/office/drawing/2014/main" id="{98939B97-2BA1-7195-6777-9C5EE7967602}"/>
              </a:ext>
            </a:extLst>
          </p:cNvPr>
          <p:cNvCxnSpPr>
            <a:cxnSpLocks/>
          </p:cNvCxnSpPr>
          <p:nvPr/>
        </p:nvCxnSpPr>
        <p:spPr>
          <a:xfrm>
            <a:off x="7783035" y="3876930"/>
            <a:ext cx="232645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" name="Connettore diritto 3">
            <a:extLst>
              <a:ext uri="{FF2B5EF4-FFF2-40B4-BE49-F238E27FC236}">
                <a16:creationId xmlns:a16="http://schemas.microsoft.com/office/drawing/2014/main" id="{6CD28D21-A52E-8658-6434-04DF4AF17963}"/>
              </a:ext>
            </a:extLst>
          </p:cNvPr>
          <p:cNvCxnSpPr>
            <a:cxnSpLocks/>
          </p:cNvCxnSpPr>
          <p:nvPr/>
        </p:nvCxnSpPr>
        <p:spPr>
          <a:xfrm>
            <a:off x="6053061" y="1800199"/>
            <a:ext cx="0" cy="428752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Elaborazione alternativa 22">
            <a:extLst>
              <a:ext uri="{FF2B5EF4-FFF2-40B4-BE49-F238E27FC236}">
                <a16:creationId xmlns:a16="http://schemas.microsoft.com/office/drawing/2014/main" id="{BC972250-3433-8CC8-062A-0B0A21646868}"/>
              </a:ext>
            </a:extLst>
          </p:cNvPr>
          <p:cNvSpPr/>
          <p:nvPr/>
        </p:nvSpPr>
        <p:spPr>
          <a:xfrm>
            <a:off x="269930" y="3118486"/>
            <a:ext cx="1881699" cy="1511099"/>
          </a:xfrm>
          <a:prstGeom prst="flowChartAlternateProcess">
            <a:avLst/>
          </a:prstGeom>
          <a:solidFill>
            <a:schemeClr val="bg1"/>
          </a:solidFill>
          <a:ln w="28575">
            <a:solidFill>
              <a:srgbClr val="439D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highlight>
                  <a:srgbClr val="E1FFF7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w in 2025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highlight>
                  <a:srgbClr val="E1FFF7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3 </a:t>
            </a:r>
            <a:r>
              <a:rPr kumimoji="0" lang="it-IT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ntists</a:t>
            </a:r>
            <a:endParaRPr kumimoji="0" lang="it-IT" sz="1400" b="1" i="0" u="none" strike="noStrike" kern="1200" cap="none" spc="0" normalizeH="0" baseline="0" noProof="0" dirty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400" b="1" dirty="0">
                <a:solidFill>
                  <a:srgbClr val="009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1 doctor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 clinics</a:t>
            </a:r>
          </a:p>
        </p:txBody>
      </p:sp>
    </p:spTree>
    <p:extLst>
      <p:ext uri="{BB962C8B-B14F-4D97-AF65-F5344CB8AC3E}">
        <p14:creationId xmlns:p14="http://schemas.microsoft.com/office/powerpoint/2010/main" val="1532759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5A587B-5814-4D9B-9598-FE9CB954CB01}" type="slidenum">
              <a:rPr kumimoji="0" lang="fr-FR" sz="1000" b="1" i="0" u="none" strike="noStrike" kern="1200" cap="none" spc="0" normalizeH="0" baseline="0" noProof="0" smtClean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fr-FR" sz="1000" b="1" i="0" u="none" strike="noStrike" kern="1200" cap="none" spc="0" normalizeH="0" baseline="0" noProof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72BC54F7-9011-4AF9-83D4-4E85DC9DCEE2}"/>
              </a:ext>
            </a:extLst>
          </p:cNvPr>
          <p:cNvSpPr txBox="1"/>
          <p:nvPr/>
        </p:nvSpPr>
        <p:spPr>
          <a:xfrm>
            <a:off x="160871" y="2339162"/>
            <a:ext cx="12031129" cy="956931"/>
          </a:xfrm>
          <a:prstGeom prst="rect">
            <a:avLst/>
          </a:prstGeom>
          <a:noFill/>
          <a:ln>
            <a:solidFill>
              <a:srgbClr val="007C8E"/>
            </a:solidFill>
            <a:prstDash val="sysDash"/>
          </a:ln>
        </p:spPr>
        <p:txBody>
          <a:bodyPr wrap="square" lIns="91440" tIns="45720" rIns="91440" bIns="45720" rtlCol="0" anchor="t">
            <a:noAutofit/>
          </a:bodyPr>
          <a:lstStyle/>
          <a:p>
            <a:pPr marL="0" marR="0" lvl="0" indent="0" algn="ctr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all" spc="0" normalizeH="0" baseline="0" noProof="0" dirty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/>
              <a:sym typeface="Wingdings" panose="05000000000000000000" pitchFamily="2" charset="2"/>
            </a:endParaRPr>
          </a:p>
          <a:p>
            <a:pPr marL="0" marR="0" lvl="0" indent="0" algn="ctr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400" cap="all" dirty="0">
                <a:solidFill>
                  <a:srgbClr val="009597"/>
                </a:solidFill>
                <a:latin typeface="Arial Black" panose="020B0A04020102020204" pitchFamily="34" charset="0"/>
                <a:cs typeface="Arial"/>
                <a:sym typeface="Wingdings" panose="05000000000000000000" pitchFamily="2" charset="2"/>
              </a:rPr>
              <a:t>4  )  Improvement proposals for 2026 </a:t>
            </a:r>
          </a:p>
        </p:txBody>
      </p:sp>
    </p:spTree>
    <p:extLst>
      <p:ext uri="{BB962C8B-B14F-4D97-AF65-F5344CB8AC3E}">
        <p14:creationId xmlns:p14="http://schemas.microsoft.com/office/powerpoint/2010/main" val="36514316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046D88-99E1-90BC-D996-EF9160ACC4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ZoneTexte 12">
            <a:extLst>
              <a:ext uri="{FF2B5EF4-FFF2-40B4-BE49-F238E27FC236}">
                <a16:creationId xmlns:a16="http://schemas.microsoft.com/office/drawing/2014/main" id="{CAE2E627-CCE4-4A15-7B3F-A95B35267910}"/>
              </a:ext>
            </a:extLst>
          </p:cNvPr>
          <p:cNvSpPr txBox="1"/>
          <p:nvPr/>
        </p:nvSpPr>
        <p:spPr>
          <a:xfrm>
            <a:off x="214579" y="914399"/>
            <a:ext cx="11762841" cy="5332507"/>
          </a:xfrm>
          <a:prstGeom prst="rect">
            <a:avLst/>
          </a:prstGeom>
          <a:noFill/>
          <a:ln>
            <a:solidFill>
              <a:srgbClr val="007C8E"/>
            </a:solidFill>
            <a:prstDash val="sysDash"/>
          </a:ln>
        </p:spPr>
        <p:txBody>
          <a:bodyPr wrap="square" lIns="91440" tIns="45720" rIns="91440" bIns="4572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all" spc="0" normalizeH="0" baseline="0" noProof="0" dirty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/>
              <a:sym typeface="Wingdings" panose="05000000000000000000" pitchFamily="2" charset="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                        </a:t>
            </a:r>
            <a:endParaRPr kumimoji="0" lang="en-GB" sz="1600" b="1" i="0" u="none" strike="noStrike" kern="1200" cap="all" spc="0" normalizeH="0" baseline="0" noProof="0" dirty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all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</a:rPr>
              <a:t>                 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all" spc="0" normalizeH="0" baseline="0" noProof="0" dirty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GB" sz="2800" b="0" i="0" u="none" strike="noStrike" kern="1200" cap="all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</a:rPr>
            </a:br>
            <a:r>
              <a:rPr kumimoji="0" lang="en-GB" sz="2800" b="0" i="0" u="none" strike="noStrike" kern="1200" cap="all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</a:rPr>
              <a:t> </a:t>
            </a: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</a:t>
            </a: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1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EBE418C-E9CC-C5AB-4893-B56864BB3C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5A587B-5814-4D9B-9598-FE9CB954CB01}" type="slidenum">
              <a:rPr kumimoji="0" lang="fr-FR" sz="1000" b="1" i="0" u="none" strike="noStrike" kern="1200" cap="none" spc="0" normalizeH="0" baseline="0" noProof="0" smtClean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fr-FR" sz="1000" b="1" i="0" u="none" strike="noStrike" kern="1200" cap="none" spc="0" normalizeH="0" baseline="0" noProof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itre 2">
            <a:extLst>
              <a:ext uri="{FF2B5EF4-FFF2-40B4-BE49-F238E27FC236}">
                <a16:creationId xmlns:a16="http://schemas.microsoft.com/office/drawing/2014/main" id="{8FC670DA-3DC5-E59A-186D-8BC18A8C16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3615" y="100493"/>
            <a:ext cx="11539365" cy="616926"/>
          </a:xfrm>
        </p:spPr>
        <p:txBody>
          <a:bodyPr>
            <a:noAutofit/>
          </a:bodyPr>
          <a:lstStyle/>
          <a:p>
            <a:pPr defTabSz="180000">
              <a:defRPr/>
            </a:pPr>
            <a:r>
              <a:rPr lang="en-GB" sz="2400" b="0" dirty="0">
                <a:solidFill>
                  <a:srgbClr val="009597"/>
                </a:solidFill>
                <a:latin typeface="Arial Black" panose="020B0A04020102020204" pitchFamily="34" charset="0"/>
                <a:cs typeface="Arial"/>
              </a:rPr>
              <a:t>Main issues and solutions – focus on acquisition</a:t>
            </a:r>
            <a:br>
              <a:rPr lang="en-GB" sz="2400" b="0" dirty="0">
                <a:solidFill>
                  <a:srgbClr val="009597"/>
                </a:solidFill>
                <a:latin typeface="+mn-lt"/>
              </a:rPr>
            </a:br>
            <a:endParaRPr lang="en-GB" sz="2400" b="0" dirty="0">
              <a:solidFill>
                <a:srgbClr val="009597"/>
              </a:solidFill>
              <a:latin typeface="+mn-lt"/>
              <a:cs typeface="Arial"/>
            </a:endParaRPr>
          </a:p>
        </p:txBody>
      </p:sp>
      <p:sp>
        <p:nvSpPr>
          <p:cNvPr id="8" name="Rettangolo con angoli arrotondati 7">
            <a:extLst>
              <a:ext uri="{FF2B5EF4-FFF2-40B4-BE49-F238E27FC236}">
                <a16:creationId xmlns:a16="http://schemas.microsoft.com/office/drawing/2014/main" id="{DF311C0B-1B16-91E5-C93B-FB7E84D9EBCC}"/>
              </a:ext>
            </a:extLst>
          </p:cNvPr>
          <p:cNvSpPr/>
          <p:nvPr/>
        </p:nvSpPr>
        <p:spPr>
          <a:xfrm>
            <a:off x="595424" y="2137747"/>
            <a:ext cx="5380075" cy="1815995"/>
          </a:xfrm>
          <a:prstGeom prst="roundRect">
            <a:avLst/>
          </a:prstGeom>
          <a:solidFill>
            <a:schemeClr val="bg1"/>
          </a:solidFill>
          <a:ln>
            <a:solidFill>
              <a:srgbClr val="00949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500" dirty="0">
                <a:solidFill>
                  <a:schemeClr val="tx1">
                    <a:lumMod val="75000"/>
                  </a:schemeClr>
                </a:solidFill>
              </a:rPr>
              <a:t>Aggressive competitors, </a:t>
            </a:r>
            <a:r>
              <a:rPr lang="it-IT" sz="1500" dirty="0" err="1">
                <a:solidFill>
                  <a:schemeClr val="tx1">
                    <a:lumMod val="75000"/>
                  </a:schemeClr>
                </a:solidFill>
              </a:rPr>
              <a:t>especially</a:t>
            </a:r>
            <a:r>
              <a:rPr lang="it-IT" sz="1500" dirty="0">
                <a:solidFill>
                  <a:schemeClr val="tx1">
                    <a:lumMod val="75000"/>
                  </a:schemeClr>
                </a:solidFill>
              </a:rPr>
              <a:t> online banks</a:t>
            </a:r>
          </a:p>
        </p:txBody>
      </p:sp>
      <p:sp>
        <p:nvSpPr>
          <p:cNvPr id="11" name="Rettangolo con angoli arrotondati 10">
            <a:extLst>
              <a:ext uri="{FF2B5EF4-FFF2-40B4-BE49-F238E27FC236}">
                <a16:creationId xmlns:a16="http://schemas.microsoft.com/office/drawing/2014/main" id="{8ECE095D-89C2-1541-BF3A-A2FC84144732}"/>
              </a:ext>
            </a:extLst>
          </p:cNvPr>
          <p:cNvSpPr/>
          <p:nvPr/>
        </p:nvSpPr>
        <p:spPr>
          <a:xfrm>
            <a:off x="595424" y="4127607"/>
            <a:ext cx="5380075" cy="1815994"/>
          </a:xfrm>
          <a:prstGeom prst="roundRect">
            <a:avLst/>
          </a:prstGeom>
          <a:solidFill>
            <a:schemeClr val="bg1"/>
          </a:solidFill>
          <a:ln>
            <a:solidFill>
              <a:srgbClr val="00949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dirty="0">
                <a:solidFill>
                  <a:schemeClr val="tx1">
                    <a:lumMod val="75000"/>
                  </a:schemeClr>
                </a:solidFill>
              </a:rPr>
              <a:t>Activation of the commercial network that is not always uniform</a:t>
            </a:r>
            <a:endParaRPr lang="it-IT" sz="1500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6" name="Rettangolo con angoli arrotondati 5">
            <a:extLst>
              <a:ext uri="{FF2B5EF4-FFF2-40B4-BE49-F238E27FC236}">
                <a16:creationId xmlns:a16="http://schemas.microsoft.com/office/drawing/2014/main" id="{71380578-831E-0988-0714-26FD81345A0D}"/>
              </a:ext>
            </a:extLst>
          </p:cNvPr>
          <p:cNvSpPr/>
          <p:nvPr/>
        </p:nvSpPr>
        <p:spPr>
          <a:xfrm>
            <a:off x="595425" y="1374501"/>
            <a:ext cx="5380075" cy="593125"/>
          </a:xfrm>
          <a:prstGeom prst="roundRect">
            <a:avLst/>
          </a:prstGeom>
          <a:solidFill>
            <a:srgbClr val="00949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/>
              <a:t>PAIN POINTS</a:t>
            </a:r>
          </a:p>
        </p:txBody>
      </p:sp>
      <p:sp>
        <p:nvSpPr>
          <p:cNvPr id="12" name="Rettangolo con angoli arrotondati 11">
            <a:extLst>
              <a:ext uri="{FF2B5EF4-FFF2-40B4-BE49-F238E27FC236}">
                <a16:creationId xmlns:a16="http://schemas.microsoft.com/office/drawing/2014/main" id="{0D361AC1-5C7E-C9E2-7436-D7EAC9660AD8}"/>
              </a:ext>
            </a:extLst>
          </p:cNvPr>
          <p:cNvSpPr/>
          <p:nvPr/>
        </p:nvSpPr>
        <p:spPr>
          <a:xfrm>
            <a:off x="6386624" y="1374501"/>
            <a:ext cx="5192231" cy="593125"/>
          </a:xfrm>
          <a:prstGeom prst="roundRect">
            <a:avLst/>
          </a:prstGeom>
          <a:solidFill>
            <a:srgbClr val="00949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>
                <a:solidFill>
                  <a:schemeClr val="bg1"/>
                </a:solidFill>
              </a:rPr>
              <a:t>SOLUTIONS</a:t>
            </a:r>
          </a:p>
        </p:txBody>
      </p:sp>
      <p:sp>
        <p:nvSpPr>
          <p:cNvPr id="17" name="Rettangolo con angoli arrotondati 16">
            <a:extLst>
              <a:ext uri="{FF2B5EF4-FFF2-40B4-BE49-F238E27FC236}">
                <a16:creationId xmlns:a16="http://schemas.microsoft.com/office/drawing/2014/main" id="{E963639B-6D60-07B3-522B-DBB3D6582A73}"/>
              </a:ext>
            </a:extLst>
          </p:cNvPr>
          <p:cNvSpPr/>
          <p:nvPr/>
        </p:nvSpPr>
        <p:spPr>
          <a:xfrm>
            <a:off x="6386624" y="2137747"/>
            <a:ext cx="5192230" cy="1815995"/>
          </a:xfrm>
          <a:prstGeom prst="roundRect">
            <a:avLst/>
          </a:prstGeom>
          <a:solidFill>
            <a:schemeClr val="bg1"/>
          </a:solidFill>
          <a:ln>
            <a:solidFill>
              <a:srgbClr val="00949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Clr>
                <a:srgbClr val="009496"/>
              </a:buClr>
              <a:buFont typeface="Wingdings" panose="05000000000000000000" pitchFamily="2" charset="2"/>
              <a:buChar char="v"/>
            </a:pPr>
            <a:r>
              <a:rPr lang="en-US" sz="1500" b="1" dirty="0">
                <a:solidFill>
                  <a:schemeClr val="tx1">
                    <a:lumMod val="75000"/>
                  </a:schemeClr>
                </a:solidFill>
              </a:rPr>
              <a:t>Online bank account </a:t>
            </a:r>
            <a:r>
              <a:rPr lang="en-US" sz="1500" dirty="0">
                <a:solidFill>
                  <a:schemeClr val="tx1">
                    <a:lumMod val="75000"/>
                  </a:schemeClr>
                </a:solidFill>
              </a:rPr>
              <a:t>dedicated to liberal professions and sole proprietorships</a:t>
            </a:r>
          </a:p>
          <a:p>
            <a:pPr marL="285750" indent="-285750">
              <a:buClr>
                <a:srgbClr val="009496"/>
              </a:buClr>
              <a:buFont typeface="Wingdings" panose="05000000000000000000" pitchFamily="2" charset="2"/>
              <a:buChar char="v"/>
            </a:pPr>
            <a:r>
              <a:rPr lang="en-US" sz="1500" b="1" dirty="0">
                <a:solidFill>
                  <a:schemeClr val="tx1">
                    <a:lumMod val="75000"/>
                  </a:schemeClr>
                </a:solidFill>
              </a:rPr>
              <a:t>Dedicated offers </a:t>
            </a:r>
            <a:r>
              <a:rPr lang="en-US" sz="1500" dirty="0">
                <a:solidFill>
                  <a:schemeClr val="tx1">
                    <a:lumMod val="75000"/>
                  </a:schemeClr>
                </a:solidFill>
              </a:rPr>
              <a:t>for in-branches business bank accounts, discounts with cross-selling</a:t>
            </a:r>
          </a:p>
          <a:p>
            <a:pPr marL="285750" indent="-285750">
              <a:buClr>
                <a:srgbClr val="009496"/>
              </a:buClr>
              <a:buFont typeface="Wingdings" panose="05000000000000000000" pitchFamily="2" charset="2"/>
              <a:buChar char="v"/>
            </a:pPr>
            <a:r>
              <a:rPr lang="en-US" sz="1500" b="1" dirty="0">
                <a:solidFill>
                  <a:schemeClr val="tx1">
                    <a:lumMod val="75000"/>
                  </a:schemeClr>
                </a:solidFill>
              </a:rPr>
              <a:t>Value-added partnerships </a:t>
            </a:r>
            <a:r>
              <a:rPr lang="en-US" sz="1500" dirty="0">
                <a:solidFill>
                  <a:schemeClr val="tx1">
                    <a:lumMod val="75000"/>
                  </a:schemeClr>
                </a:solidFill>
              </a:rPr>
              <a:t>for customers who pay more attention to services than to pricing</a:t>
            </a:r>
            <a:endParaRPr lang="it-IT" sz="1500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18" name="Rettangolo con angoli arrotondati 17">
            <a:extLst>
              <a:ext uri="{FF2B5EF4-FFF2-40B4-BE49-F238E27FC236}">
                <a16:creationId xmlns:a16="http://schemas.microsoft.com/office/drawing/2014/main" id="{8FFF14EB-82D1-0906-2411-1D87C2D0D28E}"/>
              </a:ext>
            </a:extLst>
          </p:cNvPr>
          <p:cNvSpPr/>
          <p:nvPr/>
        </p:nvSpPr>
        <p:spPr>
          <a:xfrm>
            <a:off x="6386624" y="4127607"/>
            <a:ext cx="5192230" cy="1815994"/>
          </a:xfrm>
          <a:prstGeom prst="roundRect">
            <a:avLst/>
          </a:prstGeom>
          <a:solidFill>
            <a:schemeClr val="bg1"/>
          </a:solidFill>
          <a:ln>
            <a:solidFill>
              <a:srgbClr val="00949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Clr>
                <a:srgbClr val="009496"/>
              </a:buClr>
              <a:buFont typeface="Wingdings" panose="05000000000000000000" pitchFamily="2" charset="2"/>
              <a:buChar char="v"/>
            </a:pPr>
            <a:r>
              <a:rPr lang="it-IT" sz="1500" dirty="0" err="1">
                <a:solidFill>
                  <a:schemeClr val="tx1">
                    <a:lumMod val="75000"/>
                  </a:schemeClr>
                </a:solidFill>
              </a:rPr>
              <a:t>Increased</a:t>
            </a:r>
            <a:r>
              <a:rPr lang="it-IT" sz="15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it-IT" sz="1500" b="1" dirty="0" err="1">
                <a:solidFill>
                  <a:schemeClr val="tx1">
                    <a:lumMod val="75000"/>
                  </a:schemeClr>
                </a:solidFill>
              </a:rPr>
              <a:t>synergies</a:t>
            </a:r>
            <a:r>
              <a:rPr lang="it-IT" sz="15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it-IT" sz="1500" dirty="0" err="1">
                <a:solidFill>
                  <a:schemeClr val="tx1">
                    <a:lumMod val="75000"/>
                  </a:schemeClr>
                </a:solidFill>
              </a:rPr>
              <a:t>between</a:t>
            </a:r>
            <a:r>
              <a:rPr lang="it-IT" sz="15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it-IT" sz="1500" dirty="0" err="1">
                <a:solidFill>
                  <a:schemeClr val="tx1">
                    <a:lumMod val="75000"/>
                  </a:schemeClr>
                </a:solidFill>
              </a:rPr>
              <a:t>segments</a:t>
            </a:r>
            <a:endParaRPr lang="it-IT" sz="1500" dirty="0">
              <a:solidFill>
                <a:schemeClr val="tx1">
                  <a:lumMod val="75000"/>
                </a:schemeClr>
              </a:solidFill>
            </a:endParaRPr>
          </a:p>
          <a:p>
            <a:pPr marL="285750" indent="-285750">
              <a:buClr>
                <a:srgbClr val="009496"/>
              </a:buClr>
              <a:buFont typeface="Wingdings" panose="05000000000000000000" pitchFamily="2" charset="2"/>
              <a:buChar char="v"/>
            </a:pPr>
            <a:r>
              <a:rPr lang="en-US" sz="1500" b="1" dirty="0">
                <a:solidFill>
                  <a:schemeClr val="tx1">
                    <a:lumMod val="75000"/>
                  </a:schemeClr>
                </a:solidFill>
              </a:rPr>
              <a:t>Review of commercial campaign methods</a:t>
            </a:r>
            <a:r>
              <a:rPr lang="en-US" sz="1500" dirty="0">
                <a:solidFill>
                  <a:schemeClr val="tx1">
                    <a:lumMod val="75000"/>
                  </a:schemeClr>
                </a:solidFill>
              </a:rPr>
              <a:t>: campaigns increasingly targeted by number and clients</a:t>
            </a:r>
          </a:p>
          <a:p>
            <a:pPr marL="285750" indent="-285750">
              <a:buClr>
                <a:srgbClr val="009496"/>
              </a:buClr>
              <a:buFont typeface="Wingdings" panose="05000000000000000000" pitchFamily="2" charset="2"/>
              <a:buChar char="v"/>
            </a:pPr>
            <a:r>
              <a:rPr lang="en-US" sz="1500" dirty="0">
                <a:solidFill>
                  <a:schemeClr val="tx1">
                    <a:lumMod val="75000"/>
                  </a:schemeClr>
                </a:solidFill>
              </a:rPr>
              <a:t>Request for </a:t>
            </a:r>
            <a:r>
              <a:rPr lang="en-US" sz="1500" b="1" dirty="0">
                <a:solidFill>
                  <a:schemeClr val="tx1">
                    <a:lumMod val="75000"/>
                  </a:schemeClr>
                </a:solidFill>
              </a:rPr>
              <a:t>development plans </a:t>
            </a:r>
            <a:r>
              <a:rPr lang="en-US" sz="1500" dirty="0">
                <a:solidFill>
                  <a:schemeClr val="tx1">
                    <a:lumMod val="75000"/>
                  </a:schemeClr>
                </a:solidFill>
              </a:rPr>
              <a:t>to any </a:t>
            </a:r>
            <a:r>
              <a:rPr lang="en-US" sz="1500" b="1" dirty="0">
                <a:solidFill>
                  <a:schemeClr val="tx1">
                    <a:lumMod val="75000"/>
                  </a:schemeClr>
                </a:solidFill>
              </a:rPr>
              <a:t>Regional Direction </a:t>
            </a:r>
            <a:r>
              <a:rPr lang="en-US" sz="1500" dirty="0">
                <a:solidFill>
                  <a:schemeClr val="tx1">
                    <a:lumMod val="75000"/>
                  </a:schemeClr>
                </a:solidFill>
              </a:rPr>
              <a:t>to enhance the specificities of their individual territories</a:t>
            </a:r>
            <a:endParaRPr lang="it-IT" sz="1500" dirty="0">
              <a:solidFill>
                <a:schemeClr val="tx1">
                  <a:lumMod val="75000"/>
                </a:schemeClr>
              </a:solidFill>
            </a:endParaRPr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id="{376718B4-14AD-18AF-8F2D-53722CCC67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6690" y="1396849"/>
            <a:ext cx="573117" cy="563592"/>
          </a:xfrm>
          <a:prstGeom prst="rect">
            <a:avLst/>
          </a:prstGeom>
        </p:spPr>
      </p:pic>
      <p:pic>
        <p:nvPicPr>
          <p:cNvPr id="27" name="Immagine 26">
            <a:extLst>
              <a:ext uri="{FF2B5EF4-FFF2-40B4-BE49-F238E27FC236}">
                <a16:creationId xmlns:a16="http://schemas.microsoft.com/office/drawing/2014/main" id="{C0AB3C64-0A74-8090-9BD7-FA3C8A1BC2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86624" y="1396849"/>
            <a:ext cx="607449" cy="552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797947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5A587B-5814-4D9B-9598-FE9CB954CB01}" type="slidenum">
              <a:rPr kumimoji="0" lang="fr-FR" sz="1000" b="1" i="0" u="none" strike="noStrike" kern="1200" cap="none" spc="0" normalizeH="0" baseline="0" noProof="0" smtClean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fr-FR" sz="1000" b="1" i="0" u="none" strike="noStrike" kern="1200" cap="none" spc="0" normalizeH="0" baseline="0" noProof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72BC54F7-9011-4AF9-83D4-4E85DC9DCEE2}"/>
              </a:ext>
            </a:extLst>
          </p:cNvPr>
          <p:cNvSpPr txBox="1"/>
          <p:nvPr/>
        </p:nvSpPr>
        <p:spPr>
          <a:xfrm>
            <a:off x="160871" y="2339162"/>
            <a:ext cx="12031129" cy="956931"/>
          </a:xfrm>
          <a:prstGeom prst="rect">
            <a:avLst/>
          </a:prstGeom>
          <a:noFill/>
          <a:ln>
            <a:solidFill>
              <a:srgbClr val="007C8E"/>
            </a:solidFill>
            <a:prstDash val="sysDash"/>
          </a:ln>
        </p:spPr>
        <p:txBody>
          <a:bodyPr wrap="square" lIns="91440" tIns="45720" rIns="91440" bIns="45720" rtlCol="0" anchor="t">
            <a:noAutofit/>
          </a:bodyPr>
          <a:lstStyle/>
          <a:p>
            <a:pPr marL="0" marR="0" lvl="0" indent="0" algn="ctr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all" spc="0" normalizeH="0" baseline="0" noProof="0" dirty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/>
              <a:sym typeface="Wingdings" panose="05000000000000000000" pitchFamily="2" charset="2"/>
            </a:endParaRPr>
          </a:p>
          <a:p>
            <a:pPr marL="0" marR="0" lvl="0" indent="0" algn="ctr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all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  <a:sym typeface="Wingdings" panose="05000000000000000000" pitchFamily="2" charset="2"/>
              </a:rPr>
              <a:t> </a:t>
            </a:r>
            <a:r>
              <a:rPr lang="en-GB" sz="2400" cap="all" dirty="0">
                <a:solidFill>
                  <a:srgbClr val="009597"/>
                </a:solidFill>
                <a:latin typeface="Arial Black" panose="020B0A04020102020204" pitchFamily="34" charset="0"/>
                <a:cs typeface="Arial"/>
                <a:sym typeface="Wingdings" panose="05000000000000000000" pitchFamily="2" charset="2"/>
              </a:rPr>
              <a:t>5</a:t>
            </a:r>
            <a:r>
              <a:rPr lang="en-GB" sz="2400" cap="all" dirty="0">
                <a:solidFill>
                  <a:srgbClr val="009597"/>
                </a:solidFill>
                <a:latin typeface="Arial Black" panose="020B0A04020102020204" pitchFamily="34" charset="0"/>
                <a:cs typeface="Arial"/>
              </a:rPr>
              <a:t>  )  2026 ambitions and acquisition plan</a:t>
            </a:r>
          </a:p>
          <a:p>
            <a:pPr marL="0" marR="0" lvl="0" indent="0" algn="ctr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all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  <a:sym typeface="Wingdings" panose="05000000000000000000" pitchFamily="2" charset="2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590531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Rettangolo arrotondato 113"/>
          <p:cNvSpPr/>
          <p:nvPr/>
        </p:nvSpPr>
        <p:spPr>
          <a:xfrm>
            <a:off x="2594304" y="3163018"/>
            <a:ext cx="7208064" cy="744984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>
            <a:solidFill>
              <a:schemeClr val="accent2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424113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le proprietorships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d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iberal professionals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re able to open an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nlin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ank account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arting from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d of October 2025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3" name="Rettangolo arrotondato 112"/>
          <p:cNvSpPr/>
          <p:nvPr/>
        </p:nvSpPr>
        <p:spPr>
          <a:xfrm>
            <a:off x="2594304" y="2319978"/>
            <a:ext cx="7208064" cy="744984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>
            <a:solidFill>
              <a:schemeClr val="accent2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424113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597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mmercial campaigns with target lists directly uploaded in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TOKA platform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</a:t>
            </a:r>
            <a:r>
              <a:rPr kumimoji="0" lang="en-AE" sz="12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clients selected by best rating and customized for each Regional Direction in ATOKA platform) and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eneral commercial activity of the network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e.g.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 recommendations</a:t>
            </a:r>
            <a:endParaRPr kumimoji="0" lang="en-AE" sz="1200" b="1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12" name="Rettangolo arrotondato 111"/>
          <p:cNvSpPr/>
          <p:nvPr/>
        </p:nvSpPr>
        <p:spPr>
          <a:xfrm>
            <a:off x="2594304" y="1489279"/>
            <a:ext cx="7208064" cy="744984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>
            <a:solidFill>
              <a:schemeClr val="accent2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424113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dicated offers with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ero fee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ank account for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 months already active. </a:t>
            </a:r>
            <a:r>
              <a:rPr kumimoji="0" lang="en-AE" sz="1200" b="1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w cross-selling bank accounts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discount with Debit Business, Card, Pos and/or damage policies). 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2B6AE198-48F3-4615-A16F-18CF8E4EE7E8}"/>
              </a:ext>
            </a:extLst>
          </p:cNvPr>
          <p:cNvSpPr txBox="1"/>
          <p:nvPr/>
        </p:nvSpPr>
        <p:spPr>
          <a:xfrm>
            <a:off x="49880" y="57371"/>
            <a:ext cx="1205067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all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</a:rPr>
              <a:t>2025 ACTION PLAN / Main actions for NEW CLIENTS ACQUISITION</a:t>
            </a: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all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</a:rPr>
              <a:t>Focus on realizations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FECEFB89-AF4B-C469-2BBB-A1A25D69C0FB}"/>
              </a:ext>
            </a:extLst>
          </p:cNvPr>
          <p:cNvSpPr txBox="1"/>
          <p:nvPr/>
        </p:nvSpPr>
        <p:spPr>
          <a:xfrm>
            <a:off x="233816" y="5991787"/>
            <a:ext cx="1160110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70717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95" name="Rettangolo 94"/>
          <p:cNvSpPr/>
          <p:nvPr/>
        </p:nvSpPr>
        <p:spPr>
          <a:xfrm>
            <a:off x="285766" y="1489279"/>
            <a:ext cx="2236768" cy="2418723"/>
          </a:xfrm>
          <a:prstGeom prst="rect">
            <a:avLst/>
          </a:prstGeom>
          <a:solidFill>
            <a:srgbClr val="009597"/>
          </a:solidFill>
          <a:ln w="9525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numCol="1" rtlCol="0" anchor="ctr"/>
          <a:lstStyle/>
          <a:p>
            <a:pPr marL="0" marR="0" lvl="0" indent="0" algn="ctr" defTabSz="468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RKETING LEVERS</a:t>
            </a:r>
          </a:p>
        </p:txBody>
      </p:sp>
      <p:sp>
        <p:nvSpPr>
          <p:cNvPr id="96" name="Rettangolo 95"/>
          <p:cNvSpPr/>
          <p:nvPr/>
        </p:nvSpPr>
        <p:spPr>
          <a:xfrm>
            <a:off x="285766" y="4258258"/>
            <a:ext cx="2236768" cy="1575683"/>
          </a:xfrm>
          <a:prstGeom prst="rect">
            <a:avLst/>
          </a:prstGeom>
          <a:solidFill>
            <a:srgbClr val="009597"/>
          </a:solidFill>
          <a:ln w="9525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numCol="1" rtlCol="0" anchor="ctr"/>
          <a:lstStyle/>
          <a:p>
            <a:pPr marL="0" marR="0" lvl="0" indent="0" algn="ctr" defTabSz="468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ISTRIBUTION LEVERS</a:t>
            </a:r>
          </a:p>
        </p:txBody>
      </p:sp>
      <p:sp>
        <p:nvSpPr>
          <p:cNvPr id="97" name="Documento 96"/>
          <p:cNvSpPr/>
          <p:nvPr/>
        </p:nvSpPr>
        <p:spPr>
          <a:xfrm>
            <a:off x="2596096" y="1489279"/>
            <a:ext cx="2392202" cy="684000"/>
          </a:xfrm>
          <a:prstGeom prst="flowChartDocumen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accent6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QUISITION OFFERS FOR C/C</a:t>
            </a:r>
          </a:p>
        </p:txBody>
      </p:sp>
      <p:sp>
        <p:nvSpPr>
          <p:cNvPr id="98" name="Documento 97"/>
          <p:cNvSpPr/>
          <p:nvPr/>
        </p:nvSpPr>
        <p:spPr>
          <a:xfrm>
            <a:off x="2596096" y="3168168"/>
            <a:ext cx="2392202" cy="684000"/>
          </a:xfrm>
          <a:prstGeom prst="flowChartDocumen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accent6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NLINE BANK ACCOUNT</a:t>
            </a:r>
          </a:p>
        </p:txBody>
      </p:sp>
      <p:sp>
        <p:nvSpPr>
          <p:cNvPr id="99" name="Documento 98"/>
          <p:cNvSpPr/>
          <p:nvPr/>
        </p:nvSpPr>
        <p:spPr>
          <a:xfrm>
            <a:off x="2596096" y="2328724"/>
            <a:ext cx="2392202" cy="684000"/>
          </a:xfrm>
          <a:prstGeom prst="flowChartDocumen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accent6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MMERCIAL ACTIVITIES</a:t>
            </a:r>
          </a:p>
        </p:txBody>
      </p:sp>
      <p:sp>
        <p:nvSpPr>
          <p:cNvPr id="116" name="Rettangolo arrotondato 115"/>
          <p:cNvSpPr/>
          <p:nvPr/>
        </p:nvSpPr>
        <p:spPr>
          <a:xfrm>
            <a:off x="2594304" y="5088957"/>
            <a:ext cx="7208064" cy="744984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>
            <a:solidFill>
              <a:schemeClr val="accent2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424113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rgbClr val="707173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rently evaluating new agreements (NSA, Kiron, </a:t>
            </a:r>
            <a:r>
              <a:rPr lang="en-US" sz="1200" b="1" dirty="0" err="1">
                <a:solidFill>
                  <a:srgbClr val="707173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dipass</a:t>
            </a:r>
            <a:r>
              <a:rPr lang="en-US" sz="1200" b="1" dirty="0">
                <a:solidFill>
                  <a:srgbClr val="707173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</a:p>
          <a:p>
            <a:pPr marL="2424113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MC Finance, </a:t>
            </a:r>
            <a:r>
              <a:rPr kumimoji="0" lang="en-US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ffida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r>
              <a:rPr kumimoji="0" lang="en-US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uroansa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pa, </a:t>
            </a:r>
            <a:r>
              <a:rPr kumimoji="0" lang="en-US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talfinance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rl, </a:t>
            </a:r>
            <a:r>
              <a:rPr kumimoji="0" lang="en-US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kcredigo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rl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already signed before. 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lots on 3 Regional Directions</a:t>
            </a:r>
          </a:p>
        </p:txBody>
      </p:sp>
      <p:sp>
        <p:nvSpPr>
          <p:cNvPr id="117" name="Rettangolo arrotondato 116"/>
          <p:cNvSpPr/>
          <p:nvPr/>
        </p:nvSpPr>
        <p:spPr>
          <a:xfrm>
            <a:off x="2594304" y="4258258"/>
            <a:ext cx="7208064" cy="744984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>
            <a:solidFill>
              <a:schemeClr val="accent2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424113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ackage of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e-approved economic conditions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e.g. bank account/loans).</a:t>
            </a:r>
          </a:p>
          <a:p>
            <a:pPr marL="2424113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rritorial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etings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rganized with main referents at national level </a:t>
            </a:r>
          </a:p>
        </p:txBody>
      </p:sp>
      <p:sp>
        <p:nvSpPr>
          <p:cNvPr id="118" name="Documento 117"/>
          <p:cNvSpPr/>
          <p:nvPr/>
        </p:nvSpPr>
        <p:spPr>
          <a:xfrm>
            <a:off x="2596096" y="4258258"/>
            <a:ext cx="2392202" cy="684000"/>
          </a:xfrm>
          <a:prstGeom prst="flowChartDocumen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accent6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FIDI AND ASSOCIATIONS</a:t>
            </a:r>
          </a:p>
        </p:txBody>
      </p:sp>
      <p:sp>
        <p:nvSpPr>
          <p:cNvPr id="120" name="Documento 119"/>
          <p:cNvSpPr/>
          <p:nvPr/>
        </p:nvSpPr>
        <p:spPr>
          <a:xfrm>
            <a:off x="2596096" y="5097703"/>
            <a:ext cx="2392202" cy="684000"/>
          </a:xfrm>
          <a:prstGeom prst="flowChartDocumen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accent6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ARTNERSHIP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ITH CREDIT BROKERS</a:t>
            </a:r>
          </a:p>
        </p:txBody>
      </p:sp>
      <p:sp>
        <p:nvSpPr>
          <p:cNvPr id="121" name="CasellaDiTesto 120"/>
          <p:cNvSpPr txBox="1"/>
          <p:nvPr/>
        </p:nvSpPr>
        <p:spPr>
          <a:xfrm>
            <a:off x="9443941" y="743104"/>
            <a:ext cx="2475768" cy="369332"/>
          </a:xfrm>
          <a:prstGeom prst="rect">
            <a:avLst/>
          </a:prstGeom>
          <a:noFill/>
        </p:spPr>
        <p:txBody>
          <a:bodyPr wrap="square" lIns="0" t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stimated contribution to 2026 target achievement (+21,8k  new clients)</a:t>
            </a:r>
          </a:p>
        </p:txBody>
      </p:sp>
      <p:sp>
        <p:nvSpPr>
          <p:cNvPr id="131" name="Ovale 130"/>
          <p:cNvSpPr/>
          <p:nvPr/>
        </p:nvSpPr>
        <p:spPr>
          <a:xfrm>
            <a:off x="10019670" y="1537771"/>
            <a:ext cx="648000" cy="648000"/>
          </a:xfrm>
          <a:prstGeom prst="ellipse">
            <a:avLst/>
          </a:prstGeom>
          <a:solidFill>
            <a:schemeClr val="bg1"/>
          </a:solidFill>
          <a:ln w="57150">
            <a:solidFill>
              <a:srgbClr val="00959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6,4%</a:t>
            </a:r>
          </a:p>
        </p:txBody>
      </p:sp>
      <p:sp>
        <p:nvSpPr>
          <p:cNvPr id="137" name="Rettangolo 136"/>
          <p:cNvSpPr/>
          <p:nvPr/>
        </p:nvSpPr>
        <p:spPr>
          <a:xfrm>
            <a:off x="10921102" y="1231662"/>
            <a:ext cx="950400" cy="190671"/>
          </a:xfrm>
          <a:prstGeom prst="rect">
            <a:avLst/>
          </a:prstGeom>
          <a:noFill/>
          <a:ln w="6350">
            <a:noFill/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#Clients</a:t>
            </a:r>
          </a:p>
        </p:txBody>
      </p:sp>
      <p:sp>
        <p:nvSpPr>
          <p:cNvPr id="139" name="Rettangolo 138"/>
          <p:cNvSpPr/>
          <p:nvPr/>
        </p:nvSpPr>
        <p:spPr>
          <a:xfrm>
            <a:off x="9868265" y="1231662"/>
            <a:ext cx="950811" cy="190671"/>
          </a:xfrm>
          <a:prstGeom prst="rect">
            <a:avLst/>
          </a:prstGeom>
          <a:noFill/>
          <a:ln w="6350">
            <a:noFill/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%</a:t>
            </a:r>
          </a:p>
        </p:txBody>
      </p:sp>
      <p:cxnSp>
        <p:nvCxnSpPr>
          <p:cNvPr id="7" name="Connettore diritto 6"/>
          <p:cNvCxnSpPr/>
          <p:nvPr/>
        </p:nvCxnSpPr>
        <p:spPr>
          <a:xfrm>
            <a:off x="9835478" y="1135053"/>
            <a:ext cx="208423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" name="Ovale 37"/>
          <p:cNvSpPr/>
          <p:nvPr/>
        </p:nvSpPr>
        <p:spPr>
          <a:xfrm>
            <a:off x="10019669" y="2368470"/>
            <a:ext cx="648000" cy="648000"/>
          </a:xfrm>
          <a:prstGeom prst="ellipse">
            <a:avLst/>
          </a:prstGeom>
          <a:solidFill>
            <a:schemeClr val="bg1"/>
          </a:solidFill>
          <a:ln w="57150">
            <a:solidFill>
              <a:srgbClr val="00959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1,3%</a:t>
            </a:r>
          </a:p>
        </p:txBody>
      </p:sp>
      <p:sp>
        <p:nvSpPr>
          <p:cNvPr id="46" name="Ovale 45"/>
          <p:cNvSpPr/>
          <p:nvPr/>
        </p:nvSpPr>
        <p:spPr>
          <a:xfrm>
            <a:off x="10019670" y="3211510"/>
            <a:ext cx="648000" cy="648000"/>
          </a:xfrm>
          <a:prstGeom prst="ellipse">
            <a:avLst/>
          </a:prstGeom>
          <a:solidFill>
            <a:schemeClr val="bg1"/>
          </a:solidFill>
          <a:ln w="57150">
            <a:solidFill>
              <a:srgbClr val="00959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,9%</a:t>
            </a:r>
          </a:p>
        </p:txBody>
      </p:sp>
      <p:sp>
        <p:nvSpPr>
          <p:cNvPr id="47" name="Ovale 46"/>
          <p:cNvSpPr/>
          <p:nvPr/>
        </p:nvSpPr>
        <p:spPr>
          <a:xfrm>
            <a:off x="11072302" y="3211510"/>
            <a:ext cx="648000" cy="648000"/>
          </a:xfrm>
          <a:prstGeom prst="ellipse">
            <a:avLst/>
          </a:prstGeom>
          <a:solidFill>
            <a:schemeClr val="bg1"/>
          </a:solidFill>
          <a:ln w="57150">
            <a:solidFill>
              <a:srgbClr val="00959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00*</a:t>
            </a:r>
          </a:p>
        </p:txBody>
      </p:sp>
      <p:sp>
        <p:nvSpPr>
          <p:cNvPr id="48" name="Ovale 47"/>
          <p:cNvSpPr/>
          <p:nvPr/>
        </p:nvSpPr>
        <p:spPr>
          <a:xfrm>
            <a:off x="10019670" y="5137449"/>
            <a:ext cx="648000" cy="648000"/>
          </a:xfrm>
          <a:prstGeom prst="ellipse">
            <a:avLst/>
          </a:prstGeom>
          <a:solidFill>
            <a:schemeClr val="bg1"/>
          </a:solidFill>
          <a:ln w="57150">
            <a:solidFill>
              <a:srgbClr val="00959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,7%</a:t>
            </a:r>
          </a:p>
        </p:txBody>
      </p:sp>
      <p:sp>
        <p:nvSpPr>
          <p:cNvPr id="49" name="Ovale 48"/>
          <p:cNvSpPr/>
          <p:nvPr/>
        </p:nvSpPr>
        <p:spPr>
          <a:xfrm>
            <a:off x="11072302" y="5137449"/>
            <a:ext cx="648000" cy="648000"/>
          </a:xfrm>
          <a:prstGeom prst="ellipse">
            <a:avLst/>
          </a:prstGeom>
          <a:solidFill>
            <a:schemeClr val="bg1"/>
          </a:solidFill>
          <a:ln w="57150">
            <a:solidFill>
              <a:srgbClr val="00959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50</a:t>
            </a:r>
          </a:p>
        </p:txBody>
      </p:sp>
      <p:sp>
        <p:nvSpPr>
          <p:cNvPr id="50" name="Ovale 49"/>
          <p:cNvSpPr/>
          <p:nvPr/>
        </p:nvSpPr>
        <p:spPr>
          <a:xfrm>
            <a:off x="10019670" y="4306750"/>
            <a:ext cx="648000" cy="648000"/>
          </a:xfrm>
          <a:prstGeom prst="ellipse">
            <a:avLst/>
          </a:prstGeom>
          <a:solidFill>
            <a:schemeClr val="bg1"/>
          </a:solidFill>
          <a:ln w="57150">
            <a:solidFill>
              <a:srgbClr val="00959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,7%</a:t>
            </a:r>
          </a:p>
        </p:txBody>
      </p:sp>
      <p:sp>
        <p:nvSpPr>
          <p:cNvPr id="51" name="Ovale 50"/>
          <p:cNvSpPr/>
          <p:nvPr/>
        </p:nvSpPr>
        <p:spPr>
          <a:xfrm>
            <a:off x="11072302" y="4306750"/>
            <a:ext cx="648000" cy="648000"/>
          </a:xfrm>
          <a:prstGeom prst="ellipse">
            <a:avLst/>
          </a:prstGeom>
          <a:solidFill>
            <a:schemeClr val="bg1"/>
          </a:solidFill>
          <a:ln w="57150">
            <a:solidFill>
              <a:srgbClr val="00959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50</a:t>
            </a:r>
          </a:p>
        </p:txBody>
      </p:sp>
      <p:sp>
        <p:nvSpPr>
          <p:cNvPr id="58" name="Ovale 57"/>
          <p:cNvSpPr/>
          <p:nvPr/>
        </p:nvSpPr>
        <p:spPr>
          <a:xfrm>
            <a:off x="11064394" y="1537771"/>
            <a:ext cx="648000" cy="648000"/>
          </a:xfrm>
          <a:prstGeom prst="ellipse">
            <a:avLst/>
          </a:prstGeom>
          <a:solidFill>
            <a:schemeClr val="bg1"/>
          </a:solidFill>
          <a:ln w="57150">
            <a:solidFill>
              <a:srgbClr val="00959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2300</a:t>
            </a:r>
          </a:p>
        </p:txBody>
      </p:sp>
      <p:sp>
        <p:nvSpPr>
          <p:cNvPr id="59" name="Ovale 58"/>
          <p:cNvSpPr/>
          <p:nvPr/>
        </p:nvSpPr>
        <p:spPr>
          <a:xfrm>
            <a:off x="11064393" y="2368470"/>
            <a:ext cx="648000" cy="648000"/>
          </a:xfrm>
          <a:prstGeom prst="ellipse">
            <a:avLst/>
          </a:prstGeom>
          <a:solidFill>
            <a:schemeClr val="bg1"/>
          </a:solidFill>
          <a:ln w="57150">
            <a:solidFill>
              <a:srgbClr val="00959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9100</a:t>
            </a:r>
          </a:p>
        </p:txBody>
      </p:sp>
      <p:sp>
        <p:nvSpPr>
          <p:cNvPr id="4" name="Rettangolo 3">
            <a:extLst>
              <a:ext uri="{FF2B5EF4-FFF2-40B4-BE49-F238E27FC236}">
                <a16:creationId xmlns:a16="http://schemas.microsoft.com/office/drawing/2014/main" id="{8219C21B-100D-82A6-B428-B59315062871}"/>
              </a:ext>
            </a:extLst>
          </p:cNvPr>
          <p:cNvSpPr/>
          <p:nvPr/>
        </p:nvSpPr>
        <p:spPr>
          <a:xfrm>
            <a:off x="265323" y="6522600"/>
            <a:ext cx="5321816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800" i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150 online bank accounts </a:t>
            </a:r>
            <a:r>
              <a:rPr lang="it-IT" sz="800" i="1" dirty="0" err="1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ned</a:t>
            </a:r>
            <a:r>
              <a:rPr lang="it-IT" sz="800" i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y the end of </a:t>
            </a:r>
            <a:r>
              <a:rPr lang="it-IT" sz="800" i="1" dirty="0" err="1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bruary</a:t>
            </a:r>
            <a:r>
              <a:rPr lang="it-IT" sz="800" i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26</a:t>
            </a:r>
          </a:p>
        </p:txBody>
      </p:sp>
    </p:spTree>
    <p:extLst>
      <p:ext uri="{BB962C8B-B14F-4D97-AF65-F5344CB8AC3E}">
        <p14:creationId xmlns:p14="http://schemas.microsoft.com/office/powerpoint/2010/main" val="382968184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11D747-1185-629D-430B-94AD0E584D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oneTexte 12">
            <a:extLst>
              <a:ext uri="{FF2B5EF4-FFF2-40B4-BE49-F238E27FC236}">
                <a16:creationId xmlns:a16="http://schemas.microsoft.com/office/drawing/2014/main" id="{C012D41E-587E-CE4B-4D50-D6DC180C14D1}"/>
              </a:ext>
            </a:extLst>
          </p:cNvPr>
          <p:cNvSpPr txBox="1"/>
          <p:nvPr/>
        </p:nvSpPr>
        <p:spPr>
          <a:xfrm>
            <a:off x="214579" y="808073"/>
            <a:ext cx="11762841" cy="5332507"/>
          </a:xfrm>
          <a:prstGeom prst="rect">
            <a:avLst/>
          </a:prstGeom>
          <a:noFill/>
          <a:ln>
            <a:solidFill>
              <a:srgbClr val="007C8E"/>
            </a:solidFill>
            <a:prstDash val="sysDash"/>
          </a:ln>
        </p:spPr>
        <p:txBody>
          <a:bodyPr wrap="square" lIns="91440" tIns="45720" rIns="91440" bIns="4572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all" spc="0" normalizeH="0" baseline="0" noProof="0" dirty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/>
              <a:sym typeface="Wingdings" panose="05000000000000000000" pitchFamily="2" charset="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                        </a:t>
            </a:r>
            <a:endParaRPr kumimoji="0" lang="en-GB" sz="1600" b="1" i="0" u="none" strike="noStrike" kern="1200" cap="all" spc="0" normalizeH="0" baseline="0" noProof="0" dirty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all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</a:rPr>
              <a:t>                 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all" spc="0" normalizeH="0" baseline="0" noProof="0" dirty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GB" sz="2800" b="0" i="0" u="none" strike="noStrike" kern="1200" cap="all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</a:rPr>
            </a:br>
            <a:r>
              <a:rPr kumimoji="0" lang="en-GB" sz="2800" b="0" i="0" u="none" strike="noStrike" kern="1200" cap="all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</a:rPr>
              <a:t> </a:t>
            </a: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</a:t>
            </a: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1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489CC89D-341A-299B-136F-65F77E598A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5A587B-5814-4D9B-9598-FE9CB954CB01}" type="slidenum">
              <a:rPr kumimoji="0" lang="fr-FR" sz="1000" b="1" i="0" u="none" strike="noStrike" kern="1200" cap="none" spc="0" normalizeH="0" baseline="0" noProof="0" smtClean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fr-FR" sz="1000" b="1" i="0" u="none" strike="noStrike" kern="1200" cap="none" spc="0" normalizeH="0" baseline="0" noProof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itre 2">
            <a:extLst>
              <a:ext uri="{FF2B5EF4-FFF2-40B4-BE49-F238E27FC236}">
                <a16:creationId xmlns:a16="http://schemas.microsoft.com/office/drawing/2014/main" id="{777A790E-A85B-AF54-8B69-73A9CF9328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3615" y="100493"/>
            <a:ext cx="11539365" cy="616926"/>
          </a:xfrm>
        </p:spPr>
        <p:txBody>
          <a:bodyPr>
            <a:noAutofit/>
          </a:bodyPr>
          <a:lstStyle/>
          <a:p>
            <a:pPr defTabSz="180000">
              <a:defRPr/>
            </a:pPr>
            <a:r>
              <a:rPr lang="en-GB" sz="2400" b="0" dirty="0">
                <a:solidFill>
                  <a:srgbClr val="009597"/>
                </a:solidFill>
                <a:latin typeface="Arial Black" panose="020B0A04020102020204" pitchFamily="34" charset="0"/>
                <a:cs typeface="Arial"/>
              </a:rPr>
              <a:t>ACTION PLAN 2026 - Main actions for NEW CLIENTS ACQUISITION</a:t>
            </a:r>
            <a:br>
              <a:rPr lang="en-GB" sz="2400" b="0" dirty="0">
                <a:solidFill>
                  <a:srgbClr val="009597"/>
                </a:solidFill>
                <a:latin typeface="+mn-lt"/>
              </a:rPr>
            </a:br>
            <a:endParaRPr lang="en-GB" sz="2400" b="0" dirty="0">
              <a:solidFill>
                <a:srgbClr val="009597"/>
              </a:solidFill>
              <a:latin typeface="+mn-lt"/>
              <a:cs typeface="Arial"/>
            </a:endParaRPr>
          </a:p>
        </p:txBody>
      </p:sp>
      <p:sp>
        <p:nvSpPr>
          <p:cNvPr id="12" name="Rettangolo 11">
            <a:extLst>
              <a:ext uri="{FF2B5EF4-FFF2-40B4-BE49-F238E27FC236}">
                <a16:creationId xmlns:a16="http://schemas.microsoft.com/office/drawing/2014/main" id="{7DD6C32B-BBF1-1589-505B-DC1C56C76938}"/>
              </a:ext>
            </a:extLst>
          </p:cNvPr>
          <p:cNvSpPr/>
          <p:nvPr/>
        </p:nvSpPr>
        <p:spPr>
          <a:xfrm>
            <a:off x="696996" y="1147994"/>
            <a:ext cx="1980000" cy="1128464"/>
          </a:xfrm>
          <a:prstGeom prst="rect">
            <a:avLst/>
          </a:prstGeom>
          <a:solidFill>
            <a:srgbClr val="E5F6F5"/>
          </a:solidFill>
          <a:ln w="3175">
            <a:solidFill>
              <a:srgbClr val="019798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defRPr/>
            </a:pPr>
            <a:r>
              <a:rPr lang="it-IT" b="1" noProof="0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BANK ACCOUNTS</a:t>
            </a:r>
            <a:endParaRPr kumimoji="0" lang="it-IT" b="1" i="0" u="none" strike="noStrike" kern="1200" cap="none" spc="0" normalizeH="0" baseline="0" noProof="0" dirty="0">
              <a:ln w="0"/>
              <a:solidFill>
                <a:schemeClr val="tx1">
                  <a:lumMod val="7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ttangolo 13">
            <a:extLst>
              <a:ext uri="{FF2B5EF4-FFF2-40B4-BE49-F238E27FC236}">
                <a16:creationId xmlns:a16="http://schemas.microsoft.com/office/drawing/2014/main" id="{710C2426-2834-0E23-60D0-2FC0117FC66C}"/>
              </a:ext>
            </a:extLst>
          </p:cNvPr>
          <p:cNvSpPr/>
          <p:nvPr/>
        </p:nvSpPr>
        <p:spPr>
          <a:xfrm>
            <a:off x="710927" y="2466752"/>
            <a:ext cx="1980000" cy="1128464"/>
          </a:xfrm>
          <a:prstGeom prst="rect">
            <a:avLst/>
          </a:prstGeom>
          <a:solidFill>
            <a:srgbClr val="E5F6F5"/>
          </a:solidFill>
          <a:ln w="6350">
            <a:solidFill>
              <a:schemeClr val="bg2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>
              <a:spcAft>
                <a:spcPts val="100"/>
              </a:spcAft>
              <a:buClr>
                <a:srgbClr val="92D050"/>
              </a:buClr>
              <a:buSzPct val="130000"/>
            </a:pPr>
            <a:r>
              <a:rPr lang="it-IT" sz="1200" i="1" dirty="0" err="1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vision</a:t>
            </a:r>
            <a:r>
              <a:rPr lang="it-IT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just </a:t>
            </a:r>
            <a:r>
              <a:rPr lang="it-IT" sz="1200" i="1" dirty="0" err="1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leted</a:t>
            </a:r>
            <a:r>
              <a:rPr lang="it-IT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the </a:t>
            </a:r>
            <a:r>
              <a:rPr lang="it-IT" sz="1200" b="1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 of </a:t>
            </a:r>
            <a:r>
              <a:rPr lang="it-IT" sz="1200" b="1" i="1" dirty="0" err="1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ailable</a:t>
            </a:r>
            <a:r>
              <a:rPr lang="it-IT" sz="1200" b="1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ank accounts</a:t>
            </a:r>
            <a:r>
              <a:rPr lang="it-IT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small business/liberal </a:t>
            </a:r>
            <a:r>
              <a:rPr lang="it-IT" sz="1200" i="1" dirty="0" err="1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essions</a:t>
            </a:r>
            <a:r>
              <a:rPr lang="it-IT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ents. </a:t>
            </a:r>
          </a:p>
        </p:txBody>
      </p:sp>
      <p:sp>
        <p:nvSpPr>
          <p:cNvPr id="19" name="Rettangolo 18">
            <a:extLst>
              <a:ext uri="{FF2B5EF4-FFF2-40B4-BE49-F238E27FC236}">
                <a16:creationId xmlns:a16="http://schemas.microsoft.com/office/drawing/2014/main" id="{08F8888D-71BE-C201-9FC4-9C39ED10D0F4}"/>
              </a:ext>
            </a:extLst>
          </p:cNvPr>
          <p:cNvSpPr/>
          <p:nvPr/>
        </p:nvSpPr>
        <p:spPr>
          <a:xfrm>
            <a:off x="710927" y="3770485"/>
            <a:ext cx="1980000" cy="2279441"/>
          </a:xfrm>
          <a:prstGeom prst="rect">
            <a:avLst/>
          </a:prstGeom>
          <a:solidFill>
            <a:schemeClr val="bg1"/>
          </a:solidFill>
          <a:ln w="6350">
            <a:solidFill>
              <a:srgbClr val="007D8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468000" indent="-171450">
              <a:spcAft>
                <a:spcPts val="100"/>
              </a:spcAft>
              <a:buClr>
                <a:srgbClr val="007D8F"/>
              </a:buClr>
              <a:buSzPct val="130000"/>
              <a:buFont typeface="Wingdings" panose="05000000000000000000" pitchFamily="2" charset="2"/>
              <a:buChar char="Ø"/>
            </a:pPr>
            <a:endParaRPr lang="it-IT" sz="1200" i="1" dirty="0">
              <a:ln w="0"/>
              <a:solidFill>
                <a:schemeClr val="tx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68000" indent="-171450">
              <a:spcAft>
                <a:spcPts val="100"/>
              </a:spcAft>
              <a:buClr>
                <a:srgbClr val="007D8F"/>
              </a:buClr>
              <a:buSzPct val="130000"/>
              <a:buFont typeface="Wingdings" panose="05000000000000000000" pitchFamily="2" charset="2"/>
              <a:buChar char="Ø"/>
            </a:pPr>
            <a:r>
              <a:rPr lang="it-IT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it-IT" sz="1200" b="1" i="1" dirty="0" err="1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mplify</a:t>
            </a:r>
            <a:r>
              <a:rPr lang="it-IT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e range of bank accounts</a:t>
            </a:r>
          </a:p>
          <a:p>
            <a:pPr marL="468000" indent="-171450" defTabSz="898525">
              <a:spcAft>
                <a:spcPts val="100"/>
              </a:spcAft>
              <a:buClr>
                <a:srgbClr val="007D8F"/>
              </a:buClr>
              <a:buSzPct val="130000"/>
              <a:buFont typeface="Wingdings" panose="05000000000000000000" pitchFamily="2" charset="2"/>
              <a:buChar char="Ø"/>
              <a:tabLst>
                <a:tab pos="1435100" algn="l"/>
                <a:tab pos="1701800" algn="l"/>
              </a:tabLst>
            </a:pPr>
            <a:r>
              <a:rPr lang="it-IT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it-IT" sz="1200" b="1" i="1" dirty="0" err="1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ize</a:t>
            </a:r>
            <a:r>
              <a:rPr lang="it-IT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e </a:t>
            </a:r>
            <a:r>
              <a:rPr lang="it-IT" sz="1200" i="1" dirty="0" err="1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fer</a:t>
            </a:r>
            <a:r>
              <a:rPr lang="it-IT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customers and </a:t>
            </a:r>
            <a:r>
              <a:rPr lang="it-IT" sz="1200" i="1" dirty="0" err="1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spects</a:t>
            </a:r>
            <a:endParaRPr lang="it-IT" sz="1200" i="1" dirty="0">
              <a:ln w="0"/>
              <a:solidFill>
                <a:schemeClr val="tx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68000" indent="-171450">
              <a:spcAft>
                <a:spcPts val="100"/>
              </a:spcAft>
              <a:buClr>
                <a:srgbClr val="007D8F"/>
              </a:buClr>
              <a:buSzPct val="130000"/>
              <a:buFont typeface="Wingdings" panose="05000000000000000000" pitchFamily="2" charset="2"/>
              <a:buChar char="Ø"/>
            </a:pPr>
            <a:r>
              <a:rPr lang="it-IT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it-IT" sz="1200" i="1" dirty="0" err="1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ost</a:t>
            </a:r>
            <a:r>
              <a:rPr lang="it-IT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200" b="1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ss-selling and reduce </a:t>
            </a:r>
            <a:r>
              <a:rPr lang="it-IT" sz="1200" b="1" i="1" dirty="0" err="1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urn</a:t>
            </a:r>
            <a:r>
              <a:rPr lang="it-IT" sz="1200" b="1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ate</a:t>
            </a:r>
          </a:p>
        </p:txBody>
      </p:sp>
      <p:sp>
        <p:nvSpPr>
          <p:cNvPr id="34" name="Rettangolo 33">
            <a:extLst>
              <a:ext uri="{FF2B5EF4-FFF2-40B4-BE49-F238E27FC236}">
                <a16:creationId xmlns:a16="http://schemas.microsoft.com/office/drawing/2014/main" id="{BD5642F5-C0FC-C20B-7304-CC7D7634E067}"/>
              </a:ext>
            </a:extLst>
          </p:cNvPr>
          <p:cNvSpPr/>
          <p:nvPr/>
        </p:nvSpPr>
        <p:spPr>
          <a:xfrm>
            <a:off x="5206198" y="1147994"/>
            <a:ext cx="1980000" cy="1128464"/>
          </a:xfrm>
          <a:prstGeom prst="rect">
            <a:avLst/>
          </a:prstGeom>
          <a:solidFill>
            <a:srgbClr val="E5F6F5"/>
          </a:solidFill>
          <a:ln w="3175">
            <a:solidFill>
              <a:srgbClr val="019798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defRPr/>
            </a:pPr>
            <a:r>
              <a:rPr lang="it-IT" b="1" noProof="0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BERAL PROFESSIONS</a:t>
            </a:r>
            <a:endParaRPr kumimoji="0" lang="it-IT" b="1" i="0" u="none" strike="noStrike" kern="1200" cap="none" spc="0" normalizeH="0" baseline="0" noProof="0" dirty="0">
              <a:ln w="0"/>
              <a:solidFill>
                <a:schemeClr val="tx1">
                  <a:lumMod val="7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ttangolo 34">
            <a:extLst>
              <a:ext uri="{FF2B5EF4-FFF2-40B4-BE49-F238E27FC236}">
                <a16:creationId xmlns:a16="http://schemas.microsoft.com/office/drawing/2014/main" id="{82580D5C-DBE3-6327-F0FA-8D2E1A6316F2}"/>
              </a:ext>
            </a:extLst>
          </p:cNvPr>
          <p:cNvSpPr/>
          <p:nvPr/>
        </p:nvSpPr>
        <p:spPr>
          <a:xfrm>
            <a:off x="5220129" y="2466752"/>
            <a:ext cx="1980000" cy="1128464"/>
          </a:xfrm>
          <a:prstGeom prst="rect">
            <a:avLst/>
          </a:prstGeom>
          <a:solidFill>
            <a:srgbClr val="E5F6F5"/>
          </a:solidFill>
          <a:ln w="6350">
            <a:solidFill>
              <a:schemeClr val="bg2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>
              <a:spcAft>
                <a:spcPts val="100"/>
              </a:spcAft>
              <a:buClr>
                <a:srgbClr val="92D050"/>
              </a:buClr>
              <a:buSzPct val="130000"/>
            </a:pPr>
            <a:r>
              <a:rPr lang="it-IT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</a:t>
            </a:r>
            <a:r>
              <a:rPr lang="it-IT" sz="1200" b="1" i="1" dirty="0" err="1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osystem</a:t>
            </a:r>
            <a:r>
              <a:rPr lang="it-IT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be </a:t>
            </a:r>
            <a:r>
              <a:rPr lang="it-IT" sz="1200" i="1" dirty="0" err="1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leted</a:t>
            </a:r>
            <a:r>
              <a:rPr lang="it-IT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the liberal </a:t>
            </a:r>
            <a:r>
              <a:rPr lang="it-IT" sz="1200" i="1" dirty="0" err="1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essions</a:t>
            </a:r>
            <a:r>
              <a:rPr lang="it-IT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it-IT" sz="1200" i="1" dirty="0" err="1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t</a:t>
            </a:r>
            <a:r>
              <a:rPr lang="it-IT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200" i="1" dirty="0" err="1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ists</a:t>
            </a:r>
            <a:r>
              <a:rPr lang="it-IT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it-IT" sz="1200" b="1" i="1" dirty="0" err="1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fer</a:t>
            </a:r>
            <a:r>
              <a:rPr lang="it-IT" sz="1200" b="1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ervices and national networks</a:t>
            </a:r>
          </a:p>
        </p:txBody>
      </p:sp>
      <p:sp>
        <p:nvSpPr>
          <p:cNvPr id="36" name="Rettangolo 35">
            <a:extLst>
              <a:ext uri="{FF2B5EF4-FFF2-40B4-BE49-F238E27FC236}">
                <a16:creationId xmlns:a16="http://schemas.microsoft.com/office/drawing/2014/main" id="{6370CDF0-3D55-C63D-9B11-8A0D669B723E}"/>
              </a:ext>
            </a:extLst>
          </p:cNvPr>
          <p:cNvSpPr/>
          <p:nvPr/>
        </p:nvSpPr>
        <p:spPr>
          <a:xfrm>
            <a:off x="5220129" y="3770485"/>
            <a:ext cx="1980000" cy="2279441"/>
          </a:xfrm>
          <a:prstGeom prst="rect">
            <a:avLst/>
          </a:prstGeom>
          <a:solidFill>
            <a:schemeClr val="bg1"/>
          </a:solidFill>
          <a:ln w="6350">
            <a:solidFill>
              <a:srgbClr val="007D8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>
              <a:spcAft>
                <a:spcPts val="100"/>
              </a:spcAft>
              <a:buClr>
                <a:srgbClr val="92D050"/>
              </a:buClr>
              <a:buSzPct val="130000"/>
            </a:pPr>
            <a:endParaRPr lang="it-IT" sz="1200" b="1" i="1" dirty="0">
              <a:ln w="0"/>
              <a:solidFill>
                <a:srgbClr val="007D8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68000" indent="-171450">
              <a:spcAft>
                <a:spcPts val="100"/>
              </a:spcAft>
              <a:buClr>
                <a:srgbClr val="007D8F"/>
              </a:buClr>
              <a:buSzPct val="130000"/>
              <a:buFont typeface="Wingdings" panose="05000000000000000000" pitchFamily="2" charset="2"/>
              <a:buChar char="Ø"/>
            </a:pPr>
            <a:r>
              <a:rPr lang="it-IT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it-IT" sz="1200" i="1" dirty="0" err="1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quest</a:t>
            </a:r>
            <a:r>
              <a:rPr lang="it-IT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e </a:t>
            </a:r>
            <a:r>
              <a:rPr lang="it-IT" sz="1200" b="1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P market </a:t>
            </a:r>
            <a:r>
              <a:rPr lang="it-IT" sz="1200" b="1" i="1" dirty="0" err="1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che</a:t>
            </a:r>
            <a:r>
              <a:rPr lang="it-IT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s </a:t>
            </a:r>
            <a:r>
              <a:rPr lang="it-IT" sz="1200" i="1" dirty="0" err="1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</a:t>
            </a:r>
            <a:r>
              <a:rPr lang="it-IT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200" i="1" dirty="0" err="1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alian</a:t>
            </a:r>
            <a:r>
              <a:rPr lang="it-IT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mpetitor </a:t>
            </a:r>
          </a:p>
          <a:p>
            <a:pPr marL="468000" indent="-171450">
              <a:spcAft>
                <a:spcPts val="100"/>
              </a:spcAft>
              <a:buClr>
                <a:srgbClr val="007D8F"/>
              </a:buClr>
              <a:buSzPct val="130000"/>
              <a:buFont typeface="Wingdings" panose="05000000000000000000" pitchFamily="2" charset="2"/>
              <a:buChar char="Ø"/>
            </a:pPr>
            <a:r>
              <a:rPr lang="it-IT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it-IT" sz="1200" i="1" dirty="0" err="1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ive</a:t>
            </a:r>
            <a:r>
              <a:rPr lang="it-IT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200" b="1" i="1" dirty="0" err="1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ecialized</a:t>
            </a:r>
            <a:r>
              <a:rPr lang="it-IT" sz="1200" b="1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roducts and consulting </a:t>
            </a:r>
            <a:r>
              <a:rPr lang="it-IT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it-IT" sz="1200" i="1" dirty="0" err="1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r</a:t>
            </a:r>
            <a:r>
              <a:rPr lang="it-IT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P customers and </a:t>
            </a:r>
            <a:r>
              <a:rPr lang="it-IT" sz="1200" i="1" dirty="0" err="1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spects</a:t>
            </a:r>
            <a:endParaRPr lang="it-IT" sz="1200" i="1" dirty="0">
              <a:ln w="0"/>
              <a:solidFill>
                <a:schemeClr val="tx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Rettangolo 36">
            <a:extLst>
              <a:ext uri="{FF2B5EF4-FFF2-40B4-BE49-F238E27FC236}">
                <a16:creationId xmlns:a16="http://schemas.microsoft.com/office/drawing/2014/main" id="{1F55B2E0-AB33-C2CA-631C-E9E8E7941B53}"/>
              </a:ext>
            </a:extLst>
          </p:cNvPr>
          <p:cNvSpPr/>
          <p:nvPr/>
        </p:nvSpPr>
        <p:spPr>
          <a:xfrm>
            <a:off x="7460799" y="1147994"/>
            <a:ext cx="1980000" cy="1128464"/>
          </a:xfrm>
          <a:prstGeom prst="rect">
            <a:avLst/>
          </a:prstGeom>
          <a:solidFill>
            <a:srgbClr val="E5F6F5"/>
          </a:solidFill>
          <a:ln w="3175">
            <a:solidFill>
              <a:srgbClr val="019798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defRPr/>
            </a:pPr>
            <a:r>
              <a:rPr lang="it-IT" b="1" noProof="0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DIT BROKERS</a:t>
            </a:r>
            <a:endParaRPr kumimoji="0" lang="it-IT" b="1" i="0" u="none" strike="noStrike" kern="1200" cap="none" spc="0" normalizeH="0" baseline="0" noProof="0" dirty="0">
              <a:ln w="0"/>
              <a:solidFill>
                <a:schemeClr val="tx1">
                  <a:lumMod val="7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Rettangolo 37">
            <a:extLst>
              <a:ext uri="{FF2B5EF4-FFF2-40B4-BE49-F238E27FC236}">
                <a16:creationId xmlns:a16="http://schemas.microsoft.com/office/drawing/2014/main" id="{82123A5A-2320-6A35-94BC-A10DB8B3D86F}"/>
              </a:ext>
            </a:extLst>
          </p:cNvPr>
          <p:cNvSpPr/>
          <p:nvPr/>
        </p:nvSpPr>
        <p:spPr>
          <a:xfrm>
            <a:off x="7474730" y="2466752"/>
            <a:ext cx="1980000" cy="1128464"/>
          </a:xfrm>
          <a:prstGeom prst="rect">
            <a:avLst/>
          </a:prstGeom>
          <a:solidFill>
            <a:srgbClr val="E5F6F5"/>
          </a:solidFill>
          <a:ln w="6350">
            <a:solidFill>
              <a:schemeClr val="bg2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>
              <a:spcAft>
                <a:spcPts val="100"/>
              </a:spcAft>
              <a:buClr>
                <a:srgbClr val="92D050"/>
              </a:buClr>
              <a:buSzPct val="130000"/>
            </a:pPr>
            <a:r>
              <a:rPr lang="it-IT" sz="1200" i="1" dirty="0" err="1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rther</a:t>
            </a:r>
            <a:r>
              <a:rPr lang="it-IT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200" i="1" dirty="0" err="1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ment</a:t>
            </a:r>
            <a:r>
              <a:rPr lang="it-IT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</a:t>
            </a:r>
            <a:r>
              <a:rPr lang="it-IT" sz="1200" b="1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okers</a:t>
            </a:r>
            <a:r>
              <a:rPr lang="it-IT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etwork and deployment the project to</a:t>
            </a:r>
            <a:r>
              <a:rPr lang="it-IT" sz="1200" b="1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200" b="1" i="1" dirty="0" err="1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</a:t>
            </a:r>
            <a:r>
              <a:rPr lang="it-IT" sz="1200" b="1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200" b="1" i="1" dirty="0" err="1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onal</a:t>
            </a:r>
            <a:r>
              <a:rPr lang="it-IT" sz="1200" b="1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200" b="1" i="1" dirty="0" err="1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ions</a:t>
            </a:r>
            <a:endParaRPr lang="it-IT" sz="1200" b="1" i="1" dirty="0">
              <a:ln w="0"/>
              <a:solidFill>
                <a:schemeClr val="tx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Rettangolo 38">
            <a:extLst>
              <a:ext uri="{FF2B5EF4-FFF2-40B4-BE49-F238E27FC236}">
                <a16:creationId xmlns:a16="http://schemas.microsoft.com/office/drawing/2014/main" id="{2E7851C5-39B0-52DD-721D-810F260F3E14}"/>
              </a:ext>
            </a:extLst>
          </p:cNvPr>
          <p:cNvSpPr/>
          <p:nvPr/>
        </p:nvSpPr>
        <p:spPr>
          <a:xfrm>
            <a:off x="7474730" y="3770485"/>
            <a:ext cx="1980000" cy="2279441"/>
          </a:xfrm>
          <a:prstGeom prst="rect">
            <a:avLst/>
          </a:prstGeom>
          <a:solidFill>
            <a:schemeClr val="bg1"/>
          </a:solidFill>
          <a:ln w="6350">
            <a:solidFill>
              <a:srgbClr val="007D8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468000" indent="-171450">
              <a:spcAft>
                <a:spcPts val="100"/>
              </a:spcAft>
              <a:buClr>
                <a:srgbClr val="007D8F"/>
              </a:buClr>
              <a:buSzPct val="130000"/>
              <a:buFont typeface="Wingdings" panose="05000000000000000000" pitchFamily="2" charset="2"/>
              <a:buChar char="Ø"/>
            </a:pPr>
            <a:r>
              <a:rPr lang="it-IT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it-IT" sz="1200" i="1" dirty="0" err="1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</a:t>
            </a:r>
            <a:r>
              <a:rPr lang="it-IT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200" b="1" i="1" dirty="0" err="1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quisition</a:t>
            </a:r>
            <a:endParaRPr lang="it-IT" sz="1200" b="1" i="1" dirty="0">
              <a:ln w="0"/>
              <a:solidFill>
                <a:schemeClr val="tx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68000" indent="-171450">
              <a:spcAft>
                <a:spcPts val="100"/>
              </a:spcAft>
              <a:buClr>
                <a:srgbClr val="007D8F"/>
              </a:buClr>
              <a:buSzPct val="130000"/>
              <a:buFont typeface="Wingdings" panose="05000000000000000000" pitchFamily="2" charset="2"/>
              <a:buChar char="Ø"/>
            </a:pPr>
            <a:r>
              <a:rPr lang="it-IT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it-IT" sz="1200" i="1" dirty="0" err="1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rove</a:t>
            </a:r>
            <a:r>
              <a:rPr lang="it-IT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200" i="1" dirty="0" err="1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r</a:t>
            </a:r>
            <a:r>
              <a:rPr lang="it-IT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200" b="1" i="1" dirty="0" err="1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ans</a:t>
            </a:r>
            <a:r>
              <a:rPr lang="it-IT" sz="1200" b="1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tock</a:t>
            </a:r>
          </a:p>
          <a:p>
            <a:pPr marL="468000" indent="-171450">
              <a:spcAft>
                <a:spcPts val="100"/>
              </a:spcAft>
              <a:buClr>
                <a:srgbClr val="007D8F"/>
              </a:buClr>
              <a:buSzPct val="130000"/>
              <a:buFont typeface="Wingdings" panose="05000000000000000000" pitchFamily="2" charset="2"/>
              <a:buChar char="Ø"/>
            </a:pPr>
            <a:r>
              <a:rPr lang="it-IT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it-IT" sz="1200" i="1" dirty="0" err="1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unch</a:t>
            </a:r>
            <a:r>
              <a:rPr lang="it-IT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it-IT" sz="1200" b="1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teady </a:t>
            </a:r>
            <a:r>
              <a:rPr lang="it-IT" sz="1200" b="1" i="1" dirty="0" err="1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quisition</a:t>
            </a:r>
            <a:r>
              <a:rPr lang="it-IT" sz="1200" b="1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200" b="1" i="1" dirty="0" err="1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nel</a:t>
            </a:r>
            <a:endParaRPr lang="it-IT" sz="1200" b="1" i="1" dirty="0">
              <a:ln w="0"/>
              <a:solidFill>
                <a:schemeClr val="tx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Rettangolo 39">
            <a:extLst>
              <a:ext uri="{FF2B5EF4-FFF2-40B4-BE49-F238E27FC236}">
                <a16:creationId xmlns:a16="http://schemas.microsoft.com/office/drawing/2014/main" id="{7746E1B3-2623-24FD-2CA2-C719238D8D13}"/>
              </a:ext>
            </a:extLst>
          </p:cNvPr>
          <p:cNvSpPr/>
          <p:nvPr/>
        </p:nvSpPr>
        <p:spPr>
          <a:xfrm>
            <a:off x="9715401" y="1147994"/>
            <a:ext cx="1980000" cy="1128464"/>
          </a:xfrm>
          <a:prstGeom prst="rect">
            <a:avLst/>
          </a:prstGeom>
          <a:solidFill>
            <a:srgbClr val="E5F6F5"/>
          </a:solidFill>
          <a:ln w="3175">
            <a:solidFill>
              <a:srgbClr val="019798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defRPr/>
            </a:pPr>
            <a:r>
              <a:rPr lang="it-IT" b="1" noProof="0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TFORM FOR THIRD-PARTY NETWORKS</a:t>
            </a:r>
            <a:endParaRPr kumimoji="0" lang="it-IT" b="1" i="0" u="none" strike="noStrike" kern="1200" cap="none" spc="0" normalizeH="0" baseline="0" noProof="0" dirty="0">
              <a:ln w="0"/>
              <a:solidFill>
                <a:schemeClr val="tx1">
                  <a:lumMod val="7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Rettangolo 40">
            <a:extLst>
              <a:ext uri="{FF2B5EF4-FFF2-40B4-BE49-F238E27FC236}">
                <a16:creationId xmlns:a16="http://schemas.microsoft.com/office/drawing/2014/main" id="{E231CDE5-929A-9929-0EE3-3AE572157923}"/>
              </a:ext>
            </a:extLst>
          </p:cNvPr>
          <p:cNvSpPr/>
          <p:nvPr/>
        </p:nvSpPr>
        <p:spPr>
          <a:xfrm>
            <a:off x="9729332" y="2466752"/>
            <a:ext cx="1980000" cy="1128464"/>
          </a:xfrm>
          <a:prstGeom prst="rect">
            <a:avLst/>
          </a:prstGeom>
          <a:solidFill>
            <a:srgbClr val="E5F6F5"/>
          </a:solidFill>
          <a:ln w="6350">
            <a:solidFill>
              <a:schemeClr val="bg2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>
              <a:spcAft>
                <a:spcPts val="100"/>
              </a:spcAft>
              <a:buClr>
                <a:srgbClr val="92D050"/>
              </a:buClr>
              <a:buSzPct val="130000"/>
            </a:pPr>
            <a:r>
              <a:rPr lang="it-IT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</a:t>
            </a:r>
            <a:r>
              <a:rPr lang="it-IT" sz="1200" i="1" dirty="0" err="1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tform</a:t>
            </a:r>
            <a:r>
              <a:rPr lang="it-IT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be </a:t>
            </a:r>
            <a:r>
              <a:rPr lang="it-IT" sz="1200" i="1" dirty="0" err="1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ed</a:t>
            </a:r>
            <a:r>
              <a:rPr lang="it-IT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it-IT" sz="1200" i="1" dirty="0" err="1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der</a:t>
            </a:r>
            <a:r>
              <a:rPr lang="it-IT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</a:t>
            </a:r>
            <a:r>
              <a:rPr lang="it-IT" sz="1200" b="1" i="1" dirty="0" err="1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age</a:t>
            </a:r>
            <a:r>
              <a:rPr lang="it-IT" sz="1200" b="1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200" b="1" i="1" dirty="0" err="1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okered</a:t>
            </a:r>
            <a:r>
              <a:rPr lang="it-IT" sz="1200" b="1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ending practices </a:t>
            </a:r>
            <a:r>
              <a:rPr lang="it-IT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y </a:t>
            </a:r>
            <a:r>
              <a:rPr lang="it-IT" sz="1200" i="1" dirty="0" err="1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rd</a:t>
            </a:r>
            <a:r>
              <a:rPr lang="it-IT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parties (</a:t>
            </a:r>
            <a:r>
              <a:rPr lang="it-IT" sz="1200" i="1" dirty="0" err="1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dors</a:t>
            </a:r>
            <a:r>
              <a:rPr lang="it-IT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Confidi, brokers) </a:t>
            </a:r>
          </a:p>
        </p:txBody>
      </p:sp>
      <p:sp>
        <p:nvSpPr>
          <p:cNvPr id="42" name="Rettangolo 41">
            <a:extLst>
              <a:ext uri="{FF2B5EF4-FFF2-40B4-BE49-F238E27FC236}">
                <a16:creationId xmlns:a16="http://schemas.microsoft.com/office/drawing/2014/main" id="{B592384A-7D5C-F2BC-CC04-D95C9DBB3BFE}"/>
              </a:ext>
            </a:extLst>
          </p:cNvPr>
          <p:cNvSpPr/>
          <p:nvPr/>
        </p:nvSpPr>
        <p:spPr>
          <a:xfrm>
            <a:off x="9729332" y="3770485"/>
            <a:ext cx="1980000" cy="2279441"/>
          </a:xfrm>
          <a:prstGeom prst="rect">
            <a:avLst/>
          </a:prstGeom>
          <a:solidFill>
            <a:schemeClr val="bg1"/>
          </a:solidFill>
          <a:ln w="6350">
            <a:solidFill>
              <a:srgbClr val="007D8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468000" indent="-171450">
              <a:spcAft>
                <a:spcPts val="100"/>
              </a:spcAft>
              <a:buClr>
                <a:srgbClr val="007D8F"/>
              </a:buClr>
              <a:buSzPct val="130000"/>
              <a:buFont typeface="Wingdings" panose="05000000000000000000" pitchFamily="2" charset="2"/>
              <a:buChar char="Ø"/>
            </a:pPr>
            <a:r>
              <a:rPr lang="en-US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increase </a:t>
            </a:r>
            <a:r>
              <a:rPr lang="en-US" sz="1200" b="1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 lines, turnover</a:t>
            </a:r>
            <a:r>
              <a:rPr lang="en-US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US" sz="1200" b="1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customers</a:t>
            </a:r>
          </a:p>
          <a:p>
            <a:pPr marL="468000" indent="-171450">
              <a:spcAft>
                <a:spcPts val="100"/>
              </a:spcAft>
              <a:buClr>
                <a:srgbClr val="007D8F"/>
              </a:buClr>
              <a:buSzPct val="130000"/>
              <a:buFont typeface="Wingdings" panose="05000000000000000000" pitchFamily="2" charset="2"/>
              <a:buChar char="Ø"/>
            </a:pPr>
            <a:r>
              <a:rPr lang="en-US" sz="1200" b="1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reduce</a:t>
            </a:r>
            <a:r>
              <a:rPr lang="en-US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operational, compliance and security </a:t>
            </a:r>
            <a:r>
              <a:rPr lang="en-US" sz="1200" b="1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ks</a:t>
            </a:r>
          </a:p>
          <a:p>
            <a:pPr marL="468000" indent="-171450">
              <a:spcAft>
                <a:spcPts val="100"/>
              </a:spcAft>
              <a:buClr>
                <a:srgbClr val="007D8F"/>
              </a:buClr>
              <a:buSzPct val="130000"/>
              <a:buFont typeface="Wingdings" panose="05000000000000000000" pitchFamily="2" charset="2"/>
              <a:buChar char="Ø"/>
            </a:pPr>
            <a:r>
              <a:rPr lang="en-US" sz="1200" b="1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save time </a:t>
            </a:r>
            <a:r>
              <a:rPr lang="en-US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ing from the proposition (digital improvement)</a:t>
            </a:r>
          </a:p>
        </p:txBody>
      </p:sp>
      <p:sp>
        <p:nvSpPr>
          <p:cNvPr id="43" name="Rettangolo 42">
            <a:extLst>
              <a:ext uri="{FF2B5EF4-FFF2-40B4-BE49-F238E27FC236}">
                <a16:creationId xmlns:a16="http://schemas.microsoft.com/office/drawing/2014/main" id="{63AA27DF-151E-FA71-21CD-C0026EA846A2}"/>
              </a:ext>
            </a:extLst>
          </p:cNvPr>
          <p:cNvSpPr/>
          <p:nvPr/>
        </p:nvSpPr>
        <p:spPr>
          <a:xfrm>
            <a:off x="2951597" y="1147994"/>
            <a:ext cx="1980000" cy="1128464"/>
          </a:xfrm>
          <a:prstGeom prst="rect">
            <a:avLst/>
          </a:prstGeom>
          <a:solidFill>
            <a:srgbClr val="E5F6F5"/>
          </a:solidFill>
          <a:ln w="3175">
            <a:solidFill>
              <a:srgbClr val="019798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defRPr/>
            </a:pPr>
            <a:r>
              <a:rPr lang="it-IT" b="1" noProof="0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LINE BANK ACCOUNT</a:t>
            </a:r>
            <a:endParaRPr kumimoji="0" lang="it-IT" b="1" i="0" u="none" strike="noStrike" kern="1200" cap="none" spc="0" normalizeH="0" baseline="0" noProof="0" dirty="0">
              <a:ln w="0"/>
              <a:solidFill>
                <a:schemeClr val="tx1">
                  <a:lumMod val="7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Rettangolo 43">
            <a:extLst>
              <a:ext uri="{FF2B5EF4-FFF2-40B4-BE49-F238E27FC236}">
                <a16:creationId xmlns:a16="http://schemas.microsoft.com/office/drawing/2014/main" id="{33B6D45D-3A24-AC81-FF50-C8410079BBB4}"/>
              </a:ext>
            </a:extLst>
          </p:cNvPr>
          <p:cNvSpPr/>
          <p:nvPr/>
        </p:nvSpPr>
        <p:spPr>
          <a:xfrm>
            <a:off x="2965528" y="2466752"/>
            <a:ext cx="1980000" cy="1128464"/>
          </a:xfrm>
          <a:prstGeom prst="rect">
            <a:avLst/>
          </a:prstGeom>
          <a:solidFill>
            <a:srgbClr val="E5F6F5"/>
          </a:solidFill>
          <a:ln w="6350">
            <a:solidFill>
              <a:schemeClr val="bg2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>
              <a:spcAft>
                <a:spcPts val="100"/>
              </a:spcAft>
              <a:buClr>
                <a:srgbClr val="92D050"/>
              </a:buClr>
              <a:buSzPct val="130000"/>
            </a:pPr>
            <a:r>
              <a:rPr lang="it-IT" sz="1200" b="1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x</a:t>
            </a:r>
            <a:r>
              <a:rPr lang="it-IT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small bugs after </a:t>
            </a:r>
            <a:r>
              <a:rPr lang="it-IT" sz="1200" i="1" dirty="0" err="1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s</a:t>
            </a:r>
            <a:r>
              <a:rPr lang="it-IT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200" i="1" dirty="0" err="1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unch</a:t>
            </a:r>
            <a:r>
              <a:rPr lang="it-IT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start of </a:t>
            </a:r>
            <a:r>
              <a:rPr lang="it-IT" sz="1200" b="1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vertisement</a:t>
            </a:r>
            <a:r>
              <a:rPr lang="it-IT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5" name="Rettangolo 44">
            <a:extLst>
              <a:ext uri="{FF2B5EF4-FFF2-40B4-BE49-F238E27FC236}">
                <a16:creationId xmlns:a16="http://schemas.microsoft.com/office/drawing/2014/main" id="{B55B2314-2927-834D-8A22-693179EEE7CE}"/>
              </a:ext>
            </a:extLst>
          </p:cNvPr>
          <p:cNvSpPr/>
          <p:nvPr/>
        </p:nvSpPr>
        <p:spPr>
          <a:xfrm>
            <a:off x="2965528" y="3770485"/>
            <a:ext cx="1980000" cy="2279441"/>
          </a:xfrm>
          <a:prstGeom prst="rect">
            <a:avLst/>
          </a:prstGeom>
          <a:solidFill>
            <a:schemeClr val="bg1"/>
          </a:solidFill>
          <a:ln w="6350">
            <a:solidFill>
              <a:srgbClr val="007D8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468000" indent="-171450">
              <a:spcAft>
                <a:spcPts val="100"/>
              </a:spcAft>
              <a:buClr>
                <a:srgbClr val="007D8F"/>
              </a:buClr>
              <a:buSzPct val="130000"/>
              <a:buFont typeface="Wingdings" panose="05000000000000000000" pitchFamily="2" charset="2"/>
              <a:buChar char="Ø"/>
            </a:pPr>
            <a:r>
              <a:rPr lang="it-IT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it-IT" sz="1200" i="1" dirty="0" err="1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</a:t>
            </a:r>
            <a:r>
              <a:rPr lang="it-IT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e  </a:t>
            </a:r>
            <a:r>
              <a:rPr lang="it-IT" sz="1200" i="1" dirty="0" err="1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quest</a:t>
            </a:r>
            <a:r>
              <a:rPr lang="it-IT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</a:t>
            </a:r>
            <a:r>
              <a:rPr lang="it-IT" sz="1200" b="1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P and sole </a:t>
            </a:r>
            <a:r>
              <a:rPr lang="it-IT" sz="1200" b="1" i="1" dirty="0" err="1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rietorships</a:t>
            </a:r>
            <a:endParaRPr lang="it-IT" sz="1200" b="1" i="1" dirty="0">
              <a:ln w="0"/>
              <a:solidFill>
                <a:schemeClr val="tx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68000" indent="-171450">
              <a:spcAft>
                <a:spcPts val="100"/>
              </a:spcAft>
              <a:buClr>
                <a:srgbClr val="007D8F"/>
              </a:buClr>
              <a:buSzPct val="130000"/>
              <a:buFont typeface="Wingdings" panose="05000000000000000000" pitchFamily="2" charset="2"/>
              <a:buChar char="Ø"/>
            </a:pPr>
            <a:r>
              <a:rPr lang="it-IT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it-IT" sz="1200" b="1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uce </a:t>
            </a:r>
            <a:r>
              <a:rPr lang="it-IT" sz="1200" b="1" i="1" dirty="0" err="1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ational</a:t>
            </a:r>
            <a:r>
              <a:rPr lang="it-IT" sz="1200" b="1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ime </a:t>
            </a:r>
            <a:r>
              <a:rPr lang="it-IT" sz="1200" i="1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ide the </a:t>
            </a:r>
            <a:r>
              <a:rPr lang="it-IT" sz="1200" i="1" dirty="0" err="1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anches</a:t>
            </a:r>
            <a:endParaRPr lang="it-IT" sz="1200" i="1" dirty="0">
              <a:ln w="0"/>
              <a:solidFill>
                <a:schemeClr val="tx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Freccia bidirezionale orizzontale 5">
            <a:extLst>
              <a:ext uri="{FF2B5EF4-FFF2-40B4-BE49-F238E27FC236}">
                <a16:creationId xmlns:a16="http://schemas.microsoft.com/office/drawing/2014/main" id="{1227E874-24FE-B672-E2F7-4B4C615831B2}"/>
              </a:ext>
            </a:extLst>
          </p:cNvPr>
          <p:cNvSpPr/>
          <p:nvPr/>
        </p:nvSpPr>
        <p:spPr>
          <a:xfrm>
            <a:off x="9220292" y="2083246"/>
            <a:ext cx="715617" cy="159026"/>
          </a:xfrm>
          <a:prstGeom prst="leftRightArrow">
            <a:avLst/>
          </a:prstGeom>
          <a:solidFill>
            <a:srgbClr val="3397A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" name="Rettangolo 1">
            <a:extLst>
              <a:ext uri="{FF2B5EF4-FFF2-40B4-BE49-F238E27FC236}">
                <a16:creationId xmlns:a16="http://schemas.microsoft.com/office/drawing/2014/main" id="{1E7608EC-EA07-F672-60EA-E69F8C54F5A3}"/>
              </a:ext>
            </a:extLst>
          </p:cNvPr>
          <p:cNvSpPr/>
          <p:nvPr/>
        </p:nvSpPr>
        <p:spPr>
          <a:xfrm rot="16200000">
            <a:off x="-657797" y="4759005"/>
            <a:ext cx="2279443" cy="302400"/>
          </a:xfrm>
          <a:prstGeom prst="rect">
            <a:avLst/>
          </a:prstGeom>
          <a:solidFill>
            <a:srgbClr val="3397A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00" b="1" dirty="0"/>
              <a:t>MAIN GOALS</a:t>
            </a:r>
          </a:p>
        </p:txBody>
      </p:sp>
      <p:sp>
        <p:nvSpPr>
          <p:cNvPr id="15" name="Rettangolo 14">
            <a:extLst>
              <a:ext uri="{FF2B5EF4-FFF2-40B4-BE49-F238E27FC236}">
                <a16:creationId xmlns:a16="http://schemas.microsoft.com/office/drawing/2014/main" id="{8A7DEAD6-4C1F-940B-5CEC-A2E428BD795C}"/>
              </a:ext>
            </a:extLst>
          </p:cNvPr>
          <p:cNvSpPr/>
          <p:nvPr/>
        </p:nvSpPr>
        <p:spPr>
          <a:xfrm rot="16200000">
            <a:off x="-79689" y="1563118"/>
            <a:ext cx="1123227" cy="303458"/>
          </a:xfrm>
          <a:prstGeom prst="rect">
            <a:avLst/>
          </a:prstGeom>
          <a:solidFill>
            <a:srgbClr val="3397A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00" b="1" dirty="0"/>
              <a:t>PROJECT</a:t>
            </a: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E4C16CC9-E1C9-CBFB-CD00-C16FB9BFA44E}"/>
              </a:ext>
            </a:extLst>
          </p:cNvPr>
          <p:cNvSpPr/>
          <p:nvPr/>
        </p:nvSpPr>
        <p:spPr>
          <a:xfrm rot="16200000">
            <a:off x="-79690" y="2854829"/>
            <a:ext cx="1123229" cy="303460"/>
          </a:xfrm>
          <a:prstGeom prst="rect">
            <a:avLst/>
          </a:prstGeom>
          <a:solidFill>
            <a:srgbClr val="3397A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00" b="1" dirty="0"/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258543030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5A587B-5814-4D9B-9598-FE9CB954CB01}" type="slidenum">
              <a:rPr kumimoji="0" lang="fr-FR" sz="1000" b="1" i="0" u="none" strike="noStrike" kern="1200" cap="none" spc="0" normalizeH="0" baseline="0" noProof="0" smtClean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fr-FR" sz="1000" b="1" i="0" u="none" strike="noStrike" kern="1200" cap="none" spc="0" normalizeH="0" baseline="0" noProof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72BC54F7-9011-4AF9-83D4-4E85DC9DCEE2}"/>
              </a:ext>
            </a:extLst>
          </p:cNvPr>
          <p:cNvSpPr txBox="1"/>
          <p:nvPr/>
        </p:nvSpPr>
        <p:spPr>
          <a:xfrm>
            <a:off x="160871" y="1933903"/>
            <a:ext cx="12031129" cy="1495097"/>
          </a:xfrm>
          <a:prstGeom prst="rect">
            <a:avLst/>
          </a:prstGeom>
          <a:noFill/>
          <a:ln>
            <a:solidFill>
              <a:srgbClr val="007C8E"/>
            </a:solidFill>
            <a:prstDash val="sysDash"/>
          </a:ln>
        </p:spPr>
        <p:txBody>
          <a:bodyPr wrap="square" lIns="91440" tIns="45720" rIns="91440" bIns="45720" rtlCol="0" anchor="t">
            <a:noAutofit/>
          </a:bodyPr>
          <a:lstStyle/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all" spc="0" normalizeH="0" baseline="0" noProof="0" dirty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/>
              <a:sym typeface="Wingdings" panose="05000000000000000000" pitchFamily="2" charset="2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cap="all" dirty="0">
              <a:solidFill>
                <a:srgbClr val="009597"/>
              </a:solidFill>
              <a:latin typeface="Arial Black" panose="020B0A04020102020204" pitchFamily="34" charset="0"/>
              <a:cs typeface="Arial"/>
              <a:sym typeface="Wingdings" panose="05000000000000000000" pitchFamily="2" charset="2"/>
            </a:endParaRPr>
          </a:p>
          <a:p>
            <a:pPr algn="ctr" defTabSz="514266">
              <a:defRPr/>
            </a:pPr>
            <a:r>
              <a:rPr lang="en-GB" sz="2400" cap="all" dirty="0">
                <a:solidFill>
                  <a:srgbClr val="009597"/>
                </a:solidFill>
                <a:latin typeface="Arial Black" panose="020B0A04020102020204" pitchFamily="34" charset="0"/>
                <a:cs typeface="Arial"/>
                <a:sym typeface="Wingdings" panose="05000000000000000000" pitchFamily="2" charset="2"/>
              </a:rPr>
              <a:t>6 </a:t>
            </a:r>
            <a:r>
              <a:rPr lang="en-GB" sz="2400" cap="all" dirty="0">
                <a:solidFill>
                  <a:srgbClr val="009597"/>
                </a:solidFill>
                <a:latin typeface="Arial Black" panose="020B0A04020102020204" pitchFamily="34" charset="0"/>
                <a:cs typeface="Arial"/>
              </a:rPr>
              <a:t>)  2026 innovations within the BPIs</a:t>
            </a:r>
          </a:p>
          <a:p>
            <a:pPr algn="ctr" defTabSz="514266">
              <a:defRPr/>
            </a:pPr>
            <a:r>
              <a:rPr lang="en-GB" sz="2400" cap="all" dirty="0">
                <a:solidFill>
                  <a:srgbClr val="009597"/>
                </a:solidFill>
                <a:latin typeface="Arial Black" panose="020B0A04020102020204" pitchFamily="34" charset="0"/>
                <a:cs typeface="Arial"/>
                <a:sym typeface="Wingdings" panose="05000000000000000000" pitchFamily="2" charset="2"/>
              </a:rPr>
              <a:t>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all" spc="0" normalizeH="0" baseline="0" noProof="0" dirty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/>
              <a:sym typeface="Wingdings" panose="05000000000000000000" pitchFamily="2" charset="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all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  <a:sym typeface="Wingdings" panose="05000000000000000000" pitchFamily="2" charset="2"/>
              </a:rPr>
              <a:t>           </a:t>
            </a:r>
            <a:r>
              <a:rPr kumimoji="0" lang="en-US" sz="2800" b="0" i="0" u="none" strike="noStrike" kern="1200" cap="all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</a:rPr>
              <a:t> </a:t>
            </a:r>
            <a:endParaRPr kumimoji="0" lang="fr-FR" sz="2800" b="0" i="0" u="none" strike="noStrike" kern="1200" cap="all" spc="0" normalizeH="0" baseline="0" noProof="0" dirty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</a:t>
            </a: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-FR" sz="11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995411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4A7E87-2E7B-1C7E-F81A-C97606F128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96130EB5-9614-FA98-8AA3-1D04F15A10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5A587B-5814-4D9B-9598-FE9CB954CB01}" type="slidenum">
              <a:rPr kumimoji="0" lang="fr-FR" sz="1000" b="1" i="0" u="none" strike="noStrike" kern="1200" cap="none" spc="0" normalizeH="0" baseline="0" noProof="0" smtClean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fr-FR" sz="1000" b="1" i="0" u="none" strike="noStrike" kern="1200" cap="none" spc="0" normalizeH="0" baseline="0" noProof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Rettangolo con angoli arrotondati 7">
            <a:extLst>
              <a:ext uri="{FF2B5EF4-FFF2-40B4-BE49-F238E27FC236}">
                <a16:creationId xmlns:a16="http://schemas.microsoft.com/office/drawing/2014/main" id="{B3808D3A-A7B1-4659-AC4F-D26DACBA51C6}"/>
              </a:ext>
            </a:extLst>
          </p:cNvPr>
          <p:cNvSpPr/>
          <p:nvPr/>
        </p:nvSpPr>
        <p:spPr>
          <a:xfrm>
            <a:off x="6095999" y="614729"/>
            <a:ext cx="5159925" cy="1272339"/>
          </a:xfrm>
          <a:prstGeom prst="roundRect">
            <a:avLst/>
          </a:prstGeom>
          <a:gradFill flip="none" rotWithShape="1">
            <a:gsLst>
              <a:gs pos="0">
                <a:srgbClr val="3397A5">
                  <a:tint val="66000"/>
                  <a:satMod val="160000"/>
                </a:srgbClr>
              </a:gs>
              <a:gs pos="50000">
                <a:srgbClr val="3397A5">
                  <a:tint val="44500"/>
                  <a:satMod val="160000"/>
                </a:srgbClr>
              </a:gs>
              <a:gs pos="100000">
                <a:srgbClr val="3397A5">
                  <a:tint val="23500"/>
                  <a:satMod val="160000"/>
                </a:srgbClr>
              </a:gs>
            </a:gsLst>
            <a:lin ang="2700000" scaled="1"/>
            <a:tileRect/>
          </a:gradFill>
          <a:ln w="19050">
            <a:solidFill>
              <a:srgbClr val="3397A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600" b="1" u="sng" dirty="0">
              <a:solidFill>
                <a:schemeClr val="tx2">
                  <a:lumMod val="75000"/>
                </a:schemeClr>
              </a:solidFill>
            </a:endParaRPr>
          </a:p>
          <a:p>
            <a:pPr algn="ctr"/>
            <a:r>
              <a:rPr lang="it-IT" sz="1400" b="1" u="sng" dirty="0">
                <a:solidFill>
                  <a:srgbClr val="007D8F"/>
                </a:solidFill>
              </a:rPr>
              <a:t>18 points out of 100 </a:t>
            </a:r>
            <a:r>
              <a:rPr lang="it-IT" sz="1400" b="1" u="sng" dirty="0" err="1">
                <a:solidFill>
                  <a:srgbClr val="007D8F"/>
                </a:solidFill>
              </a:rPr>
              <a:t>given</a:t>
            </a:r>
            <a:r>
              <a:rPr lang="it-IT" sz="1400" b="1" u="sng" dirty="0">
                <a:solidFill>
                  <a:srgbClr val="007D8F"/>
                </a:solidFill>
              </a:rPr>
              <a:t> to clients </a:t>
            </a:r>
            <a:r>
              <a:rPr lang="it-IT" sz="1400" b="1" u="sng" dirty="0" err="1">
                <a:solidFill>
                  <a:srgbClr val="007D8F"/>
                </a:solidFill>
              </a:rPr>
              <a:t>development</a:t>
            </a:r>
            <a:r>
              <a:rPr lang="it-IT" sz="1400" b="1" u="sng" dirty="0">
                <a:solidFill>
                  <a:srgbClr val="007D8F"/>
                </a:solidFill>
              </a:rPr>
              <a:t> with the </a:t>
            </a:r>
            <a:r>
              <a:rPr lang="it-IT" sz="1400" b="1" u="sng" dirty="0" err="1">
                <a:solidFill>
                  <a:srgbClr val="007D8F"/>
                </a:solidFill>
              </a:rPr>
              <a:t>aim</a:t>
            </a:r>
            <a:r>
              <a:rPr lang="it-IT" sz="1400" b="1" u="sng" dirty="0">
                <a:solidFill>
                  <a:srgbClr val="007D8F"/>
                </a:solidFill>
              </a:rPr>
              <a:t> of: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it-IT" sz="1400" b="1" dirty="0" err="1">
                <a:solidFill>
                  <a:schemeClr val="tx1">
                    <a:lumMod val="75000"/>
                  </a:schemeClr>
                </a:solidFill>
              </a:rPr>
              <a:t>Overseeing</a:t>
            </a:r>
            <a:r>
              <a:rPr lang="it-IT" sz="1400" b="1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it-IT" sz="1400" b="1" dirty="0" err="1">
                <a:solidFill>
                  <a:schemeClr val="tx1">
                    <a:lumMod val="75000"/>
                  </a:schemeClr>
                </a:solidFill>
              </a:rPr>
              <a:t>acquisiton</a:t>
            </a:r>
            <a:r>
              <a:rPr lang="it-IT" sz="1400" b="1" dirty="0">
                <a:solidFill>
                  <a:schemeClr val="tx1">
                    <a:lumMod val="75000"/>
                  </a:schemeClr>
                </a:solidFill>
              </a:rPr>
              <a:t> and </a:t>
            </a:r>
            <a:r>
              <a:rPr lang="it-IT" sz="1400" b="1" dirty="0" err="1">
                <a:solidFill>
                  <a:schemeClr val="tx1">
                    <a:lumMod val="75000"/>
                  </a:schemeClr>
                </a:solidFill>
              </a:rPr>
              <a:t>retention</a:t>
            </a:r>
            <a:endParaRPr lang="it-IT" sz="1400" b="1" dirty="0">
              <a:solidFill>
                <a:schemeClr val="tx1">
                  <a:lumMod val="75000"/>
                </a:scheme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it-IT" sz="1400" b="1" dirty="0" err="1">
                <a:solidFill>
                  <a:schemeClr val="tx1">
                    <a:lumMod val="75000"/>
                  </a:schemeClr>
                </a:solidFill>
              </a:rPr>
              <a:t>Fostering</a:t>
            </a:r>
            <a:r>
              <a:rPr lang="it-IT" sz="1400" b="1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it-IT" sz="1400" b="1" dirty="0" err="1">
                <a:solidFill>
                  <a:schemeClr val="tx1">
                    <a:lumMod val="75000"/>
                  </a:schemeClr>
                </a:solidFill>
              </a:rPr>
              <a:t>collaboration</a:t>
            </a:r>
            <a:r>
              <a:rPr lang="it-IT" sz="1400" b="1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it-IT" sz="1400" b="1" dirty="0" err="1">
                <a:solidFill>
                  <a:schemeClr val="tx1">
                    <a:lumMod val="75000"/>
                  </a:schemeClr>
                </a:solidFill>
              </a:rPr>
              <a:t>between</a:t>
            </a:r>
            <a:r>
              <a:rPr lang="it-IT" sz="1400" b="1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it-IT" sz="1400" b="1" dirty="0" err="1">
                <a:solidFill>
                  <a:schemeClr val="tx1">
                    <a:lumMod val="75000"/>
                  </a:schemeClr>
                </a:solidFill>
              </a:rPr>
              <a:t>segments</a:t>
            </a:r>
            <a:endParaRPr lang="it-IT" sz="1400" b="1" dirty="0">
              <a:solidFill>
                <a:schemeClr val="tx1">
                  <a:lumMod val="75000"/>
                </a:scheme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 b="1" dirty="0">
                <a:solidFill>
                  <a:schemeClr val="tx1">
                    <a:lumMod val="75000"/>
                  </a:schemeClr>
                </a:solidFill>
              </a:rPr>
              <a:t>Rewarding the creation of long-lasting relationships</a:t>
            </a:r>
            <a:endParaRPr lang="it-IT" sz="1200" b="1" dirty="0">
              <a:solidFill>
                <a:srgbClr val="007D8F"/>
              </a:solidFill>
            </a:endParaRPr>
          </a:p>
          <a:p>
            <a:endParaRPr lang="it-IT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" name="ZoneTexte 17">
            <a:extLst>
              <a:ext uri="{FF2B5EF4-FFF2-40B4-BE49-F238E27FC236}">
                <a16:creationId xmlns:a16="http://schemas.microsoft.com/office/drawing/2014/main" id="{8F42E0B2-14E4-1E6E-5CFF-665228CFD18A}"/>
              </a:ext>
            </a:extLst>
          </p:cNvPr>
          <p:cNvSpPr txBox="1"/>
          <p:nvPr/>
        </p:nvSpPr>
        <p:spPr>
          <a:xfrm>
            <a:off x="70660" y="66477"/>
            <a:ext cx="1205067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400" cap="all" dirty="0">
                <a:solidFill>
                  <a:srgbClr val="009597"/>
                </a:solidFill>
                <a:latin typeface="Arial Black" panose="020B0A04020102020204" pitchFamily="34" charset="0"/>
                <a:ea typeface="+mj-ea"/>
                <a:cs typeface="Arial"/>
              </a:rPr>
              <a:t>INCENTIVE SYSTEM 2025 POLI AFFARI – focus synergies</a:t>
            </a:r>
            <a:endParaRPr kumimoji="0" lang="en-GB" sz="2400" b="0" i="0" u="none" strike="noStrike" kern="1200" cap="all" spc="0" normalizeH="0" baseline="0" noProof="0" dirty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/>
            </a:endParaRPr>
          </a:p>
        </p:txBody>
      </p:sp>
      <p:sp>
        <p:nvSpPr>
          <p:cNvPr id="18" name="Rettangolo con angoli arrotondati 17">
            <a:extLst>
              <a:ext uri="{FF2B5EF4-FFF2-40B4-BE49-F238E27FC236}">
                <a16:creationId xmlns:a16="http://schemas.microsoft.com/office/drawing/2014/main" id="{4187DB25-7543-7540-7AC7-858EEFB8FA2C}"/>
              </a:ext>
            </a:extLst>
          </p:cNvPr>
          <p:cNvSpPr/>
          <p:nvPr/>
        </p:nvSpPr>
        <p:spPr>
          <a:xfrm>
            <a:off x="6096747" y="4643533"/>
            <a:ext cx="2984470" cy="1661994"/>
          </a:xfrm>
          <a:prstGeom prst="roundRect">
            <a:avLst/>
          </a:prstGeom>
          <a:gradFill flip="none" rotWithShape="1">
            <a:gsLst>
              <a:gs pos="0">
                <a:srgbClr val="F47682">
                  <a:tint val="66000"/>
                  <a:satMod val="160000"/>
                </a:srgbClr>
              </a:gs>
              <a:gs pos="50000">
                <a:srgbClr val="F47682">
                  <a:tint val="44500"/>
                  <a:satMod val="160000"/>
                </a:srgbClr>
              </a:gs>
              <a:gs pos="100000">
                <a:srgbClr val="F47682">
                  <a:tint val="23500"/>
                  <a:satMod val="160000"/>
                </a:srgbClr>
              </a:gs>
            </a:gsLst>
            <a:lin ang="5400000" scaled="1"/>
            <a:tileRect/>
          </a:gradFill>
          <a:ln w="317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400" b="1" dirty="0" err="1">
                <a:solidFill>
                  <a:schemeClr val="tx1">
                    <a:lumMod val="75000"/>
                  </a:schemeClr>
                </a:solidFill>
              </a:rPr>
              <a:t>Synergies</a:t>
            </a:r>
            <a:r>
              <a:rPr lang="it-IT" sz="1400" b="1" dirty="0">
                <a:solidFill>
                  <a:schemeClr val="tx1">
                    <a:lumMod val="75000"/>
                  </a:schemeClr>
                </a:solidFill>
              </a:rPr>
              <a:t>: </a:t>
            </a:r>
            <a:r>
              <a:rPr lang="it-IT" sz="1400" b="1" dirty="0" err="1">
                <a:solidFill>
                  <a:schemeClr val="tx1">
                    <a:lumMod val="75000"/>
                  </a:schemeClr>
                </a:solidFill>
              </a:rPr>
              <a:t>results</a:t>
            </a:r>
            <a:r>
              <a:rPr lang="it-IT" sz="1400" b="1" dirty="0">
                <a:solidFill>
                  <a:schemeClr val="tx1">
                    <a:lumMod val="75000"/>
                  </a:schemeClr>
                </a:solidFill>
              </a:rPr>
              <a:t> in 2025</a:t>
            </a:r>
            <a:r>
              <a:rPr lang="it-IT" sz="1200" b="1" dirty="0">
                <a:solidFill>
                  <a:schemeClr val="tx1">
                    <a:lumMod val="75000"/>
                  </a:schemeClr>
                </a:solidFill>
              </a:rPr>
              <a:t> </a:t>
            </a:r>
          </a:p>
          <a:p>
            <a:endParaRPr lang="it-IT" sz="1100" dirty="0">
              <a:solidFill>
                <a:schemeClr val="tx1">
                  <a:lumMod val="7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100" dirty="0" err="1">
                <a:solidFill>
                  <a:schemeClr val="tx1">
                    <a:lumMod val="75000"/>
                  </a:schemeClr>
                </a:solidFill>
              </a:rPr>
              <a:t>Annual</a:t>
            </a:r>
            <a:r>
              <a:rPr lang="it-IT" sz="1100" dirty="0">
                <a:solidFill>
                  <a:schemeClr val="tx1">
                    <a:lumMod val="75000"/>
                  </a:schemeClr>
                </a:solidFill>
              </a:rPr>
              <a:t> target: 650 clien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100" dirty="0">
                <a:solidFill>
                  <a:schemeClr val="tx1">
                    <a:lumMod val="75000"/>
                  </a:schemeClr>
                </a:solidFill>
              </a:rPr>
              <a:t>31st </a:t>
            </a:r>
            <a:r>
              <a:rPr lang="it-IT" sz="1100" dirty="0" err="1">
                <a:solidFill>
                  <a:schemeClr val="tx1">
                    <a:lumMod val="75000"/>
                  </a:schemeClr>
                </a:solidFill>
              </a:rPr>
              <a:t>Dec.Realization</a:t>
            </a:r>
            <a:r>
              <a:rPr lang="it-IT" sz="1100" dirty="0">
                <a:solidFill>
                  <a:schemeClr val="tx1">
                    <a:lumMod val="75000"/>
                  </a:schemeClr>
                </a:solidFill>
              </a:rPr>
              <a:t>: </a:t>
            </a:r>
          </a:p>
          <a:p>
            <a:pPr marL="628650" lvl="1" indent="-171450">
              <a:buFont typeface="Wingdings" panose="05000000000000000000" pitchFamily="2" charset="2"/>
              <a:buChar char="ü"/>
            </a:pPr>
            <a:r>
              <a:rPr lang="it-IT" sz="1100" b="1" dirty="0">
                <a:solidFill>
                  <a:schemeClr val="tx1">
                    <a:lumMod val="75000"/>
                  </a:schemeClr>
                </a:solidFill>
              </a:rPr>
              <a:t>852 </a:t>
            </a:r>
            <a:r>
              <a:rPr lang="it-IT" sz="1100" b="1" dirty="0" err="1">
                <a:solidFill>
                  <a:schemeClr val="tx1">
                    <a:lumMod val="75000"/>
                  </a:schemeClr>
                </a:solidFill>
              </a:rPr>
              <a:t>total</a:t>
            </a:r>
            <a:r>
              <a:rPr lang="it-IT" sz="1100" b="1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it-IT" sz="1100" b="1" dirty="0" err="1">
                <a:solidFill>
                  <a:schemeClr val="tx1">
                    <a:lumMod val="75000"/>
                  </a:schemeClr>
                </a:solidFill>
              </a:rPr>
              <a:t>Synergies</a:t>
            </a:r>
            <a:r>
              <a:rPr lang="it-IT" sz="1100" b="1" dirty="0">
                <a:solidFill>
                  <a:schemeClr val="tx1">
                    <a:lumMod val="75000"/>
                  </a:schemeClr>
                </a:solidFill>
              </a:rPr>
              <a:t>: </a:t>
            </a:r>
          </a:p>
          <a:p>
            <a:pPr marL="628650" lvl="1" indent="-171450">
              <a:buFont typeface="Wingdings" panose="05000000000000000000" pitchFamily="2" charset="2"/>
              <a:buChar char="ü"/>
            </a:pPr>
            <a:r>
              <a:rPr lang="it-IT" sz="1100" b="1" dirty="0">
                <a:solidFill>
                  <a:schemeClr val="tx1">
                    <a:lumMod val="75000"/>
                  </a:schemeClr>
                </a:solidFill>
              </a:rPr>
              <a:t>763 </a:t>
            </a:r>
            <a:r>
              <a:rPr lang="it-IT" sz="1100" b="1" dirty="0" err="1">
                <a:solidFill>
                  <a:schemeClr val="tx1">
                    <a:lumMod val="75000"/>
                  </a:schemeClr>
                </a:solidFill>
              </a:rPr>
              <a:t>Ordinary</a:t>
            </a:r>
            <a:r>
              <a:rPr lang="it-IT" sz="1100" b="1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it-IT" sz="1100" b="1" dirty="0" err="1">
                <a:solidFill>
                  <a:schemeClr val="tx1">
                    <a:lumMod val="75000"/>
                  </a:schemeClr>
                </a:solidFill>
              </a:rPr>
              <a:t>Synergies</a:t>
            </a:r>
            <a:r>
              <a:rPr lang="it-IT" sz="1100" b="1" dirty="0">
                <a:solidFill>
                  <a:schemeClr val="tx1">
                    <a:lumMod val="75000"/>
                  </a:schemeClr>
                </a:solidFill>
              </a:rPr>
              <a:t> + 89 Quality </a:t>
            </a:r>
            <a:r>
              <a:rPr lang="it-IT" sz="1100" b="1" dirty="0" err="1">
                <a:solidFill>
                  <a:schemeClr val="tx1">
                    <a:lumMod val="75000"/>
                  </a:schemeClr>
                </a:solidFill>
              </a:rPr>
              <a:t>Synergies</a:t>
            </a:r>
            <a:endParaRPr lang="it-IT" sz="1100" b="1" dirty="0">
              <a:solidFill>
                <a:schemeClr val="tx1">
                  <a:lumMod val="75000"/>
                </a:schemeClr>
              </a:solidFill>
            </a:endParaRPr>
          </a:p>
          <a:p>
            <a:pPr algn="ctr"/>
            <a:r>
              <a:rPr lang="it-IT" sz="1400" b="1" dirty="0">
                <a:solidFill>
                  <a:schemeClr val="tx1">
                    <a:lumMod val="75000"/>
                  </a:schemeClr>
                </a:solidFill>
              </a:rPr>
              <a:t>131% </a:t>
            </a:r>
          </a:p>
        </p:txBody>
      </p:sp>
      <p:sp>
        <p:nvSpPr>
          <p:cNvPr id="19" name="Rettangolo con angoli arrotondati 18">
            <a:extLst>
              <a:ext uri="{FF2B5EF4-FFF2-40B4-BE49-F238E27FC236}">
                <a16:creationId xmlns:a16="http://schemas.microsoft.com/office/drawing/2014/main" id="{1396D80A-5C3E-1A14-2A5A-03FD74C8ED70}"/>
              </a:ext>
            </a:extLst>
          </p:cNvPr>
          <p:cNvSpPr/>
          <p:nvPr/>
        </p:nvSpPr>
        <p:spPr>
          <a:xfrm>
            <a:off x="9153136" y="5047363"/>
            <a:ext cx="2333369" cy="1258163"/>
          </a:xfrm>
          <a:prstGeom prst="roundRect">
            <a:avLst/>
          </a:prstGeom>
          <a:gradFill flip="none" rotWithShape="1">
            <a:gsLst>
              <a:gs pos="0">
                <a:srgbClr val="F47682">
                  <a:tint val="66000"/>
                  <a:satMod val="160000"/>
                </a:srgbClr>
              </a:gs>
              <a:gs pos="50000">
                <a:srgbClr val="F47682">
                  <a:tint val="44500"/>
                  <a:satMod val="160000"/>
                </a:srgbClr>
              </a:gs>
              <a:gs pos="100000">
                <a:srgbClr val="F47682">
                  <a:tint val="23500"/>
                  <a:satMod val="160000"/>
                </a:srgbClr>
              </a:gs>
            </a:gsLst>
            <a:lin ang="5400000" scaled="1"/>
            <a:tileRect/>
          </a:gradFill>
          <a:ln w="381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400" b="1" dirty="0" err="1">
                <a:solidFill>
                  <a:schemeClr val="tx1">
                    <a:lumMod val="75000"/>
                  </a:schemeClr>
                </a:solidFill>
              </a:rPr>
              <a:t>Synergies</a:t>
            </a:r>
            <a:r>
              <a:rPr lang="it-IT" sz="1400" b="1" dirty="0">
                <a:solidFill>
                  <a:schemeClr val="tx1">
                    <a:lumMod val="75000"/>
                  </a:schemeClr>
                </a:solidFill>
              </a:rPr>
              <a:t> in the first </a:t>
            </a:r>
            <a:r>
              <a:rPr lang="it-IT" sz="1400" b="1" dirty="0" err="1">
                <a:solidFill>
                  <a:schemeClr val="tx1">
                    <a:lumMod val="75000"/>
                  </a:schemeClr>
                </a:solidFill>
              </a:rPr>
              <a:t>two</a:t>
            </a:r>
            <a:r>
              <a:rPr lang="it-IT" sz="1400" b="1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it-IT" sz="1400" b="1" dirty="0" err="1">
                <a:solidFill>
                  <a:schemeClr val="tx1">
                    <a:lumMod val="75000"/>
                  </a:schemeClr>
                </a:solidFill>
              </a:rPr>
              <a:t>months</a:t>
            </a:r>
            <a:r>
              <a:rPr lang="it-IT" sz="1400" b="1" dirty="0">
                <a:solidFill>
                  <a:schemeClr val="tx1">
                    <a:lumMod val="75000"/>
                  </a:schemeClr>
                </a:solidFill>
              </a:rPr>
              <a:t> of 2026</a:t>
            </a:r>
          </a:p>
          <a:p>
            <a:endParaRPr lang="it-IT" sz="1100" b="1" dirty="0">
              <a:solidFill>
                <a:schemeClr val="tx1">
                  <a:lumMod val="75000"/>
                </a:schemeClr>
              </a:solidFill>
            </a:endParaRPr>
          </a:p>
          <a:p>
            <a:r>
              <a:rPr lang="it-IT" sz="1100" b="1" dirty="0">
                <a:solidFill>
                  <a:schemeClr val="tx1">
                    <a:lumMod val="75000"/>
                  </a:schemeClr>
                </a:solidFill>
              </a:rPr>
              <a:t>143 </a:t>
            </a:r>
            <a:r>
              <a:rPr lang="it-IT" sz="1100" b="1" dirty="0" err="1">
                <a:solidFill>
                  <a:schemeClr val="tx1">
                    <a:lumMod val="75000"/>
                  </a:schemeClr>
                </a:solidFill>
              </a:rPr>
              <a:t>total</a:t>
            </a:r>
            <a:r>
              <a:rPr lang="it-IT" sz="1100" b="1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it-IT" sz="1100" b="1" dirty="0" err="1">
                <a:solidFill>
                  <a:schemeClr val="tx1">
                    <a:lumMod val="75000"/>
                  </a:schemeClr>
                </a:solidFill>
              </a:rPr>
              <a:t>synergies</a:t>
            </a:r>
            <a:r>
              <a:rPr lang="it-IT" sz="1100" b="1" dirty="0">
                <a:solidFill>
                  <a:schemeClr val="tx1">
                    <a:lumMod val="75000"/>
                  </a:schemeClr>
                </a:solidFill>
              </a:rPr>
              <a:t>: </a:t>
            </a:r>
          </a:p>
          <a:p>
            <a:r>
              <a:rPr lang="it-IT" sz="1100" b="1" dirty="0">
                <a:solidFill>
                  <a:schemeClr val="tx1">
                    <a:lumMod val="75000"/>
                  </a:schemeClr>
                </a:solidFill>
              </a:rPr>
              <a:t>139 </a:t>
            </a:r>
            <a:r>
              <a:rPr lang="it-IT" sz="1100" b="1" dirty="0" err="1">
                <a:solidFill>
                  <a:schemeClr val="tx1">
                    <a:lumMod val="75000"/>
                  </a:schemeClr>
                </a:solidFill>
              </a:rPr>
              <a:t>ordinary</a:t>
            </a:r>
            <a:r>
              <a:rPr lang="it-IT" sz="1100" b="1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it-IT" sz="1100" b="1" dirty="0" err="1">
                <a:solidFill>
                  <a:schemeClr val="tx1">
                    <a:lumMod val="75000"/>
                  </a:schemeClr>
                </a:solidFill>
              </a:rPr>
              <a:t>synergies</a:t>
            </a:r>
            <a:r>
              <a:rPr lang="it-IT" sz="1100" b="1" dirty="0">
                <a:solidFill>
                  <a:schemeClr val="tx1">
                    <a:lumMod val="75000"/>
                  </a:schemeClr>
                </a:solidFill>
              </a:rPr>
              <a:t> +</a:t>
            </a:r>
          </a:p>
          <a:p>
            <a:r>
              <a:rPr lang="it-IT" sz="1100" b="1" dirty="0">
                <a:solidFill>
                  <a:schemeClr val="tx1">
                    <a:lumMod val="75000"/>
                  </a:schemeClr>
                </a:solidFill>
              </a:rPr>
              <a:t>4 </a:t>
            </a:r>
            <a:r>
              <a:rPr lang="it-IT" sz="1100" b="1" dirty="0" err="1">
                <a:solidFill>
                  <a:schemeClr val="tx1">
                    <a:lumMod val="75000"/>
                  </a:schemeClr>
                </a:solidFill>
              </a:rPr>
              <a:t>quality</a:t>
            </a:r>
            <a:r>
              <a:rPr lang="it-IT" sz="1100" b="1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it-IT" sz="1100" b="1" dirty="0" err="1">
                <a:solidFill>
                  <a:schemeClr val="tx1">
                    <a:lumMod val="75000"/>
                  </a:schemeClr>
                </a:solidFill>
              </a:rPr>
              <a:t>synergies</a:t>
            </a:r>
            <a:endParaRPr lang="it-IT" sz="1100" b="1" dirty="0">
              <a:solidFill>
                <a:srgbClr val="007D8F"/>
              </a:solidFill>
            </a:endParaRPr>
          </a:p>
        </p:txBody>
      </p:sp>
      <p:grpSp>
        <p:nvGrpSpPr>
          <p:cNvPr id="38" name="Gruppo 37">
            <a:extLst>
              <a:ext uri="{FF2B5EF4-FFF2-40B4-BE49-F238E27FC236}">
                <a16:creationId xmlns:a16="http://schemas.microsoft.com/office/drawing/2014/main" id="{64E2D48B-6BB3-1581-E0B4-77C493E50014}"/>
              </a:ext>
            </a:extLst>
          </p:cNvPr>
          <p:cNvGrpSpPr/>
          <p:nvPr/>
        </p:nvGrpSpPr>
        <p:grpSpPr>
          <a:xfrm>
            <a:off x="85206" y="714602"/>
            <a:ext cx="5519469" cy="5137558"/>
            <a:chOff x="562794" y="913200"/>
            <a:chExt cx="5449417" cy="4849200"/>
          </a:xfrm>
        </p:grpSpPr>
        <p:pic>
          <p:nvPicPr>
            <p:cNvPr id="4" name="Immagine 3">
              <a:extLst>
                <a:ext uri="{FF2B5EF4-FFF2-40B4-BE49-F238E27FC236}">
                  <a16:creationId xmlns:a16="http://schemas.microsoft.com/office/drawing/2014/main" id="{7E49C5C1-65D3-8746-5588-2553FEF229DE}"/>
                </a:ext>
              </a:extLst>
            </p:cNvPr>
            <p:cNvPicPr/>
            <p:nvPr/>
          </p:nvPicPr>
          <p:blipFill>
            <a:blip r:embed="rId2"/>
            <a:stretch>
              <a:fillRect/>
            </a:stretch>
          </p:blipFill>
          <p:spPr>
            <a:xfrm>
              <a:off x="562794" y="913200"/>
              <a:ext cx="5379665" cy="4849200"/>
            </a:xfrm>
            <a:prstGeom prst="rect">
              <a:avLst/>
            </a:prstGeom>
          </p:spPr>
        </p:pic>
        <p:sp>
          <p:nvSpPr>
            <p:cNvPr id="3" name="Rettangolo 2">
              <a:extLst>
                <a:ext uri="{FF2B5EF4-FFF2-40B4-BE49-F238E27FC236}">
                  <a16:creationId xmlns:a16="http://schemas.microsoft.com/office/drawing/2014/main" id="{DA9067F9-A8CA-5881-C051-CCF4684F47A1}"/>
                </a:ext>
              </a:extLst>
            </p:cNvPr>
            <p:cNvSpPr/>
            <p:nvPr/>
          </p:nvSpPr>
          <p:spPr>
            <a:xfrm>
              <a:off x="637952" y="954579"/>
              <a:ext cx="3859619" cy="225639"/>
            </a:xfrm>
            <a:prstGeom prst="rect">
              <a:avLst/>
            </a:prstGeom>
            <a:solidFill>
              <a:srgbClr val="1F4E7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dirty="0">
                  <a:solidFill>
                    <a:schemeClr val="bg1"/>
                  </a:solidFill>
                </a:rPr>
                <a:t>AFFARI – POLO I.S.</a:t>
              </a:r>
            </a:p>
          </p:txBody>
        </p:sp>
        <p:sp>
          <p:nvSpPr>
            <p:cNvPr id="7" name="Rettangolo 6">
              <a:extLst>
                <a:ext uri="{FF2B5EF4-FFF2-40B4-BE49-F238E27FC236}">
                  <a16:creationId xmlns:a16="http://schemas.microsoft.com/office/drawing/2014/main" id="{911D3A34-343A-9A12-FB37-FDEE2937C0E9}"/>
                </a:ext>
              </a:extLst>
            </p:cNvPr>
            <p:cNvSpPr/>
            <p:nvPr/>
          </p:nvSpPr>
          <p:spPr>
            <a:xfrm>
              <a:off x="585783" y="1341127"/>
              <a:ext cx="1044000" cy="253291"/>
            </a:xfrm>
            <a:prstGeom prst="rect">
              <a:avLst/>
            </a:prstGeom>
            <a:solidFill>
              <a:srgbClr val="1F4E7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b="1" dirty="0" err="1">
                  <a:solidFill>
                    <a:schemeClr val="bg1"/>
                  </a:solidFill>
                </a:rPr>
                <a:t>Profitability</a:t>
              </a:r>
              <a:endParaRPr lang="it-IT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12" name="Rettangolo 11">
              <a:extLst>
                <a:ext uri="{FF2B5EF4-FFF2-40B4-BE49-F238E27FC236}">
                  <a16:creationId xmlns:a16="http://schemas.microsoft.com/office/drawing/2014/main" id="{8CBDA88F-0A2D-CE72-160C-963324C38355}"/>
                </a:ext>
              </a:extLst>
            </p:cNvPr>
            <p:cNvSpPr/>
            <p:nvPr/>
          </p:nvSpPr>
          <p:spPr>
            <a:xfrm>
              <a:off x="585784" y="2121134"/>
              <a:ext cx="1044000" cy="253291"/>
            </a:xfrm>
            <a:prstGeom prst="rect">
              <a:avLst/>
            </a:prstGeom>
            <a:solidFill>
              <a:srgbClr val="1F4E7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b="1" dirty="0">
                  <a:solidFill>
                    <a:schemeClr val="bg1"/>
                  </a:solidFill>
                </a:rPr>
                <a:t>Clients</a:t>
              </a:r>
            </a:p>
          </p:txBody>
        </p:sp>
        <p:sp>
          <p:nvSpPr>
            <p:cNvPr id="14" name="Rettangolo 13">
              <a:extLst>
                <a:ext uri="{FF2B5EF4-FFF2-40B4-BE49-F238E27FC236}">
                  <a16:creationId xmlns:a16="http://schemas.microsoft.com/office/drawing/2014/main" id="{0DE1CA8B-56A7-9DEB-4765-1C65377CE6AE}"/>
                </a:ext>
              </a:extLst>
            </p:cNvPr>
            <p:cNvSpPr/>
            <p:nvPr/>
          </p:nvSpPr>
          <p:spPr>
            <a:xfrm>
              <a:off x="613237" y="3014331"/>
              <a:ext cx="999461" cy="735855"/>
            </a:xfrm>
            <a:prstGeom prst="rect">
              <a:avLst/>
            </a:prstGeom>
            <a:solidFill>
              <a:srgbClr val="1F4E7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b="1" dirty="0">
                  <a:solidFill>
                    <a:schemeClr val="bg1"/>
                  </a:solidFill>
                </a:rPr>
                <a:t>Assets </a:t>
              </a:r>
              <a:r>
                <a:rPr lang="it-IT" sz="1200" b="1" dirty="0" err="1">
                  <a:solidFill>
                    <a:schemeClr val="bg1"/>
                  </a:solidFill>
                </a:rPr>
                <a:t>growth</a:t>
              </a:r>
              <a:endParaRPr lang="it-IT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15" name="Rettangolo 14">
              <a:extLst>
                <a:ext uri="{FF2B5EF4-FFF2-40B4-BE49-F238E27FC236}">
                  <a16:creationId xmlns:a16="http://schemas.microsoft.com/office/drawing/2014/main" id="{2F7B4AB9-B560-8F4E-36C0-AB54DC46838B}"/>
                </a:ext>
              </a:extLst>
            </p:cNvPr>
            <p:cNvSpPr/>
            <p:nvPr/>
          </p:nvSpPr>
          <p:spPr>
            <a:xfrm>
              <a:off x="573427" y="3870256"/>
              <a:ext cx="1063986" cy="455790"/>
            </a:xfrm>
            <a:prstGeom prst="rect">
              <a:avLst/>
            </a:prstGeom>
            <a:solidFill>
              <a:srgbClr val="1F4E7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b="1" dirty="0">
                  <a:solidFill>
                    <a:schemeClr val="bg1"/>
                  </a:solidFill>
                </a:rPr>
                <a:t>Credit risk</a:t>
              </a:r>
            </a:p>
          </p:txBody>
        </p:sp>
        <p:sp>
          <p:nvSpPr>
            <p:cNvPr id="16" name="Rettangolo 15">
              <a:extLst>
                <a:ext uri="{FF2B5EF4-FFF2-40B4-BE49-F238E27FC236}">
                  <a16:creationId xmlns:a16="http://schemas.microsoft.com/office/drawing/2014/main" id="{C8849E78-437C-6B45-5EF6-BE412ABF00E6}"/>
                </a:ext>
              </a:extLst>
            </p:cNvPr>
            <p:cNvSpPr/>
            <p:nvPr/>
          </p:nvSpPr>
          <p:spPr>
            <a:xfrm>
              <a:off x="613237" y="4788486"/>
              <a:ext cx="1024176" cy="253291"/>
            </a:xfrm>
            <a:prstGeom prst="rect">
              <a:avLst/>
            </a:prstGeom>
            <a:solidFill>
              <a:srgbClr val="1F4E7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b="1" dirty="0">
                  <a:solidFill>
                    <a:schemeClr val="bg1"/>
                  </a:solidFill>
                </a:rPr>
                <a:t>Products</a:t>
              </a:r>
            </a:p>
          </p:txBody>
        </p:sp>
        <p:sp>
          <p:nvSpPr>
            <p:cNvPr id="17" name="Rettangolo 16">
              <a:extLst>
                <a:ext uri="{FF2B5EF4-FFF2-40B4-BE49-F238E27FC236}">
                  <a16:creationId xmlns:a16="http://schemas.microsoft.com/office/drawing/2014/main" id="{F895E196-D9AF-0E2A-00D1-D910C91EA167}"/>
                </a:ext>
              </a:extLst>
            </p:cNvPr>
            <p:cNvSpPr/>
            <p:nvPr/>
          </p:nvSpPr>
          <p:spPr>
            <a:xfrm>
              <a:off x="625594" y="5149489"/>
              <a:ext cx="999461" cy="253291"/>
            </a:xfrm>
            <a:prstGeom prst="rect">
              <a:avLst/>
            </a:prstGeom>
            <a:solidFill>
              <a:srgbClr val="1F4E7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b="1" dirty="0" err="1">
                  <a:solidFill>
                    <a:schemeClr val="bg1"/>
                  </a:solidFill>
                </a:rPr>
                <a:t>Priority</a:t>
              </a:r>
              <a:endParaRPr lang="it-IT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22" name="Rettangolo 21">
              <a:extLst>
                <a:ext uri="{FF2B5EF4-FFF2-40B4-BE49-F238E27FC236}">
                  <a16:creationId xmlns:a16="http://schemas.microsoft.com/office/drawing/2014/main" id="{9C27F1C0-9263-9376-27F5-0708E8610227}"/>
                </a:ext>
              </a:extLst>
            </p:cNvPr>
            <p:cNvSpPr/>
            <p:nvPr/>
          </p:nvSpPr>
          <p:spPr>
            <a:xfrm>
              <a:off x="4667691" y="954579"/>
              <a:ext cx="650994" cy="22563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b="1" dirty="0">
                  <a:solidFill>
                    <a:schemeClr val="tx1">
                      <a:lumMod val="50000"/>
                    </a:schemeClr>
                  </a:solidFill>
                </a:rPr>
                <a:t>Range</a:t>
              </a:r>
            </a:p>
          </p:txBody>
        </p:sp>
        <p:sp>
          <p:nvSpPr>
            <p:cNvPr id="23" name="Rettangolo 22">
              <a:extLst>
                <a:ext uri="{FF2B5EF4-FFF2-40B4-BE49-F238E27FC236}">
                  <a16:creationId xmlns:a16="http://schemas.microsoft.com/office/drawing/2014/main" id="{F2A3AB3D-BC87-53BB-8036-A41DE3426301}"/>
                </a:ext>
              </a:extLst>
            </p:cNvPr>
            <p:cNvSpPr/>
            <p:nvPr/>
          </p:nvSpPr>
          <p:spPr>
            <a:xfrm>
              <a:off x="5361217" y="913201"/>
              <a:ext cx="650994" cy="3132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b="1" dirty="0">
                  <a:solidFill>
                    <a:schemeClr val="tx1">
                      <a:lumMod val="50000"/>
                    </a:schemeClr>
                  </a:solidFill>
                </a:rPr>
                <a:t>Points</a:t>
              </a:r>
            </a:p>
          </p:txBody>
        </p:sp>
        <p:sp>
          <p:nvSpPr>
            <p:cNvPr id="24" name="Rettangolo 23">
              <a:extLst>
                <a:ext uri="{FF2B5EF4-FFF2-40B4-BE49-F238E27FC236}">
                  <a16:creationId xmlns:a16="http://schemas.microsoft.com/office/drawing/2014/main" id="{AB474770-9518-149E-A680-D369CD4033C5}"/>
                </a:ext>
              </a:extLst>
            </p:cNvPr>
            <p:cNvSpPr/>
            <p:nvPr/>
          </p:nvSpPr>
          <p:spPr>
            <a:xfrm>
              <a:off x="1743740" y="1341369"/>
              <a:ext cx="2743198" cy="25329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300" dirty="0">
                  <a:solidFill>
                    <a:schemeClr val="tx1">
                      <a:lumMod val="50000"/>
                    </a:schemeClr>
                  </a:solidFill>
                </a:rPr>
                <a:t>Revenues on total fees</a:t>
              </a:r>
              <a:endParaRPr lang="it-IT" sz="130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25" name="Rettangolo 24">
              <a:extLst>
                <a:ext uri="{FF2B5EF4-FFF2-40B4-BE49-F238E27FC236}">
                  <a16:creationId xmlns:a16="http://schemas.microsoft.com/office/drawing/2014/main" id="{00C3966A-E4F9-CA9F-3112-2117C68E2F3D}"/>
                </a:ext>
              </a:extLst>
            </p:cNvPr>
            <p:cNvSpPr/>
            <p:nvPr/>
          </p:nvSpPr>
          <p:spPr>
            <a:xfrm>
              <a:off x="1743740" y="1701089"/>
              <a:ext cx="2743198" cy="25329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300" dirty="0">
                  <a:solidFill>
                    <a:schemeClr val="tx1">
                      <a:lumMod val="50000"/>
                    </a:schemeClr>
                  </a:solidFill>
                </a:rPr>
                <a:t>IRC</a:t>
              </a:r>
              <a:endParaRPr lang="it-IT" sz="130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26" name="Rettangolo 25">
              <a:extLst>
                <a:ext uri="{FF2B5EF4-FFF2-40B4-BE49-F238E27FC236}">
                  <a16:creationId xmlns:a16="http://schemas.microsoft.com/office/drawing/2014/main" id="{F89A4B5E-3A07-CAE9-B5BE-AADB26F87DE3}"/>
                </a:ext>
              </a:extLst>
            </p:cNvPr>
            <p:cNvSpPr/>
            <p:nvPr/>
          </p:nvSpPr>
          <p:spPr>
            <a:xfrm>
              <a:off x="1737689" y="1988824"/>
              <a:ext cx="2743198" cy="432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300" dirty="0">
                  <a:solidFill>
                    <a:schemeClr val="tx1">
                      <a:lumMod val="50000"/>
                    </a:schemeClr>
                  </a:solidFill>
                </a:rPr>
                <a:t>Clients: Delta Stock – with obligation to gross acquisition)</a:t>
              </a:r>
              <a:endParaRPr lang="it-IT" sz="130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28" name="Rettangolo 27">
              <a:extLst>
                <a:ext uri="{FF2B5EF4-FFF2-40B4-BE49-F238E27FC236}">
                  <a16:creationId xmlns:a16="http://schemas.microsoft.com/office/drawing/2014/main" id="{1CDA8E4A-83FF-E005-B4C9-0412DD3DD7B3}"/>
                </a:ext>
              </a:extLst>
            </p:cNvPr>
            <p:cNvSpPr/>
            <p:nvPr/>
          </p:nvSpPr>
          <p:spPr>
            <a:xfrm>
              <a:off x="1743740" y="2511589"/>
              <a:ext cx="2743198" cy="25329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300" dirty="0">
                  <a:solidFill>
                    <a:schemeClr val="tx1">
                      <a:lumMod val="50000"/>
                    </a:schemeClr>
                  </a:solidFill>
                </a:rPr>
                <a:t>Synergies with Financial Advisors</a:t>
              </a:r>
              <a:endParaRPr lang="it-IT" sz="130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30" name="Rettangolo 29">
              <a:extLst>
                <a:ext uri="{FF2B5EF4-FFF2-40B4-BE49-F238E27FC236}">
                  <a16:creationId xmlns:a16="http://schemas.microsoft.com/office/drawing/2014/main" id="{BDDE6C23-AE9D-3136-1095-3E8A664C3252}"/>
                </a:ext>
              </a:extLst>
            </p:cNvPr>
            <p:cNvSpPr/>
            <p:nvPr/>
          </p:nvSpPr>
          <p:spPr>
            <a:xfrm>
              <a:off x="1743740" y="2956141"/>
              <a:ext cx="2743198" cy="25329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300" dirty="0">
                  <a:solidFill>
                    <a:schemeClr val="tx1">
                      <a:lumMod val="50000"/>
                    </a:schemeClr>
                  </a:solidFill>
                </a:rPr>
                <a:t>MLT loans (Delta Stock)</a:t>
              </a:r>
              <a:endParaRPr lang="it-IT" sz="130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31" name="Rettangolo 30">
              <a:extLst>
                <a:ext uri="{FF2B5EF4-FFF2-40B4-BE49-F238E27FC236}">
                  <a16:creationId xmlns:a16="http://schemas.microsoft.com/office/drawing/2014/main" id="{30A68111-7932-4ED4-A0DE-A5BBFD3EB5F2}"/>
                </a:ext>
              </a:extLst>
            </p:cNvPr>
            <p:cNvSpPr/>
            <p:nvPr/>
          </p:nvSpPr>
          <p:spPr>
            <a:xfrm>
              <a:off x="1743740" y="3221763"/>
              <a:ext cx="2743198" cy="25329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300" dirty="0">
                  <a:solidFill>
                    <a:schemeClr val="tx1">
                      <a:lumMod val="50000"/>
                    </a:schemeClr>
                  </a:solidFill>
                </a:rPr>
                <a:t>ST loans growth</a:t>
              </a:r>
              <a:endParaRPr lang="it-IT" sz="130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32" name="Rettangolo 31">
              <a:extLst>
                <a:ext uri="{FF2B5EF4-FFF2-40B4-BE49-F238E27FC236}">
                  <a16:creationId xmlns:a16="http://schemas.microsoft.com/office/drawing/2014/main" id="{14F7BAFA-0CF5-7B42-F6A1-79653F7D30AE}"/>
                </a:ext>
              </a:extLst>
            </p:cNvPr>
            <p:cNvSpPr/>
            <p:nvPr/>
          </p:nvSpPr>
          <p:spPr>
            <a:xfrm>
              <a:off x="1743740" y="3519359"/>
              <a:ext cx="2743198" cy="25329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300" dirty="0">
                  <a:solidFill>
                    <a:schemeClr val="tx1">
                      <a:lumMod val="50000"/>
                    </a:schemeClr>
                  </a:solidFill>
                </a:rPr>
                <a:t>Net direct deposits flows</a:t>
              </a:r>
              <a:endParaRPr lang="it-IT" sz="130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33" name="Rettangolo 32">
              <a:extLst>
                <a:ext uri="{FF2B5EF4-FFF2-40B4-BE49-F238E27FC236}">
                  <a16:creationId xmlns:a16="http://schemas.microsoft.com/office/drawing/2014/main" id="{59206A22-E323-4BF7-60F4-3A5FF8912803}"/>
                </a:ext>
              </a:extLst>
            </p:cNvPr>
            <p:cNvSpPr/>
            <p:nvPr/>
          </p:nvSpPr>
          <p:spPr>
            <a:xfrm>
              <a:off x="1743740" y="3975591"/>
              <a:ext cx="2844000" cy="22563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300" dirty="0">
                  <a:solidFill>
                    <a:schemeClr val="tx1">
                      <a:lumMod val="50000"/>
                    </a:schemeClr>
                  </a:solidFill>
                </a:rPr>
                <a:t>Credit cost</a:t>
              </a:r>
              <a:endParaRPr lang="it-IT" sz="130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34" name="Rettangolo 33">
              <a:extLst>
                <a:ext uri="{FF2B5EF4-FFF2-40B4-BE49-F238E27FC236}">
                  <a16:creationId xmlns:a16="http://schemas.microsoft.com/office/drawing/2014/main" id="{9DC60E75-FD11-EB9F-D288-2BAC9162F254}"/>
                </a:ext>
              </a:extLst>
            </p:cNvPr>
            <p:cNvSpPr/>
            <p:nvPr/>
          </p:nvSpPr>
          <p:spPr>
            <a:xfrm>
              <a:off x="1743739" y="4431412"/>
              <a:ext cx="2808000" cy="1901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300" dirty="0">
                  <a:solidFill>
                    <a:schemeClr val="tx1">
                      <a:lumMod val="50000"/>
                    </a:schemeClr>
                  </a:solidFill>
                </a:rPr>
                <a:t>ESG KPI</a:t>
              </a:r>
              <a:endParaRPr lang="it-IT" sz="130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35" name="Rettangolo 34">
              <a:extLst>
                <a:ext uri="{FF2B5EF4-FFF2-40B4-BE49-F238E27FC236}">
                  <a16:creationId xmlns:a16="http://schemas.microsoft.com/office/drawing/2014/main" id="{EA531EDF-5702-A858-AB13-6F183522A0BD}"/>
                </a:ext>
              </a:extLst>
            </p:cNvPr>
            <p:cNvSpPr/>
            <p:nvPr/>
          </p:nvSpPr>
          <p:spPr>
            <a:xfrm>
              <a:off x="1743739" y="4820266"/>
              <a:ext cx="2844000" cy="22564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300" dirty="0" err="1">
                  <a:solidFill>
                    <a:schemeClr val="tx1">
                      <a:lumMod val="50000"/>
                    </a:schemeClr>
                  </a:solidFill>
                </a:rPr>
                <a:t>Specitic</a:t>
              </a:r>
              <a:r>
                <a:rPr lang="en-US" sz="1300" dirty="0">
                  <a:solidFill>
                    <a:schemeClr val="tx1">
                      <a:lumMod val="50000"/>
                    </a:schemeClr>
                  </a:solidFill>
                </a:rPr>
                <a:t> Products</a:t>
              </a:r>
              <a:r>
                <a:rPr lang="en-US" sz="900" dirty="0">
                  <a:solidFill>
                    <a:schemeClr val="tx1">
                      <a:lumMod val="50000"/>
                    </a:schemeClr>
                  </a:solidFill>
                </a:rPr>
                <a:t> (e.g. mortgages, loans,..)</a:t>
              </a:r>
              <a:endParaRPr lang="it-IT" sz="90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36" name="Rettangolo 35">
              <a:extLst>
                <a:ext uri="{FF2B5EF4-FFF2-40B4-BE49-F238E27FC236}">
                  <a16:creationId xmlns:a16="http://schemas.microsoft.com/office/drawing/2014/main" id="{AD82DF28-0D9B-A47B-F35A-E0B9B05E4311}"/>
                </a:ext>
              </a:extLst>
            </p:cNvPr>
            <p:cNvSpPr/>
            <p:nvPr/>
          </p:nvSpPr>
          <p:spPr>
            <a:xfrm>
              <a:off x="1743739" y="5177613"/>
              <a:ext cx="2844000" cy="18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300" dirty="0">
                  <a:solidFill>
                    <a:schemeClr val="tx1">
                      <a:lumMod val="50000"/>
                    </a:schemeClr>
                  </a:solidFill>
                </a:rPr>
                <a:t>Insurance premiums</a:t>
              </a:r>
              <a:endParaRPr lang="it-IT" sz="90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37" name="Rettangolo 36">
              <a:extLst>
                <a:ext uri="{FF2B5EF4-FFF2-40B4-BE49-F238E27FC236}">
                  <a16:creationId xmlns:a16="http://schemas.microsoft.com/office/drawing/2014/main" id="{38D97DA5-DB25-7FB6-2710-FB27A5E83A23}"/>
                </a:ext>
              </a:extLst>
            </p:cNvPr>
            <p:cNvSpPr/>
            <p:nvPr/>
          </p:nvSpPr>
          <p:spPr>
            <a:xfrm>
              <a:off x="1743739" y="5506898"/>
              <a:ext cx="2844000" cy="22564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300" b="1" dirty="0">
                  <a:solidFill>
                    <a:schemeClr val="tx1">
                      <a:lumMod val="50000"/>
                    </a:schemeClr>
                  </a:solidFill>
                </a:rPr>
                <a:t>TOTAL</a:t>
              </a:r>
              <a:endParaRPr lang="it-IT" sz="900" b="1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6" name="Rettangolo con angoli arrotondati 5">
              <a:extLst>
                <a:ext uri="{FF2B5EF4-FFF2-40B4-BE49-F238E27FC236}">
                  <a16:creationId xmlns:a16="http://schemas.microsoft.com/office/drawing/2014/main" id="{7A42B9F8-7DE7-CC79-D19B-CA381B74E89E}"/>
                </a:ext>
              </a:extLst>
            </p:cNvPr>
            <p:cNvSpPr/>
            <p:nvPr/>
          </p:nvSpPr>
          <p:spPr>
            <a:xfrm>
              <a:off x="1737689" y="1954846"/>
              <a:ext cx="4236669" cy="924560"/>
            </a:xfrm>
            <a:prstGeom prst="roundRect">
              <a:avLst/>
            </a:prstGeom>
            <a:noFill/>
            <a:ln w="57150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sp>
        <p:nvSpPr>
          <p:cNvPr id="11" name="Rettangolo con angoli arrotondati 10">
            <a:extLst>
              <a:ext uri="{FF2B5EF4-FFF2-40B4-BE49-F238E27FC236}">
                <a16:creationId xmlns:a16="http://schemas.microsoft.com/office/drawing/2014/main" id="{81EC0C33-6471-6290-A1C2-953F53A3FA93}"/>
              </a:ext>
            </a:extLst>
          </p:cNvPr>
          <p:cNvSpPr/>
          <p:nvPr/>
        </p:nvSpPr>
        <p:spPr>
          <a:xfrm>
            <a:off x="6095999" y="1914954"/>
            <a:ext cx="5128027" cy="429269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3397A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7D8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18 points are made of:</a:t>
            </a:r>
          </a:p>
        </p:txBody>
      </p:sp>
      <p:cxnSp>
        <p:nvCxnSpPr>
          <p:cNvPr id="27" name="Connettore 2 26">
            <a:extLst>
              <a:ext uri="{FF2B5EF4-FFF2-40B4-BE49-F238E27FC236}">
                <a16:creationId xmlns:a16="http://schemas.microsoft.com/office/drawing/2014/main" id="{1723C000-0B0F-72B8-FCF1-584202C86697}"/>
              </a:ext>
            </a:extLst>
          </p:cNvPr>
          <p:cNvCxnSpPr>
            <a:cxnSpLocks/>
          </p:cNvCxnSpPr>
          <p:nvPr/>
        </p:nvCxnSpPr>
        <p:spPr>
          <a:xfrm>
            <a:off x="7048997" y="2412046"/>
            <a:ext cx="0" cy="207863"/>
          </a:xfrm>
          <a:prstGeom prst="straightConnector1">
            <a:avLst/>
          </a:prstGeom>
          <a:ln w="38100">
            <a:solidFill>
              <a:srgbClr val="00959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nettore 2 43">
            <a:extLst>
              <a:ext uri="{FF2B5EF4-FFF2-40B4-BE49-F238E27FC236}">
                <a16:creationId xmlns:a16="http://schemas.microsoft.com/office/drawing/2014/main" id="{97C656DD-FAB0-31FD-B031-35318FF74CC5}"/>
              </a:ext>
            </a:extLst>
          </p:cNvPr>
          <p:cNvCxnSpPr>
            <a:cxnSpLocks/>
          </p:cNvCxnSpPr>
          <p:nvPr/>
        </p:nvCxnSpPr>
        <p:spPr>
          <a:xfrm>
            <a:off x="10171080" y="2412046"/>
            <a:ext cx="0" cy="207863"/>
          </a:xfrm>
          <a:prstGeom prst="straightConnector1">
            <a:avLst/>
          </a:prstGeom>
          <a:ln w="38100">
            <a:solidFill>
              <a:srgbClr val="00959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Unità di visualizzazione grafica 39">
            <a:extLst>
              <a:ext uri="{FF2B5EF4-FFF2-40B4-BE49-F238E27FC236}">
                <a16:creationId xmlns:a16="http://schemas.microsoft.com/office/drawing/2014/main" id="{27B9AA01-703A-68E0-F223-3D06D1B0AE75}"/>
              </a:ext>
            </a:extLst>
          </p:cNvPr>
          <p:cNvSpPr/>
          <p:nvPr/>
        </p:nvSpPr>
        <p:spPr>
          <a:xfrm rot="16200000">
            <a:off x="9011117" y="2698753"/>
            <a:ext cx="2359630" cy="2179725"/>
          </a:xfrm>
          <a:prstGeom prst="flowChartDisplay">
            <a:avLst/>
          </a:prstGeom>
          <a:solidFill>
            <a:schemeClr val="bg1"/>
          </a:solidFill>
          <a:ln w="19050" cap="rnd" cmpd="sng" algn="ctr">
            <a:solidFill>
              <a:srgbClr val="009B9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r>
              <a:rPr lang="en-US" sz="1100" b="1" dirty="0">
                <a:solidFill>
                  <a:srgbClr val="009496"/>
                </a:solidFill>
                <a:ea typeface="ＭＳ Ｐゴシック"/>
                <a:cs typeface="Arial" panose="020B0604020202020204" pitchFamily="34" charset="0"/>
              </a:rPr>
              <a:t>8 points </a:t>
            </a:r>
            <a:r>
              <a:rPr lang="en-US" sz="1100" b="1" dirty="0">
                <a:solidFill>
                  <a:srgbClr val="009496"/>
                </a:solidFill>
                <a:ea typeface="ＭＳ Ｐゴシック"/>
                <a:cs typeface="Arial" panose="020B0604020202020204" pitchFamily="34" charset="0"/>
                <a:sym typeface="Wingdings" panose="05000000000000000000" pitchFamily="2" charset="2"/>
              </a:rPr>
              <a:t></a:t>
            </a:r>
            <a:r>
              <a:rPr lang="en-US" sz="1100" b="1" dirty="0">
                <a:solidFill>
                  <a:srgbClr val="009496"/>
                </a:solidFill>
                <a:ea typeface="ＭＳ Ｐゴシック"/>
                <a:cs typeface="Arial" panose="020B0604020202020204" pitchFamily="34" charset="0"/>
              </a:rPr>
              <a:t> synergies with financial advisors: </a:t>
            </a:r>
          </a:p>
          <a:p>
            <a:pPr lvl="0" algn="ctr">
              <a:defRPr/>
            </a:pPr>
            <a:r>
              <a:rPr lang="en-US" sz="1100" dirty="0">
                <a:solidFill>
                  <a:schemeClr val="tx1">
                    <a:lumMod val="75000"/>
                  </a:schemeClr>
                </a:solidFill>
                <a:ea typeface="ＭＳ Ｐゴシック"/>
                <a:cs typeface="Arial" panose="020B0604020202020204" pitchFamily="34" charset="0"/>
              </a:rPr>
              <a:t>Achievement of a target of new clients presented by the Financial Advisors segment to the Poli and vice versa with incentive in case of </a:t>
            </a:r>
            <a:r>
              <a:rPr lang="en-US" sz="1100" b="1" dirty="0">
                <a:solidFill>
                  <a:schemeClr val="tx2">
                    <a:lumMod val="60000"/>
                    <a:lumOff val="40000"/>
                  </a:schemeClr>
                </a:solidFill>
                <a:ea typeface="ＭＳ Ｐゴシック"/>
                <a:cs typeface="Arial" panose="020B0604020202020204" pitchFamily="34" charset="0"/>
              </a:rPr>
              <a:t>Quality Synergies</a:t>
            </a:r>
            <a:r>
              <a:rPr lang="en-US" sz="1100" dirty="0">
                <a:solidFill>
                  <a:schemeClr val="tx1">
                    <a:lumMod val="75000"/>
                  </a:schemeClr>
                </a:solidFill>
                <a:ea typeface="ＭＳ Ｐゴシック"/>
                <a:cs typeface="Arial" panose="020B0604020202020204" pitchFamily="34" charset="0"/>
              </a:rPr>
              <a:t>: clients with new collection in the year ≥ 100,000 euros and/or new loans ≥ 50,000 euros </a:t>
            </a:r>
          </a:p>
        </p:txBody>
      </p:sp>
      <p:sp>
        <p:nvSpPr>
          <p:cNvPr id="10" name="Rettangolo con due angoli in diagonale arrotondati 9">
            <a:extLst>
              <a:ext uri="{FF2B5EF4-FFF2-40B4-BE49-F238E27FC236}">
                <a16:creationId xmlns:a16="http://schemas.microsoft.com/office/drawing/2014/main" id="{CAD46729-7776-6CED-CCBD-4D71258A9FE4}"/>
              </a:ext>
            </a:extLst>
          </p:cNvPr>
          <p:cNvSpPr/>
          <p:nvPr/>
        </p:nvSpPr>
        <p:spPr>
          <a:xfrm>
            <a:off x="5784832" y="2645287"/>
            <a:ext cx="2891129" cy="1592805"/>
          </a:xfrm>
          <a:prstGeom prst="round2DiagRect">
            <a:avLst>
              <a:gd name="adj1" fmla="val 16667"/>
              <a:gd name="adj2" fmla="val 0"/>
            </a:avLst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0" name="CasellaDiTesto 19">
            <a:extLst>
              <a:ext uri="{FF2B5EF4-FFF2-40B4-BE49-F238E27FC236}">
                <a16:creationId xmlns:a16="http://schemas.microsoft.com/office/drawing/2014/main" id="{8D8E7269-9A81-8A18-73FE-01E535559DBA}"/>
              </a:ext>
            </a:extLst>
          </p:cNvPr>
          <p:cNvSpPr txBox="1"/>
          <p:nvPr/>
        </p:nvSpPr>
        <p:spPr>
          <a:xfrm>
            <a:off x="5817141" y="2721713"/>
            <a:ext cx="2891129" cy="15542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1100" b="1" dirty="0">
                <a:solidFill>
                  <a:srgbClr val="009496"/>
                </a:solidFill>
                <a:ea typeface="ＭＳ Ｐゴシック"/>
                <a:cs typeface="Arial" panose="020B0604020202020204" pitchFamily="34" charset="0"/>
              </a:rPr>
              <a:t>10 points </a:t>
            </a:r>
            <a:r>
              <a:rPr lang="en-US" sz="1100" b="1" dirty="0">
                <a:solidFill>
                  <a:srgbClr val="009496"/>
                </a:solidFill>
                <a:ea typeface="ＭＳ Ｐゴシック"/>
                <a:cs typeface="Arial" panose="020B0604020202020204" pitchFamily="34" charset="0"/>
                <a:sym typeface="Wingdings" panose="05000000000000000000" pitchFamily="2" charset="2"/>
              </a:rPr>
              <a:t> </a:t>
            </a:r>
            <a:r>
              <a:rPr lang="en-US" sz="1100" b="1" dirty="0">
                <a:solidFill>
                  <a:srgbClr val="009496"/>
                </a:solidFill>
                <a:ea typeface="ＭＳ Ｐゴシック"/>
                <a:cs typeface="Arial" panose="020B0604020202020204" pitchFamily="34" charset="0"/>
              </a:rPr>
              <a:t> ‘Delta Stock’ with obligation to gross acquisition</a:t>
            </a:r>
            <a:r>
              <a:rPr lang="en-US" sz="1100" dirty="0">
                <a:solidFill>
                  <a:srgbClr val="595959"/>
                </a:solidFill>
                <a:ea typeface="ＭＳ Ｐゴシック"/>
                <a:cs typeface="Arial" panose="020B0604020202020204" pitchFamily="34" charset="0"/>
              </a:rPr>
              <a:t>: </a:t>
            </a:r>
          </a:p>
          <a:p>
            <a:pPr lvl="0" algn="ctr">
              <a:defRPr/>
            </a:pPr>
            <a:r>
              <a:rPr lang="en-US" sz="1100" dirty="0">
                <a:solidFill>
                  <a:srgbClr val="595959"/>
                </a:solidFill>
                <a:ea typeface="ＭＳ Ｐゴシック"/>
                <a:cs typeface="Arial" panose="020B0604020202020204" pitchFamily="34" charset="0"/>
              </a:rPr>
              <a:t>Difference between Delta Stock on the 31st December and Delta Stock on the 1st January with minimum target of new customers in the year (95% acquisition goal)</a:t>
            </a:r>
          </a:p>
          <a:p>
            <a:pPr lvl="0" algn="ctr">
              <a:defRPr/>
            </a:pPr>
            <a:endParaRPr lang="en-GB" sz="1800" b="1" dirty="0">
              <a:solidFill>
                <a:srgbClr val="595959"/>
              </a:solidFill>
              <a:ea typeface="ＭＳ Ｐゴシック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86867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0AA6D1-75FE-C830-DC67-9B9AC53E4F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2">
            <a:extLst>
              <a:ext uri="{FF2B5EF4-FFF2-40B4-BE49-F238E27FC236}">
                <a16:creationId xmlns:a16="http://schemas.microsoft.com/office/drawing/2014/main" id="{67D96EBC-AEA7-DE90-4614-90226FE12E14}"/>
              </a:ext>
            </a:extLst>
          </p:cNvPr>
          <p:cNvSpPr txBox="1"/>
          <p:nvPr/>
        </p:nvSpPr>
        <p:spPr>
          <a:xfrm>
            <a:off x="214579" y="914399"/>
            <a:ext cx="11762841" cy="5688420"/>
          </a:xfrm>
          <a:prstGeom prst="rect">
            <a:avLst/>
          </a:prstGeom>
          <a:noFill/>
          <a:ln>
            <a:solidFill>
              <a:srgbClr val="007C8E"/>
            </a:solidFill>
            <a:prstDash val="sysDash"/>
          </a:ln>
        </p:spPr>
        <p:txBody>
          <a:bodyPr wrap="square" lIns="91440" tIns="45720" rIns="91440" bIns="4572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all" spc="0" normalizeH="0" baseline="0" noProof="0" dirty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/>
              <a:sym typeface="Wingdings" panose="05000000000000000000" pitchFamily="2" charset="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                        </a:t>
            </a:r>
            <a:endParaRPr kumimoji="0" lang="en-GB" sz="1600" b="1" i="0" u="none" strike="noStrike" kern="1200" cap="all" spc="0" normalizeH="0" baseline="0" noProof="0" dirty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all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</a:rPr>
              <a:t>                 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all" spc="0" normalizeH="0" baseline="0" noProof="0" dirty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GB" sz="2800" b="0" i="0" u="none" strike="noStrike" kern="1200" cap="all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</a:rPr>
            </a:br>
            <a:r>
              <a:rPr kumimoji="0" lang="en-GB" sz="2800" b="0" i="0" u="none" strike="noStrike" kern="1200" cap="all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</a:rPr>
              <a:t> </a:t>
            </a: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</a:t>
            </a: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1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ttangolo arrotondato 33">
            <a:extLst>
              <a:ext uri="{FF2B5EF4-FFF2-40B4-BE49-F238E27FC236}">
                <a16:creationId xmlns:a16="http://schemas.microsoft.com/office/drawing/2014/main" id="{B2F63EDF-49BC-1753-0B49-6AF56FA224D5}"/>
              </a:ext>
            </a:extLst>
          </p:cNvPr>
          <p:cNvSpPr/>
          <p:nvPr/>
        </p:nvSpPr>
        <p:spPr>
          <a:xfrm>
            <a:off x="846621" y="5329697"/>
            <a:ext cx="10468186" cy="1182313"/>
          </a:xfrm>
          <a:prstGeom prst="roundRect">
            <a:avLst>
              <a:gd name="adj" fmla="val 0"/>
            </a:avLst>
          </a:prstGeom>
          <a:solidFill>
            <a:sysClr val="window" lastClr="FFFFFF"/>
          </a:solidFill>
          <a:ln w="3175" cap="flat" cmpd="sng" algn="ctr">
            <a:solidFill>
              <a:srgbClr val="1A999F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600" dirty="0">
              <a:solidFill>
                <a:prstClr val="black"/>
              </a:solidFill>
              <a:latin typeface="Aptos Narrow" panose="020B0004020202020204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b="1" dirty="0">
                <a:solidFill>
                  <a:prstClr val="black"/>
                </a:solidFill>
                <a:latin typeface="Aptos Narrow" panose="020B0004020202020204" pitchFamily="34" charset="0"/>
              </a:rPr>
              <a:t>       Agri-</a:t>
            </a:r>
            <a:r>
              <a:rPr lang="en-GB" sz="1400" b="1" dirty="0" err="1">
                <a:solidFill>
                  <a:prstClr val="black"/>
                </a:solidFill>
                <a:latin typeface="Aptos Narrow" panose="020B0004020202020204" pitchFamily="34" charset="0"/>
              </a:rPr>
              <a:t>Agro</a:t>
            </a:r>
            <a:r>
              <a:rPr lang="en-GB" sz="1400" b="1" dirty="0">
                <a:solidFill>
                  <a:prstClr val="black"/>
                </a:solidFill>
                <a:latin typeface="Aptos Narrow" panose="020B0004020202020204" pitchFamily="34" charset="0"/>
              </a:rPr>
              <a:t>: 2</a:t>
            </a:r>
            <a:r>
              <a:rPr lang="en-GB" sz="1400" b="1" baseline="30000" dirty="0">
                <a:solidFill>
                  <a:prstClr val="black"/>
                </a:solidFill>
                <a:latin typeface="Aptos Narrow" panose="020B0004020202020204" pitchFamily="34" charset="0"/>
              </a:rPr>
              <a:t>nd</a:t>
            </a:r>
            <a:r>
              <a:rPr lang="en-GB" sz="1400" b="1" dirty="0">
                <a:solidFill>
                  <a:prstClr val="black"/>
                </a:solidFill>
                <a:latin typeface="Aptos Narrow" panose="020B0004020202020204" pitchFamily="34" charset="0"/>
              </a:rPr>
              <a:t> Semester 2026 </a:t>
            </a:r>
            <a:r>
              <a:rPr lang="en-GB" sz="1400" dirty="0">
                <a:solidFill>
                  <a:prstClr val="black"/>
                </a:solidFill>
                <a:latin typeface="Aptos Narrow" panose="020B0004020202020204" pitchFamily="34" charset="0"/>
                <a:sym typeface="Wingdings" panose="05000000000000000000" pitchFamily="2" charset="2"/>
              </a:rPr>
              <a:t> </a:t>
            </a:r>
            <a:r>
              <a:rPr lang="en-GB" sz="1400" dirty="0" err="1">
                <a:solidFill>
                  <a:prstClr val="black"/>
                </a:solidFill>
                <a:latin typeface="Aptos Narrow" panose="020B0004020202020204" pitchFamily="34" charset="0"/>
                <a:sym typeface="Wingdings" panose="05000000000000000000" pitchFamily="2" charset="2"/>
              </a:rPr>
              <a:t>e.g</a:t>
            </a:r>
            <a:r>
              <a:rPr lang="en-GB" sz="1400" dirty="0">
                <a:solidFill>
                  <a:prstClr val="black"/>
                </a:solidFill>
                <a:latin typeface="Aptos Narrow" panose="020B0004020202020204" pitchFamily="34" charset="0"/>
                <a:sym typeface="Wingdings" panose="05000000000000000000" pitchFamily="2" charset="2"/>
              </a:rPr>
              <a:t>: the client intends to buy an agricultural machine (e.g. John Deere) and is supported in her request of loan.</a:t>
            </a:r>
            <a:r>
              <a:rPr lang="en-GB" sz="1400" i="1" dirty="0">
                <a:solidFill>
                  <a:prstClr val="black"/>
                </a:solidFill>
                <a:latin typeface="Aptos Narrow" panose="020B0004020202020204" pitchFamily="34" charset="0"/>
                <a:sym typeface="Wingdings" panose="05000000000000000000" pitchFamily="2" charset="2"/>
              </a:rPr>
              <a:t> NB: dedicated to multi-brand, independent and multi-franchise dealership</a:t>
            </a:r>
          </a:p>
          <a:p>
            <a:pPr lvl="0" algn="ctr">
              <a:defRPr/>
            </a:pPr>
            <a:r>
              <a:rPr lang="en-GB" sz="1400" b="1" dirty="0">
                <a:solidFill>
                  <a:prstClr val="black"/>
                </a:solidFill>
                <a:latin typeface="Aptos Narrow" panose="020B0004020202020204" pitchFamily="34" charset="0"/>
                <a:sym typeface="Wingdings" panose="05000000000000000000" pitchFamily="2" charset="2"/>
              </a:rPr>
              <a:t>  </a:t>
            </a:r>
            <a:r>
              <a:rPr lang="en-GB" sz="1400" b="1" dirty="0" err="1">
                <a:solidFill>
                  <a:prstClr val="black"/>
                </a:solidFill>
                <a:latin typeface="Aptos Narrow" panose="020B0004020202020204" pitchFamily="34" charset="0"/>
                <a:sym typeface="Wingdings" panose="05000000000000000000" pitchFamily="2" charset="2"/>
              </a:rPr>
              <a:t>Affari</a:t>
            </a:r>
            <a:r>
              <a:rPr lang="en-GB" sz="1400" b="1" dirty="0">
                <a:solidFill>
                  <a:prstClr val="black"/>
                </a:solidFill>
                <a:latin typeface="Aptos Narrow" panose="020B0004020202020204" pitchFamily="34" charset="0"/>
                <a:sym typeface="Wingdings" panose="05000000000000000000" pitchFamily="2" charset="2"/>
              </a:rPr>
              <a:t>: expected 2027 </a:t>
            </a:r>
            <a:r>
              <a:rPr lang="en-GB" sz="1400" dirty="0">
                <a:solidFill>
                  <a:prstClr val="black"/>
                </a:solidFill>
                <a:latin typeface="Aptos Narrow" panose="020B0004020202020204" pitchFamily="34" charset="0"/>
                <a:sym typeface="Wingdings" panose="05000000000000000000" pitchFamily="2" charset="2"/>
              </a:rPr>
              <a:t> like in the case of Agri-</a:t>
            </a:r>
            <a:r>
              <a:rPr lang="en-GB" sz="1400" dirty="0" err="1">
                <a:solidFill>
                  <a:prstClr val="black"/>
                </a:solidFill>
                <a:latin typeface="Aptos Narrow" panose="020B0004020202020204" pitchFamily="34" charset="0"/>
                <a:sym typeface="Wingdings" panose="05000000000000000000" pitchFamily="2" charset="2"/>
              </a:rPr>
              <a:t>agro</a:t>
            </a:r>
            <a:r>
              <a:rPr lang="en-GB" sz="1400" dirty="0">
                <a:solidFill>
                  <a:prstClr val="black"/>
                </a:solidFill>
                <a:latin typeface="Aptos Narrow" panose="020B0004020202020204" pitchFamily="34" charset="0"/>
                <a:sym typeface="Wingdings" panose="05000000000000000000" pitchFamily="2" charset="2"/>
              </a:rPr>
              <a:t>, with different products. </a:t>
            </a:r>
            <a:r>
              <a:rPr lang="en-GB" sz="1400" i="1" dirty="0">
                <a:solidFill>
                  <a:prstClr val="black"/>
                </a:solidFill>
                <a:latin typeface="Aptos Narrow" panose="020B0004020202020204" pitchFamily="34" charset="0"/>
                <a:sym typeface="Wingdings" panose="05000000000000000000" pitchFamily="2" charset="2"/>
              </a:rPr>
              <a:t>NB: dedicated to multi-brand, independent and multi-franchise dealership, vendors, </a:t>
            </a:r>
            <a:r>
              <a:rPr lang="en-GB" sz="1400" i="1" dirty="0" err="1">
                <a:solidFill>
                  <a:prstClr val="black"/>
                </a:solidFill>
                <a:latin typeface="Aptos Narrow" panose="020B0004020202020204" pitchFamily="34" charset="0"/>
                <a:sym typeface="Wingdings" panose="05000000000000000000" pitchFamily="2" charset="2"/>
              </a:rPr>
              <a:t>Confidi</a:t>
            </a:r>
            <a:r>
              <a:rPr lang="en-GB" sz="1400" i="1" dirty="0">
                <a:solidFill>
                  <a:prstClr val="black"/>
                </a:solidFill>
                <a:latin typeface="Aptos Narrow" panose="020B0004020202020204" pitchFamily="34" charset="0"/>
                <a:sym typeface="Wingdings" panose="05000000000000000000" pitchFamily="2" charset="2"/>
              </a:rPr>
              <a:t>, brokers.</a:t>
            </a:r>
            <a:r>
              <a:rPr lang="en-GB" sz="1400" dirty="0">
                <a:solidFill>
                  <a:prstClr val="black"/>
                </a:solidFill>
                <a:latin typeface="Aptos Narrow" panose="020B0004020202020204" pitchFamily="34" charset="0"/>
                <a:sym typeface="Wingdings" panose="05000000000000000000" pitchFamily="2" charset="2"/>
              </a:rPr>
              <a:t> </a:t>
            </a:r>
            <a:endParaRPr lang="en-GB" sz="1400" dirty="0">
              <a:solidFill>
                <a:prstClr val="black"/>
              </a:solidFill>
              <a:latin typeface="Aptos Narrow" panose="020B0004020202020204" pitchFamily="34" charset="0"/>
            </a:endParaRPr>
          </a:p>
        </p:txBody>
      </p:sp>
      <p:sp>
        <p:nvSpPr>
          <p:cNvPr id="30" name="CasellaDiTesto 29">
            <a:extLst>
              <a:ext uri="{FF2B5EF4-FFF2-40B4-BE49-F238E27FC236}">
                <a16:creationId xmlns:a16="http://schemas.microsoft.com/office/drawing/2014/main" id="{5F921239-91A5-08DD-03F4-6E300A840571}"/>
              </a:ext>
            </a:extLst>
          </p:cNvPr>
          <p:cNvSpPr txBox="1"/>
          <p:nvPr/>
        </p:nvSpPr>
        <p:spPr>
          <a:xfrm>
            <a:off x="8030245" y="2800107"/>
            <a:ext cx="3235878" cy="606072"/>
          </a:xfrm>
          <a:prstGeom prst="roundRect">
            <a:avLst>
              <a:gd name="adj" fmla="val 15953"/>
            </a:avLst>
          </a:prstGeom>
          <a:solidFill>
            <a:schemeClr val="bg1"/>
          </a:solidFill>
          <a:ln>
            <a:solidFill>
              <a:srgbClr val="003C5C"/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lvl="0" algn="ctr">
              <a:defRPr/>
            </a:pPr>
            <a:r>
              <a:rPr lang="en-GB" sz="1500" b="1" dirty="0">
                <a:solidFill>
                  <a:srgbClr val="003C5C"/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Industrialization of credit</a:t>
            </a:r>
          </a:p>
        </p:txBody>
      </p:sp>
      <p:sp>
        <p:nvSpPr>
          <p:cNvPr id="31" name="CasellaDiTesto 30">
            <a:extLst>
              <a:ext uri="{FF2B5EF4-FFF2-40B4-BE49-F238E27FC236}">
                <a16:creationId xmlns:a16="http://schemas.microsoft.com/office/drawing/2014/main" id="{DDA65483-922C-8048-7D21-0625614C3618}"/>
              </a:ext>
            </a:extLst>
          </p:cNvPr>
          <p:cNvSpPr txBox="1"/>
          <p:nvPr/>
        </p:nvSpPr>
        <p:spPr>
          <a:xfrm>
            <a:off x="4414091" y="2800107"/>
            <a:ext cx="3235878" cy="606072"/>
          </a:xfrm>
          <a:prstGeom prst="roundRect">
            <a:avLst>
              <a:gd name="adj" fmla="val 15953"/>
            </a:avLst>
          </a:prstGeom>
          <a:solidFill>
            <a:schemeClr val="bg1"/>
          </a:solidFill>
          <a:ln>
            <a:solidFill>
              <a:srgbClr val="003C5C"/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lvl="0" algn="ctr">
              <a:defRPr/>
            </a:pPr>
            <a:r>
              <a:rPr lang="en-GB" sz="1500" b="1" dirty="0">
                <a:solidFill>
                  <a:srgbClr val="003C5C"/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Increase in distribution capacity – </a:t>
            </a:r>
          </a:p>
          <a:p>
            <a:pPr lvl="0" algn="ctr">
              <a:defRPr/>
            </a:pPr>
            <a:r>
              <a:rPr lang="en-GB" sz="1500" b="1" dirty="0">
                <a:solidFill>
                  <a:srgbClr val="003C5C"/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Other Channels</a:t>
            </a:r>
          </a:p>
        </p:txBody>
      </p:sp>
      <p:sp>
        <p:nvSpPr>
          <p:cNvPr id="32" name="ZoneTexte 1">
            <a:extLst>
              <a:ext uri="{FF2B5EF4-FFF2-40B4-BE49-F238E27FC236}">
                <a16:creationId xmlns:a16="http://schemas.microsoft.com/office/drawing/2014/main" id="{B47169DE-1DA6-1B8C-E58B-DAB471D8DDDF}"/>
              </a:ext>
            </a:extLst>
          </p:cNvPr>
          <p:cNvSpPr txBox="1"/>
          <p:nvPr/>
        </p:nvSpPr>
        <p:spPr>
          <a:xfrm>
            <a:off x="797937" y="2429529"/>
            <a:ext cx="10527219" cy="249835"/>
          </a:xfrm>
          <a:prstGeom prst="roundRect">
            <a:avLst/>
          </a:prstGeom>
          <a:solidFill>
            <a:srgbClr val="009597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89999" rIns="36000" bIns="89999" rtlCol="0" anchor="ctr" anchorCtr="0"/>
          <a:lstStyle>
            <a:defPPr>
              <a:defRPr lang="it-IT"/>
            </a:defPPr>
            <a:lvl1pPr marR="0" lvl="0" indent="0" algn="ctr" defTabSz="91431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GB" sz="1600" kern="0" dirty="0">
                <a:solidFill>
                  <a:prstClr val="white"/>
                </a:solidFill>
                <a:latin typeface="Aptos Narrow" panose="020B0004020202020204" pitchFamily="34" charset="0"/>
                <a:ea typeface="+mn-ea"/>
                <a:cs typeface="+mn-cs"/>
              </a:rPr>
              <a:t>Priority</a:t>
            </a:r>
          </a:p>
        </p:txBody>
      </p:sp>
      <p:sp>
        <p:nvSpPr>
          <p:cNvPr id="33" name="Triangolo isoscele 32">
            <a:extLst>
              <a:ext uri="{FF2B5EF4-FFF2-40B4-BE49-F238E27FC236}">
                <a16:creationId xmlns:a16="http://schemas.microsoft.com/office/drawing/2014/main" id="{17379C42-84A3-4712-9530-24FED4D2FB22}"/>
              </a:ext>
            </a:extLst>
          </p:cNvPr>
          <p:cNvSpPr/>
          <p:nvPr/>
        </p:nvSpPr>
        <p:spPr>
          <a:xfrm rot="10800000">
            <a:off x="3012050" y="3545517"/>
            <a:ext cx="6137329" cy="249834"/>
          </a:xfrm>
          <a:prstGeom prst="triangle">
            <a:avLst/>
          </a:prstGeom>
          <a:solidFill>
            <a:srgbClr val="89C8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dirty="0">
              <a:ln w="0"/>
              <a:solidFill>
                <a:schemeClr val="tx1">
                  <a:lumMod val="85000"/>
                  <a:lumOff val="15000"/>
                </a:schemeClr>
              </a:solidFill>
              <a:latin typeface="Aptos Narrow" panose="020B0004020202020204" pitchFamily="34" charset="0"/>
            </a:endParaRPr>
          </a:p>
        </p:txBody>
      </p:sp>
      <p:sp>
        <p:nvSpPr>
          <p:cNvPr id="34" name="Rettangolo arrotondato 33">
            <a:extLst>
              <a:ext uri="{FF2B5EF4-FFF2-40B4-BE49-F238E27FC236}">
                <a16:creationId xmlns:a16="http://schemas.microsoft.com/office/drawing/2014/main" id="{C6E66EF0-7292-934E-9EB5-7E9B50922CD3}"/>
              </a:ext>
            </a:extLst>
          </p:cNvPr>
          <p:cNvSpPr/>
          <p:nvPr/>
        </p:nvSpPr>
        <p:spPr>
          <a:xfrm>
            <a:off x="846621" y="3897169"/>
            <a:ext cx="10468186" cy="1235796"/>
          </a:xfrm>
          <a:prstGeom prst="roundRect">
            <a:avLst>
              <a:gd name="adj" fmla="val 0"/>
            </a:avLst>
          </a:prstGeom>
          <a:solidFill>
            <a:sysClr val="window" lastClr="FFFFFF"/>
          </a:solidFill>
          <a:ln w="3175" cap="flat" cmpd="sng" algn="ctr">
            <a:solidFill>
              <a:srgbClr val="1A999F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0" cap="none" spc="0" normalizeH="0" baseline="0" dirty="0">
              <a:ln w="0"/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ptos Narrow" panose="020B0004020202020204" pitchFamily="34" charset="0"/>
            </a:endParaRPr>
          </a:p>
        </p:txBody>
      </p:sp>
      <p:sp>
        <p:nvSpPr>
          <p:cNvPr id="35" name="Rettangolo 34">
            <a:extLst>
              <a:ext uri="{FF2B5EF4-FFF2-40B4-BE49-F238E27FC236}">
                <a16:creationId xmlns:a16="http://schemas.microsoft.com/office/drawing/2014/main" id="{F2885B06-AE93-F3AD-D3A8-B6B99EE56C02}"/>
              </a:ext>
            </a:extLst>
          </p:cNvPr>
          <p:cNvSpPr/>
          <p:nvPr/>
        </p:nvSpPr>
        <p:spPr>
          <a:xfrm>
            <a:off x="838352" y="3885276"/>
            <a:ext cx="10484725" cy="332863"/>
          </a:xfrm>
          <a:prstGeom prst="rect">
            <a:avLst/>
          </a:prstGeom>
          <a:solidFill>
            <a:srgbClr val="1A999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Narrow" panose="020B0004020202020204" pitchFamily="34" charset="0"/>
              </a:rPr>
              <a:t>New</a:t>
            </a:r>
            <a:r>
              <a:rPr kumimoji="0" lang="en-GB" sz="1600" b="1" i="0" u="none" strike="noStrike" kern="0" cap="none" spc="0" normalizeH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Narrow" panose="020B0004020202020204" pitchFamily="34" charset="0"/>
              </a:rPr>
              <a:t> Channel</a:t>
            </a:r>
            <a:endParaRPr kumimoji="0" lang="en-GB" sz="1600" b="1" i="0" u="none" strike="noStrike" kern="0" cap="none" spc="0" normalizeH="0" baseline="0" dirty="0">
              <a:ln w="0"/>
              <a:solidFill>
                <a:prstClr val="white"/>
              </a:solidFill>
              <a:effectLst/>
              <a:uLnTx/>
              <a:uFillTx/>
              <a:latin typeface="Aptos Narrow" panose="020B0004020202020204" pitchFamily="34" charset="0"/>
            </a:endParaRPr>
          </a:p>
        </p:txBody>
      </p:sp>
      <p:sp>
        <p:nvSpPr>
          <p:cNvPr id="36" name="Rettangolo 35">
            <a:extLst>
              <a:ext uri="{FF2B5EF4-FFF2-40B4-BE49-F238E27FC236}">
                <a16:creationId xmlns:a16="http://schemas.microsoft.com/office/drawing/2014/main" id="{662A78B8-D1E4-BEEC-5EC8-0E077FB8DFCD}"/>
              </a:ext>
            </a:extLst>
          </p:cNvPr>
          <p:cNvSpPr/>
          <p:nvPr/>
        </p:nvSpPr>
        <p:spPr>
          <a:xfrm>
            <a:off x="846622" y="4266420"/>
            <a:ext cx="1046818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GB" sz="1600" dirty="0">
                <a:solidFill>
                  <a:prstClr val="black"/>
                </a:solidFill>
                <a:latin typeface="Aptos Narrow" panose="020B0004020202020204" pitchFamily="34" charset="0"/>
              </a:rPr>
              <a:t>Creation of an integrated platform with bank systems for the management of both </a:t>
            </a:r>
            <a:r>
              <a:rPr lang="en-GB" sz="1600" b="1" dirty="0">
                <a:solidFill>
                  <a:prstClr val="black"/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loan and leasing</a:t>
            </a:r>
            <a:r>
              <a:rPr lang="en-GB" sz="1600" dirty="0">
                <a:solidFill>
                  <a:prstClr val="black"/>
                </a:solidFill>
                <a:latin typeface="Aptos Narrow" panose="020B0004020202020204" pitchFamily="34" charset="0"/>
              </a:rPr>
              <a:t> practices that come from new agreements with any partners and third-party networks, </a:t>
            </a:r>
            <a:r>
              <a:rPr lang="en-GB" sz="1600" dirty="0">
                <a:solidFill>
                  <a:prstClr val="black"/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with </a:t>
            </a:r>
            <a:r>
              <a:rPr lang="en-GB" sz="1600" b="1" dirty="0">
                <a:solidFill>
                  <a:prstClr val="black"/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time saving </a:t>
            </a:r>
            <a:r>
              <a:rPr lang="en-GB" sz="1600" dirty="0">
                <a:solidFill>
                  <a:prstClr val="black"/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for all stakeholders through </a:t>
            </a:r>
            <a:r>
              <a:rPr lang="en-GB" sz="1600" b="1" dirty="0">
                <a:solidFill>
                  <a:prstClr val="black"/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automation of credit assessment</a:t>
            </a:r>
            <a:r>
              <a:rPr lang="en-GB" sz="1600" dirty="0">
                <a:solidFill>
                  <a:prstClr val="black"/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. </a:t>
            </a:r>
            <a:endParaRPr lang="en-GB" sz="1600" i="1" dirty="0">
              <a:solidFill>
                <a:srgbClr val="000000"/>
              </a:solidFill>
              <a:latin typeface="Aptos Narrow" panose="020B0004020202020204" pitchFamily="34" charset="0"/>
              <a:ea typeface="ＭＳ Ｐゴシック"/>
            </a:endParaRPr>
          </a:p>
        </p:txBody>
      </p:sp>
      <p:sp>
        <p:nvSpPr>
          <p:cNvPr id="51" name="CasellaDiTesto 50">
            <a:extLst>
              <a:ext uri="{FF2B5EF4-FFF2-40B4-BE49-F238E27FC236}">
                <a16:creationId xmlns:a16="http://schemas.microsoft.com/office/drawing/2014/main" id="{5D41BAC7-8342-6FAE-0DB0-8253DCB006CC}"/>
              </a:ext>
            </a:extLst>
          </p:cNvPr>
          <p:cNvSpPr txBox="1"/>
          <p:nvPr/>
        </p:nvSpPr>
        <p:spPr>
          <a:xfrm>
            <a:off x="797937" y="2800107"/>
            <a:ext cx="3235878" cy="606072"/>
          </a:xfrm>
          <a:prstGeom prst="roundRect">
            <a:avLst>
              <a:gd name="adj" fmla="val 15953"/>
            </a:avLst>
          </a:prstGeom>
          <a:solidFill>
            <a:schemeClr val="bg1"/>
          </a:solidFill>
          <a:ln>
            <a:solidFill>
              <a:srgbClr val="003C5C"/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lvl="0" algn="ctr">
              <a:defRPr/>
            </a:pPr>
            <a:r>
              <a:rPr lang="en-GB" sz="1500" b="1" dirty="0">
                <a:solidFill>
                  <a:srgbClr val="003C5C"/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Increase in distribution capacity – </a:t>
            </a:r>
          </a:p>
          <a:p>
            <a:pPr lvl="0" algn="ctr">
              <a:defRPr/>
            </a:pPr>
            <a:r>
              <a:rPr lang="en-GB" sz="1500" b="1" dirty="0">
                <a:solidFill>
                  <a:srgbClr val="003C5C"/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Agri </a:t>
            </a:r>
            <a:r>
              <a:rPr lang="en-GB" sz="1500" b="1" dirty="0" err="1">
                <a:solidFill>
                  <a:srgbClr val="003C5C"/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agro</a:t>
            </a:r>
            <a:r>
              <a:rPr lang="en-GB" sz="1500" b="1" dirty="0">
                <a:solidFill>
                  <a:srgbClr val="003C5C"/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 machinery</a:t>
            </a:r>
          </a:p>
        </p:txBody>
      </p:sp>
      <p:sp>
        <p:nvSpPr>
          <p:cNvPr id="5" name="Titolo 3">
            <a:extLst>
              <a:ext uri="{FF2B5EF4-FFF2-40B4-BE49-F238E27FC236}">
                <a16:creationId xmlns:a16="http://schemas.microsoft.com/office/drawing/2014/main" id="{095F3682-1C0E-87C6-555A-CFE363BD8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370" y="176413"/>
            <a:ext cx="10515600" cy="475068"/>
          </a:xfrm>
        </p:spPr>
        <p:txBody>
          <a:bodyPr>
            <a:normAutofit fontScale="90000"/>
          </a:bodyPr>
          <a:lstStyle/>
          <a:p>
            <a:pPr lvl="0" algn="l"/>
            <a:r>
              <a:rPr lang="en-GB" dirty="0"/>
              <a:t>Third-Party Networks Platform – Scope of the project</a:t>
            </a:r>
            <a:endParaRPr lang="en-GB" sz="2200" b="0" i="1" dirty="0"/>
          </a:p>
        </p:txBody>
      </p:sp>
      <p:sp>
        <p:nvSpPr>
          <p:cNvPr id="8" name="ZoneTexte 1">
            <a:extLst>
              <a:ext uri="{FF2B5EF4-FFF2-40B4-BE49-F238E27FC236}">
                <a16:creationId xmlns:a16="http://schemas.microsoft.com/office/drawing/2014/main" id="{B089CB2D-41DC-30F0-D42D-7B1FF7284162}"/>
              </a:ext>
            </a:extLst>
          </p:cNvPr>
          <p:cNvSpPr txBox="1"/>
          <p:nvPr/>
        </p:nvSpPr>
        <p:spPr>
          <a:xfrm>
            <a:off x="836273" y="1013628"/>
            <a:ext cx="10488883" cy="265185"/>
          </a:xfrm>
          <a:prstGeom prst="roundRect">
            <a:avLst/>
          </a:prstGeom>
          <a:solidFill>
            <a:srgbClr val="009597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89999" rIns="36000" bIns="89999" rtlCol="0" anchor="ctr" anchorCtr="0"/>
          <a:lstStyle>
            <a:defPPr>
              <a:defRPr lang="it-IT"/>
            </a:defPPr>
            <a:lvl1pPr marR="0" lvl="0" indent="0" algn="ctr" defTabSz="91431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GB" sz="1600" kern="0" dirty="0">
                <a:solidFill>
                  <a:prstClr val="white"/>
                </a:solidFill>
                <a:latin typeface="Aptos Narrow" panose="020B0004020202020204" pitchFamily="34" charset="0"/>
                <a:ea typeface="+mn-ea"/>
                <a:cs typeface="+mn-cs"/>
              </a:rPr>
              <a:t>Opportunities</a:t>
            </a:r>
          </a:p>
        </p:txBody>
      </p:sp>
      <p:sp>
        <p:nvSpPr>
          <p:cNvPr id="9" name="Triangolo isoscele 8">
            <a:extLst>
              <a:ext uri="{FF2B5EF4-FFF2-40B4-BE49-F238E27FC236}">
                <a16:creationId xmlns:a16="http://schemas.microsoft.com/office/drawing/2014/main" id="{E9EC765F-B1D8-F119-A5FF-611769882E76}"/>
              </a:ext>
            </a:extLst>
          </p:cNvPr>
          <p:cNvSpPr/>
          <p:nvPr/>
        </p:nvSpPr>
        <p:spPr>
          <a:xfrm rot="10800000">
            <a:off x="3012050" y="2118981"/>
            <a:ext cx="6137329" cy="249834"/>
          </a:xfrm>
          <a:prstGeom prst="triangle">
            <a:avLst/>
          </a:prstGeom>
          <a:solidFill>
            <a:srgbClr val="89C8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dirty="0">
              <a:ln w="0"/>
              <a:solidFill>
                <a:schemeClr val="tx1">
                  <a:lumMod val="85000"/>
                  <a:lumOff val="15000"/>
                </a:schemeClr>
              </a:solidFill>
              <a:latin typeface="Aptos Narrow" panose="020B0004020202020204" pitchFamily="34" charset="0"/>
            </a:endParaRP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4456F16E-4FD3-8316-ED64-3743760FBD16}"/>
              </a:ext>
            </a:extLst>
          </p:cNvPr>
          <p:cNvSpPr txBox="1"/>
          <p:nvPr/>
        </p:nvSpPr>
        <p:spPr>
          <a:xfrm>
            <a:off x="863679" y="1384206"/>
            <a:ext cx="10423140" cy="606072"/>
          </a:xfrm>
          <a:prstGeom prst="roundRect">
            <a:avLst>
              <a:gd name="adj" fmla="val 15953"/>
            </a:avLst>
          </a:prstGeom>
          <a:solidFill>
            <a:schemeClr val="bg1"/>
          </a:solidFill>
          <a:ln>
            <a:solidFill>
              <a:srgbClr val="003C5C"/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lvl="0" algn="ctr">
              <a:defRPr/>
            </a:pPr>
            <a:r>
              <a:rPr lang="en-US" sz="1300" dirty="0">
                <a:solidFill>
                  <a:srgbClr val="003C5C"/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The main objectives are to become a key player in the third-party network market with a secure, compliant platform and to manage an efficient process that saves time for all stakeholders affected and the Bank departments directly involved in the process.</a:t>
            </a:r>
          </a:p>
          <a:p>
            <a:pPr lvl="0" algn="ctr">
              <a:defRPr/>
            </a:pPr>
            <a:r>
              <a:rPr lang="en-US" sz="1300" b="1" dirty="0">
                <a:solidFill>
                  <a:srgbClr val="003C5C"/>
                </a:solidFill>
                <a:latin typeface="Aptos Narrow" panose="020B00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New distributive channel, with only BNP as a competitor in the Italian market</a:t>
            </a:r>
            <a:endParaRPr lang="en-US" sz="1300" b="1" dirty="0">
              <a:solidFill>
                <a:srgbClr val="003C5C"/>
              </a:solidFill>
              <a:latin typeface="Aptos Narrow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ttangolo 6">
            <a:extLst>
              <a:ext uri="{FF2B5EF4-FFF2-40B4-BE49-F238E27FC236}">
                <a16:creationId xmlns:a16="http://schemas.microsoft.com/office/drawing/2014/main" id="{36FFA597-B390-9CC7-B5DD-2D229A20BECD}"/>
              </a:ext>
            </a:extLst>
          </p:cNvPr>
          <p:cNvSpPr/>
          <p:nvPr/>
        </p:nvSpPr>
        <p:spPr>
          <a:xfrm>
            <a:off x="838352" y="5292301"/>
            <a:ext cx="10484725" cy="332863"/>
          </a:xfrm>
          <a:prstGeom prst="rect">
            <a:avLst/>
          </a:prstGeom>
          <a:solidFill>
            <a:srgbClr val="1A999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Narrow" panose="020B0004020202020204" pitchFamily="34" charset="0"/>
              </a:rPr>
              <a:t>Timing and examples</a:t>
            </a:r>
            <a:endParaRPr kumimoji="0" lang="en-GB" sz="1600" b="1" i="0" u="none" strike="noStrike" kern="0" cap="none" spc="0" normalizeH="0" baseline="0" dirty="0">
              <a:ln w="0"/>
              <a:solidFill>
                <a:prstClr val="white"/>
              </a:solidFill>
              <a:effectLst/>
              <a:uLnTx/>
              <a:uFillTx/>
              <a:latin typeface="Aptos Narrow" panose="020B0004020202020204" pitchFamily="34" charset="0"/>
            </a:endParaRP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D7EB0242-0FC8-17A9-6654-AD28D32E06FF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351" y="5600082"/>
            <a:ext cx="311384" cy="311384"/>
          </a:xfrm>
          <a:prstGeom prst="rect">
            <a:avLst/>
          </a:prstGeom>
        </p:spPr>
      </p:pic>
      <p:pic>
        <p:nvPicPr>
          <p:cNvPr id="4" name="Immagine 3">
            <a:extLst>
              <a:ext uri="{FF2B5EF4-FFF2-40B4-BE49-F238E27FC236}">
                <a16:creationId xmlns:a16="http://schemas.microsoft.com/office/drawing/2014/main" id="{3E5A06A5-3533-D083-DD92-92B5E4CE4B3D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7193" y="6027716"/>
            <a:ext cx="272542" cy="272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15007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oneTexte 12">
            <a:extLst>
              <a:ext uri="{FF2B5EF4-FFF2-40B4-BE49-F238E27FC236}">
                <a16:creationId xmlns:a16="http://schemas.microsoft.com/office/drawing/2014/main" id="{B6D31F7D-5749-7186-4C68-557701F7C4EF}"/>
              </a:ext>
            </a:extLst>
          </p:cNvPr>
          <p:cNvSpPr txBox="1"/>
          <p:nvPr/>
        </p:nvSpPr>
        <p:spPr>
          <a:xfrm>
            <a:off x="214579" y="840886"/>
            <a:ext cx="11762841" cy="5304733"/>
          </a:xfrm>
          <a:prstGeom prst="rect">
            <a:avLst/>
          </a:prstGeom>
          <a:noFill/>
          <a:ln>
            <a:solidFill>
              <a:srgbClr val="007C8E"/>
            </a:solidFill>
            <a:prstDash val="sysDash"/>
          </a:ln>
        </p:spPr>
        <p:txBody>
          <a:bodyPr wrap="square" lIns="91440" tIns="45720" rIns="91440" bIns="4572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all" spc="0" normalizeH="0" baseline="0" noProof="0" dirty="0">
              <a:ln>
                <a:noFill/>
              </a:ln>
              <a:solidFill>
                <a:srgbClr val="255179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/>
              <a:sym typeface="Wingdings" panose="05000000000000000000" pitchFamily="2" charset="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25517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                        </a:t>
            </a:r>
            <a:endParaRPr kumimoji="0" lang="en-GB" sz="1600" b="1" i="0" u="none" strike="noStrike" kern="1200" cap="all" spc="0" normalizeH="0" baseline="0" noProof="0" dirty="0">
              <a:ln>
                <a:noFill/>
              </a:ln>
              <a:solidFill>
                <a:srgbClr val="255179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all" spc="0" normalizeH="0" baseline="0" noProof="0" dirty="0">
                <a:ln>
                  <a:noFill/>
                </a:ln>
                <a:solidFill>
                  <a:srgbClr val="255179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</a:rPr>
              <a:t>                 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all" spc="0" normalizeH="0" baseline="0" noProof="0" dirty="0">
              <a:ln>
                <a:noFill/>
              </a:ln>
              <a:solidFill>
                <a:srgbClr val="255179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GB" sz="2800" b="0" i="0" u="none" strike="noStrike" kern="1200" cap="all" spc="0" normalizeH="0" baseline="0" noProof="0" dirty="0">
                <a:ln>
                  <a:noFill/>
                </a:ln>
                <a:solidFill>
                  <a:srgbClr val="255179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</a:rPr>
            </a:br>
            <a:r>
              <a:rPr kumimoji="0" lang="en-GB" sz="2800" b="0" i="0" u="none" strike="noStrike" kern="1200" cap="all" spc="0" normalizeH="0" baseline="0" noProof="0" dirty="0">
                <a:ln>
                  <a:noFill/>
                </a:ln>
                <a:solidFill>
                  <a:srgbClr val="255179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</a:rPr>
              <a:t> </a:t>
            </a: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5517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5517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5517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5517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5517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5517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</a:t>
            </a: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5517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5517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5517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5517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100" b="0" i="1" u="none" strike="noStrike" kern="1200" cap="none" spc="0" normalizeH="0" baseline="0" noProof="0" dirty="0">
              <a:ln>
                <a:noFill/>
              </a:ln>
              <a:solidFill>
                <a:srgbClr val="25517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ttangolo con angoli arrotondati 5">
            <a:extLst>
              <a:ext uri="{FF2B5EF4-FFF2-40B4-BE49-F238E27FC236}">
                <a16:creationId xmlns:a16="http://schemas.microsoft.com/office/drawing/2014/main" id="{DA12333E-0BD6-5CC8-D21B-E1F81790FBAD}"/>
              </a:ext>
            </a:extLst>
          </p:cNvPr>
          <p:cNvSpPr/>
          <p:nvPr/>
        </p:nvSpPr>
        <p:spPr>
          <a:xfrm>
            <a:off x="335622" y="1199137"/>
            <a:ext cx="2955600" cy="3395744"/>
          </a:xfrm>
          <a:prstGeom prst="roundRect">
            <a:avLst/>
          </a:prstGeom>
          <a:solidFill>
            <a:srgbClr val="3397A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COSYSTEM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r the liberal </a:t>
            </a:r>
            <a:r>
              <a: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fessions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Rettangolo con angoli arrotondati 11">
            <a:extLst>
              <a:ext uri="{FF2B5EF4-FFF2-40B4-BE49-F238E27FC236}">
                <a16:creationId xmlns:a16="http://schemas.microsoft.com/office/drawing/2014/main" id="{F0B39242-6DCD-4503-FEA3-EFED48BAD6BD}"/>
              </a:ext>
            </a:extLst>
          </p:cNvPr>
          <p:cNvSpPr/>
          <p:nvPr/>
        </p:nvSpPr>
        <p:spPr>
          <a:xfrm>
            <a:off x="434643" y="5047837"/>
            <a:ext cx="2955600" cy="844048"/>
          </a:xfrm>
          <a:prstGeom prst="roundRect">
            <a:avLst/>
          </a:prstGeom>
          <a:solidFill>
            <a:srgbClr val="25517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TERFIMO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d </a:t>
            </a:r>
            <a:r>
              <a: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ts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oability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in </a:t>
            </a:r>
            <a:r>
              <a: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taly</a:t>
            </a:r>
            <a:endParaRPr kumimoji="0" lang="it-IT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Rettangolo con angoli arrotondati 12">
            <a:extLst>
              <a:ext uri="{FF2B5EF4-FFF2-40B4-BE49-F238E27FC236}">
                <a16:creationId xmlns:a16="http://schemas.microsoft.com/office/drawing/2014/main" id="{3DA5DB22-6C3F-6702-FE19-D89685EDC983}"/>
              </a:ext>
            </a:extLst>
          </p:cNvPr>
          <p:cNvSpPr/>
          <p:nvPr/>
        </p:nvSpPr>
        <p:spPr>
          <a:xfrm>
            <a:off x="3554942" y="1209673"/>
            <a:ext cx="2660923" cy="1426866"/>
          </a:xfrm>
          <a:prstGeom prst="roundRect">
            <a:avLst/>
          </a:prstGeom>
          <a:gradFill flip="none" rotWithShape="1">
            <a:gsLst>
              <a:gs pos="0">
                <a:srgbClr val="3397A5">
                  <a:tint val="66000"/>
                  <a:satMod val="160000"/>
                </a:srgbClr>
              </a:gs>
              <a:gs pos="50000">
                <a:srgbClr val="3397A5">
                  <a:tint val="44500"/>
                  <a:satMod val="160000"/>
                </a:srgbClr>
              </a:gs>
              <a:gs pos="100000">
                <a:srgbClr val="3397A5">
                  <a:tint val="23500"/>
                  <a:satMod val="160000"/>
                </a:srgbClr>
              </a:gs>
            </a:gsLst>
            <a:lin ang="2700000" scaled="1"/>
            <a:tileRect/>
          </a:gradFill>
          <a:ln w="19050">
            <a:solidFill>
              <a:srgbClr val="3397A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3397A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mercial </a:t>
            </a:r>
            <a:r>
              <a:rPr kumimoji="0" lang="it-IT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3397A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fer</a:t>
            </a:r>
            <a:endParaRPr kumimoji="0" lang="it-IT" sz="1800" b="1" i="0" u="none" strike="noStrike" kern="1200" cap="none" spc="0" normalizeH="0" baseline="0" noProof="0" dirty="0">
              <a:ln>
                <a:noFill/>
              </a:ln>
              <a:solidFill>
                <a:srgbClr val="3397A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ttangolo con angoli arrotondati 13">
            <a:extLst>
              <a:ext uri="{FF2B5EF4-FFF2-40B4-BE49-F238E27FC236}">
                <a16:creationId xmlns:a16="http://schemas.microsoft.com/office/drawing/2014/main" id="{09745577-4BBB-543A-5103-672447917E44}"/>
              </a:ext>
            </a:extLst>
          </p:cNvPr>
          <p:cNvSpPr/>
          <p:nvPr/>
        </p:nvSpPr>
        <p:spPr>
          <a:xfrm>
            <a:off x="3554941" y="2870286"/>
            <a:ext cx="2660923" cy="739993"/>
          </a:xfrm>
          <a:prstGeom prst="roundRect">
            <a:avLst/>
          </a:prstGeom>
          <a:gradFill flip="none" rotWithShape="1">
            <a:gsLst>
              <a:gs pos="0">
                <a:srgbClr val="255179">
                  <a:tint val="66000"/>
                  <a:satMod val="160000"/>
                </a:srgbClr>
              </a:gs>
              <a:gs pos="50000">
                <a:srgbClr val="255179">
                  <a:tint val="44500"/>
                  <a:satMod val="160000"/>
                </a:srgbClr>
              </a:gs>
              <a:gs pos="100000">
                <a:srgbClr val="255179">
                  <a:tint val="23500"/>
                  <a:satMod val="160000"/>
                </a:srgbClr>
              </a:gs>
            </a:gsLst>
            <a:lin ang="2700000" scaled="1"/>
            <a:tileRect/>
          </a:gradFill>
          <a:ln w="19050">
            <a:solidFill>
              <a:srgbClr val="25517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25517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rvices</a:t>
            </a:r>
          </a:p>
        </p:txBody>
      </p:sp>
      <p:sp>
        <p:nvSpPr>
          <p:cNvPr id="15" name="Rettangolo con angoli arrotondati 14">
            <a:extLst>
              <a:ext uri="{FF2B5EF4-FFF2-40B4-BE49-F238E27FC236}">
                <a16:creationId xmlns:a16="http://schemas.microsoft.com/office/drawing/2014/main" id="{3CA25352-E19B-9C52-9F95-57C0304D8CFE}"/>
              </a:ext>
            </a:extLst>
          </p:cNvPr>
          <p:cNvSpPr/>
          <p:nvPr/>
        </p:nvSpPr>
        <p:spPr>
          <a:xfrm>
            <a:off x="3554942" y="3899380"/>
            <a:ext cx="2660923" cy="705948"/>
          </a:xfrm>
          <a:prstGeom prst="roundRect">
            <a:avLst/>
          </a:prstGeom>
          <a:gradFill flip="none" rotWithShape="1">
            <a:gsLst>
              <a:gs pos="0">
                <a:srgbClr val="4F8978">
                  <a:tint val="66000"/>
                  <a:satMod val="160000"/>
                </a:srgbClr>
              </a:gs>
              <a:gs pos="50000">
                <a:srgbClr val="4F8978">
                  <a:tint val="44500"/>
                  <a:satMod val="160000"/>
                </a:srgbClr>
              </a:gs>
              <a:gs pos="100000">
                <a:srgbClr val="4F8978">
                  <a:tint val="23500"/>
                  <a:satMod val="160000"/>
                </a:srgbClr>
              </a:gs>
            </a:gsLst>
            <a:lin ang="2700000" scaled="1"/>
            <a:tileRect/>
          </a:gradFill>
          <a:ln w="19050">
            <a:solidFill>
              <a:srgbClr val="4F897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4F897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twork</a:t>
            </a:r>
          </a:p>
        </p:txBody>
      </p:sp>
      <p:sp>
        <p:nvSpPr>
          <p:cNvPr id="16" name="Rettangolo con angoli arrotondati 15">
            <a:extLst>
              <a:ext uri="{FF2B5EF4-FFF2-40B4-BE49-F238E27FC236}">
                <a16:creationId xmlns:a16="http://schemas.microsoft.com/office/drawing/2014/main" id="{04A47367-2095-15E5-1880-75A4CE609004}"/>
              </a:ext>
            </a:extLst>
          </p:cNvPr>
          <p:cNvSpPr/>
          <p:nvPr/>
        </p:nvSpPr>
        <p:spPr>
          <a:xfrm>
            <a:off x="6380564" y="3899380"/>
            <a:ext cx="5475814" cy="304771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61616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4F897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ational ‘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4F897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sse Previdenziali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4F897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’ (e.g. ENPAM)</a:t>
            </a:r>
          </a:p>
        </p:txBody>
      </p:sp>
      <p:sp>
        <p:nvSpPr>
          <p:cNvPr id="17" name="Rettangolo con angoli arrotondati 16">
            <a:extLst>
              <a:ext uri="{FF2B5EF4-FFF2-40B4-BE49-F238E27FC236}">
                <a16:creationId xmlns:a16="http://schemas.microsoft.com/office/drawing/2014/main" id="{2DD31004-27E0-2CEA-3B6C-92919C5AA569}"/>
              </a:ext>
            </a:extLst>
          </p:cNvPr>
          <p:cNvSpPr/>
          <p:nvPr/>
        </p:nvSpPr>
        <p:spPr>
          <a:xfrm>
            <a:off x="6380564" y="4290110"/>
            <a:ext cx="5475814" cy="304771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4F897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4F897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ational and </a:t>
            </a:r>
            <a:r>
              <a:rPr kumimoji="0" lang="it-I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4F897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cal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4F897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4F897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fessional </a:t>
            </a:r>
            <a:r>
              <a:rPr kumimoji="0" lang="it-IT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4F897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ders</a:t>
            </a:r>
            <a:endParaRPr kumimoji="0" lang="it-IT" sz="1400" b="1" i="0" u="none" strike="noStrike" kern="1200" cap="none" spc="0" normalizeH="0" baseline="0" noProof="0" dirty="0">
              <a:ln>
                <a:noFill/>
              </a:ln>
              <a:solidFill>
                <a:srgbClr val="4F89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ttangolo con angoli arrotondati 18">
            <a:extLst>
              <a:ext uri="{FF2B5EF4-FFF2-40B4-BE49-F238E27FC236}">
                <a16:creationId xmlns:a16="http://schemas.microsoft.com/office/drawing/2014/main" id="{F93B1D64-751E-4B69-B54A-BA52332AABB8}"/>
              </a:ext>
            </a:extLst>
          </p:cNvPr>
          <p:cNvSpPr/>
          <p:nvPr/>
        </p:nvSpPr>
        <p:spPr>
          <a:xfrm>
            <a:off x="6380564" y="1199137"/>
            <a:ext cx="5475814" cy="304771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3397A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3397A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nline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3397A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nk account 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3397A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new </a:t>
            </a:r>
            <a:r>
              <a:rPr kumimoji="0" lang="it-I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3397A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fer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3397A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f </a:t>
            </a:r>
            <a:r>
              <a:rPr kumimoji="0" lang="it-IT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3397A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.accounts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3397A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 </a:t>
            </a:r>
            <a:r>
              <a:rPr kumimoji="0" lang="it-IT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3397A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ranches</a:t>
            </a:r>
            <a:endParaRPr kumimoji="0" lang="it-IT" sz="1400" b="1" i="0" u="none" strike="noStrike" kern="1200" cap="none" spc="0" normalizeH="0" baseline="0" noProof="0" dirty="0">
              <a:ln>
                <a:noFill/>
              </a:ln>
              <a:solidFill>
                <a:srgbClr val="3397A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ttangolo con angoli arrotondati 19">
            <a:extLst>
              <a:ext uri="{FF2B5EF4-FFF2-40B4-BE49-F238E27FC236}">
                <a16:creationId xmlns:a16="http://schemas.microsoft.com/office/drawing/2014/main" id="{058215A2-6FC9-C47B-B07D-54B456350598}"/>
              </a:ext>
            </a:extLst>
          </p:cNvPr>
          <p:cNvSpPr/>
          <p:nvPr/>
        </p:nvSpPr>
        <p:spPr>
          <a:xfrm>
            <a:off x="6380564" y="1595533"/>
            <a:ext cx="5475814" cy="304771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3397A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3397A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rtnership with </a:t>
            </a:r>
            <a:r>
              <a:rPr kumimoji="0" lang="it-I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3397A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ther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3397A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it-I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3397A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tities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3397A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CALIT (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3397A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asing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3397A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</a:p>
        </p:txBody>
      </p:sp>
      <p:sp>
        <p:nvSpPr>
          <p:cNvPr id="21" name="Rettangolo con angoli arrotondati 20">
            <a:extLst>
              <a:ext uri="{FF2B5EF4-FFF2-40B4-BE49-F238E27FC236}">
                <a16:creationId xmlns:a16="http://schemas.microsoft.com/office/drawing/2014/main" id="{0C82BA7C-50E8-BD61-D156-FB39C7E08453}"/>
              </a:ext>
            </a:extLst>
          </p:cNvPr>
          <p:cNvSpPr/>
          <p:nvPr/>
        </p:nvSpPr>
        <p:spPr>
          <a:xfrm>
            <a:off x="6380564" y="1965623"/>
            <a:ext cx="5475814" cy="304771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3397A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3397A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dicated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3397A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it-I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3397A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ditions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3397A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n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3397A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S</a:t>
            </a:r>
          </a:p>
        </p:txBody>
      </p:sp>
      <p:sp>
        <p:nvSpPr>
          <p:cNvPr id="22" name="Rettangolo con angoli arrotondati 21">
            <a:extLst>
              <a:ext uri="{FF2B5EF4-FFF2-40B4-BE49-F238E27FC236}">
                <a16:creationId xmlns:a16="http://schemas.microsoft.com/office/drawing/2014/main" id="{BCB3D6BE-67C1-85B5-F599-E8D9F75803CF}"/>
              </a:ext>
            </a:extLst>
          </p:cNvPr>
          <p:cNvSpPr/>
          <p:nvPr/>
        </p:nvSpPr>
        <p:spPr>
          <a:xfrm>
            <a:off x="6380564" y="2331768"/>
            <a:ext cx="5475814" cy="304771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3397A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3397A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llection rate 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3397A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 the bank account</a:t>
            </a:r>
          </a:p>
        </p:txBody>
      </p:sp>
      <p:sp>
        <p:nvSpPr>
          <p:cNvPr id="23" name="Rettangolo con angoli arrotondati 22">
            <a:extLst>
              <a:ext uri="{FF2B5EF4-FFF2-40B4-BE49-F238E27FC236}">
                <a16:creationId xmlns:a16="http://schemas.microsoft.com/office/drawing/2014/main" id="{CC367A56-FACB-1DBC-A9EA-DEA663E24328}"/>
              </a:ext>
            </a:extLst>
          </p:cNvPr>
          <p:cNvSpPr/>
          <p:nvPr/>
        </p:nvSpPr>
        <p:spPr>
          <a:xfrm>
            <a:off x="6380564" y="2870287"/>
            <a:ext cx="5475814" cy="304771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25517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25517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count on online tax </a:t>
            </a:r>
            <a:r>
              <a:rPr kumimoji="0" lang="it-IT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25517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ultancy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25517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it-IT" sz="1400" i="0" u="none" strike="noStrike" kern="1200" cap="none" spc="0" normalizeH="0" baseline="0" noProof="0" dirty="0">
                <a:ln>
                  <a:noFill/>
                </a:ln>
                <a:solidFill>
                  <a:srgbClr val="25517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</a:t>
            </a:r>
            <a:r>
              <a:rPr kumimoji="0" lang="it-IT" sz="1400" i="0" u="none" strike="noStrike" kern="1200" cap="none" spc="0" normalizeH="0" baseline="0" noProof="0" dirty="0" err="1">
                <a:ln>
                  <a:noFill/>
                </a:ln>
                <a:solidFill>
                  <a:srgbClr val="25517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scozen</a:t>
            </a:r>
            <a:r>
              <a:rPr kumimoji="0" lang="it-IT" sz="1400" i="0" u="none" strike="noStrike" kern="1200" cap="none" spc="0" normalizeH="0" baseline="0" noProof="0" dirty="0">
                <a:ln>
                  <a:noFill/>
                </a:ln>
                <a:solidFill>
                  <a:srgbClr val="25517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</a:p>
        </p:txBody>
      </p:sp>
      <p:sp>
        <p:nvSpPr>
          <p:cNvPr id="25" name="Rettangolo con angoli arrotondati 24">
            <a:extLst>
              <a:ext uri="{FF2B5EF4-FFF2-40B4-BE49-F238E27FC236}">
                <a16:creationId xmlns:a16="http://schemas.microsoft.com/office/drawing/2014/main" id="{DEAB86F2-9903-8855-28B9-91311D5720AC}"/>
              </a:ext>
            </a:extLst>
          </p:cNvPr>
          <p:cNvSpPr/>
          <p:nvPr/>
        </p:nvSpPr>
        <p:spPr>
          <a:xfrm>
            <a:off x="6380563" y="3305508"/>
            <a:ext cx="5475814" cy="304771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25517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25517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dit card 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25517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th discounts on </a:t>
            </a:r>
            <a:r>
              <a:rPr kumimoji="0" lang="it-IT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25517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bscriptions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25517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o DAZN </a:t>
            </a:r>
          </a:p>
        </p:txBody>
      </p:sp>
      <p:sp>
        <p:nvSpPr>
          <p:cNvPr id="26" name="Rettangolo con angoli arrotondati 25">
            <a:extLst>
              <a:ext uri="{FF2B5EF4-FFF2-40B4-BE49-F238E27FC236}">
                <a16:creationId xmlns:a16="http://schemas.microsoft.com/office/drawing/2014/main" id="{FCA7C344-F62D-B977-876E-B17863BE98CF}"/>
              </a:ext>
            </a:extLst>
          </p:cNvPr>
          <p:cNvSpPr/>
          <p:nvPr/>
        </p:nvSpPr>
        <p:spPr>
          <a:xfrm>
            <a:off x="3554940" y="5047836"/>
            <a:ext cx="2660923" cy="844049"/>
          </a:xfrm>
          <a:prstGeom prst="roundRect">
            <a:avLst/>
          </a:prstGeom>
          <a:gradFill flip="none" rotWithShape="1">
            <a:gsLst>
              <a:gs pos="0">
                <a:srgbClr val="255179">
                  <a:tint val="66000"/>
                  <a:satMod val="160000"/>
                </a:srgbClr>
              </a:gs>
              <a:gs pos="50000">
                <a:srgbClr val="255179">
                  <a:tint val="44500"/>
                  <a:satMod val="160000"/>
                </a:srgbClr>
              </a:gs>
              <a:gs pos="100000">
                <a:srgbClr val="255179">
                  <a:tint val="23500"/>
                  <a:satMod val="160000"/>
                </a:srgbClr>
              </a:gs>
            </a:gsLst>
            <a:lin ang="2700000" scaled="1"/>
            <a:tileRect/>
          </a:gradFill>
          <a:ln w="19050">
            <a:solidFill>
              <a:srgbClr val="25517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25517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ynergic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25517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work</a:t>
            </a:r>
          </a:p>
        </p:txBody>
      </p:sp>
      <p:sp>
        <p:nvSpPr>
          <p:cNvPr id="28" name="Rettangolo con angoli arrotondati 27">
            <a:extLst>
              <a:ext uri="{FF2B5EF4-FFF2-40B4-BE49-F238E27FC236}">
                <a16:creationId xmlns:a16="http://schemas.microsoft.com/office/drawing/2014/main" id="{9B34CA84-E14A-A57F-11F2-C4F327D887FA}"/>
              </a:ext>
            </a:extLst>
          </p:cNvPr>
          <p:cNvSpPr/>
          <p:nvPr/>
        </p:nvSpPr>
        <p:spPr>
          <a:xfrm>
            <a:off x="6380564" y="5112323"/>
            <a:ext cx="5475814" cy="304771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25517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25517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terviews on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25517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ients and </a:t>
            </a:r>
            <a:r>
              <a:rPr kumimoji="0" lang="it-IT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25517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spects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25517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it-IT" sz="1400" i="0" u="none" strike="noStrike" kern="1200" cap="none" spc="0" normalizeH="0" baseline="0" noProof="0" dirty="0" err="1">
                <a:ln>
                  <a:noFill/>
                </a:ln>
                <a:solidFill>
                  <a:srgbClr val="25517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ded</a:t>
            </a:r>
            <a:endParaRPr kumimoji="0" lang="it-IT" sz="1400" b="1" i="0" u="none" strike="noStrike" kern="1200" cap="none" spc="0" normalizeH="0" baseline="0" noProof="0" dirty="0">
              <a:ln>
                <a:noFill/>
              </a:ln>
              <a:solidFill>
                <a:srgbClr val="25517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Rettangolo con angoli arrotondati 28">
            <a:extLst>
              <a:ext uri="{FF2B5EF4-FFF2-40B4-BE49-F238E27FC236}">
                <a16:creationId xmlns:a16="http://schemas.microsoft.com/office/drawing/2014/main" id="{A85DC785-60D2-4C4E-4D20-DB4EBE42C40F}"/>
              </a:ext>
            </a:extLst>
          </p:cNvPr>
          <p:cNvSpPr/>
          <p:nvPr/>
        </p:nvSpPr>
        <p:spPr>
          <a:xfrm>
            <a:off x="6380564" y="5525329"/>
            <a:ext cx="5475814" cy="304771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25517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25517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25517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etings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25517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with Affari and Agri Agro, Risks and Credits in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25517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I</a:t>
            </a:r>
          </a:p>
        </p:txBody>
      </p:sp>
      <p:cxnSp>
        <p:nvCxnSpPr>
          <p:cNvPr id="31" name="Connettore diritto 30">
            <a:extLst>
              <a:ext uri="{FF2B5EF4-FFF2-40B4-BE49-F238E27FC236}">
                <a16:creationId xmlns:a16="http://schemas.microsoft.com/office/drawing/2014/main" id="{D7BBC1D8-EB68-14E5-2824-D6EC14BDD130}"/>
              </a:ext>
            </a:extLst>
          </p:cNvPr>
          <p:cNvCxnSpPr>
            <a:cxnSpLocks/>
          </p:cNvCxnSpPr>
          <p:nvPr/>
        </p:nvCxnSpPr>
        <p:spPr>
          <a:xfrm>
            <a:off x="335622" y="4821806"/>
            <a:ext cx="11520756" cy="0"/>
          </a:xfrm>
          <a:prstGeom prst="line">
            <a:avLst/>
          </a:prstGeom>
          <a:ln>
            <a:solidFill>
              <a:srgbClr val="3397A5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ttangolo 1">
            <a:extLst>
              <a:ext uri="{FF2B5EF4-FFF2-40B4-BE49-F238E27FC236}">
                <a16:creationId xmlns:a16="http://schemas.microsoft.com/office/drawing/2014/main" id="{1ABDA283-82D6-D983-5C9E-B8FC57FC3757}"/>
              </a:ext>
            </a:extLst>
          </p:cNvPr>
          <p:cNvSpPr/>
          <p:nvPr/>
        </p:nvSpPr>
        <p:spPr>
          <a:xfrm>
            <a:off x="764036" y="6308991"/>
            <a:ext cx="10154092" cy="306809"/>
          </a:xfrm>
          <a:prstGeom prst="rect">
            <a:avLst/>
          </a:prstGeom>
          <a:gradFill flip="none" rotWithShape="1">
            <a:gsLst>
              <a:gs pos="0">
                <a:srgbClr val="3397A5">
                  <a:shade val="30000"/>
                  <a:satMod val="115000"/>
                </a:srgbClr>
              </a:gs>
              <a:gs pos="50000">
                <a:srgbClr val="3397A5">
                  <a:shade val="67500"/>
                  <a:satMod val="115000"/>
                </a:srgbClr>
              </a:gs>
              <a:gs pos="100000">
                <a:srgbClr val="3397A5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ng-</a:t>
            </a:r>
            <a:r>
              <a:rPr kumimoji="0" lang="it-IT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rm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it-IT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mbition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5% market share</a:t>
            </a:r>
          </a:p>
        </p:txBody>
      </p:sp>
      <p:sp>
        <p:nvSpPr>
          <p:cNvPr id="5" name="Onda 4">
            <a:extLst>
              <a:ext uri="{FF2B5EF4-FFF2-40B4-BE49-F238E27FC236}">
                <a16:creationId xmlns:a16="http://schemas.microsoft.com/office/drawing/2014/main" id="{A8BBC6C2-3CAB-C6CE-B142-F795F364588C}"/>
              </a:ext>
            </a:extLst>
          </p:cNvPr>
          <p:cNvSpPr/>
          <p:nvPr/>
        </p:nvSpPr>
        <p:spPr>
          <a:xfrm rot="19689941">
            <a:off x="-32299" y="1172162"/>
            <a:ext cx="1411525" cy="696150"/>
          </a:xfrm>
          <a:prstGeom prst="wave">
            <a:avLst/>
          </a:prstGeom>
          <a:solidFill>
            <a:srgbClr val="255179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dirty="0" err="1"/>
              <a:t>Launched</a:t>
            </a:r>
            <a:r>
              <a:rPr lang="it-IT" sz="1400" dirty="0"/>
              <a:t> in </a:t>
            </a:r>
            <a:r>
              <a:rPr lang="it-IT" sz="1400" dirty="0" err="1"/>
              <a:t>February</a:t>
            </a:r>
            <a:endParaRPr lang="it-IT" sz="1400" dirty="0"/>
          </a:p>
        </p:txBody>
      </p:sp>
      <p:sp>
        <p:nvSpPr>
          <p:cNvPr id="8" name="Titolo 85">
            <a:extLst>
              <a:ext uri="{FF2B5EF4-FFF2-40B4-BE49-F238E27FC236}">
                <a16:creationId xmlns:a16="http://schemas.microsoft.com/office/drawing/2014/main" id="{D4C1F4EC-D304-A7C4-9110-23D4A998D9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7859" y="18687"/>
            <a:ext cx="10986447" cy="900000"/>
          </a:xfrm>
        </p:spPr>
        <p:txBody>
          <a:bodyPr>
            <a:normAutofit/>
          </a:bodyPr>
          <a:lstStyle/>
          <a:p>
            <a:r>
              <a:rPr lang="en-GB" dirty="0"/>
              <a:t>Offer and partnerships – </a:t>
            </a:r>
            <a:r>
              <a:rPr lang="en-GB" dirty="0" err="1"/>
              <a:t>LIBERal</a:t>
            </a:r>
            <a:r>
              <a:rPr lang="en-GB" dirty="0"/>
              <a:t> PROFESSIONs </a:t>
            </a:r>
          </a:p>
        </p:txBody>
      </p:sp>
    </p:spTree>
    <p:extLst>
      <p:ext uri="{BB962C8B-B14F-4D97-AF65-F5344CB8AC3E}">
        <p14:creationId xmlns:p14="http://schemas.microsoft.com/office/powerpoint/2010/main" val="37954668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5A587B-5814-4D9B-9598-FE9CB954CB01}" type="slidenum">
              <a:rPr kumimoji="0" lang="fr-FR" sz="1000" b="1" i="0" u="none" strike="noStrike" kern="1200" cap="none" spc="0" normalizeH="0" baseline="0" noProof="0" smtClean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r-FR" sz="1000" b="1" i="0" u="none" strike="noStrike" kern="1200" cap="none" spc="0" normalizeH="0" baseline="0" noProof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72BC54F7-9011-4AF9-83D4-4E85DC9DCEE2}"/>
              </a:ext>
            </a:extLst>
          </p:cNvPr>
          <p:cNvSpPr txBox="1"/>
          <p:nvPr/>
        </p:nvSpPr>
        <p:spPr>
          <a:xfrm>
            <a:off x="282538" y="713965"/>
            <a:ext cx="11789597" cy="5316965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91440" tIns="45720" rIns="91440" bIns="45720" rtlCol="0" anchor="t">
            <a:noAutofit/>
          </a:bodyPr>
          <a:lstStyle/>
          <a:p>
            <a:pPr defTabSz="514266">
              <a:defRPr/>
            </a:pPr>
            <a:endParaRPr lang="en-GB" sz="1400" cap="all" dirty="0">
              <a:solidFill>
                <a:srgbClr val="009597"/>
              </a:solidFill>
              <a:latin typeface="Arial Black" panose="020B0A04020102020204" pitchFamily="34" charset="0"/>
              <a:ea typeface="+mj-ea"/>
              <a:cs typeface="Arial"/>
            </a:endParaRPr>
          </a:p>
          <a:p>
            <a:pPr defTabSz="514266">
              <a:defRPr/>
            </a:pPr>
            <a:r>
              <a:rPr lang="en-GB" sz="1400" cap="all" dirty="0">
                <a:solidFill>
                  <a:srgbClr val="009597"/>
                </a:solidFill>
                <a:latin typeface="Arial Black" panose="020B0A04020102020204" pitchFamily="34" charset="0"/>
                <a:ea typeface="+mj-ea"/>
                <a:cs typeface="Arial"/>
              </a:rPr>
              <a:t> </a:t>
            </a:r>
            <a:r>
              <a:rPr lang="en-GB" cap="all" dirty="0">
                <a:solidFill>
                  <a:srgbClr val="009597"/>
                </a:solidFill>
                <a:latin typeface="Arial Black" panose="020B0A04020102020204" pitchFamily="34" charset="0"/>
                <a:ea typeface="+mj-ea"/>
                <a:cs typeface="Arial"/>
              </a:rPr>
              <a:t>1  )  2025 final acquisition results in each BPI</a:t>
            </a:r>
          </a:p>
          <a:p>
            <a:pPr defTabSz="514266">
              <a:defRPr/>
            </a:pPr>
            <a:endParaRPr lang="en-GB" cap="all" dirty="0">
              <a:solidFill>
                <a:srgbClr val="009597"/>
              </a:solidFill>
              <a:latin typeface="Arial Black" panose="020B0A04020102020204" pitchFamily="34" charset="0"/>
              <a:ea typeface="+mj-ea"/>
              <a:cs typeface="Arial"/>
            </a:endParaRPr>
          </a:p>
          <a:p>
            <a:pPr defTabSz="514266">
              <a:defRPr/>
            </a:pPr>
            <a:r>
              <a:rPr lang="en-GB" sz="2000" cap="all" dirty="0">
                <a:solidFill>
                  <a:srgbClr val="009597"/>
                </a:solidFill>
                <a:latin typeface="Arial Black" panose="020B0A04020102020204" pitchFamily="34" charset="0"/>
                <a:ea typeface="+mj-ea"/>
                <a:cs typeface="Arial"/>
                <a:sym typeface="Wingdings" panose="05000000000000000000" pitchFamily="2" charset="2"/>
              </a:rPr>
              <a:t>       </a:t>
            </a:r>
            <a:r>
              <a:rPr lang="en-GB" sz="1200" cap="all" dirty="0">
                <a:solidFill>
                  <a:srgbClr val="009597"/>
                </a:solidFill>
                <a:latin typeface="Arial Black" panose="020B0A04020102020204" pitchFamily="34" charset="0"/>
                <a:ea typeface="+mj-ea"/>
                <a:cs typeface="Arial"/>
                <a:sym typeface="Wingdings" panose="05000000000000000000" pitchFamily="2" charset="2"/>
              </a:rPr>
              <a:t></a:t>
            </a:r>
            <a:r>
              <a:rPr lang="en-GB" sz="1600" cap="all" dirty="0">
                <a:solidFill>
                  <a:srgbClr val="009597"/>
                </a:solidFill>
                <a:latin typeface="Arial Black" panose="020B0A04020102020204" pitchFamily="34" charset="0"/>
                <a:ea typeface="+mj-ea"/>
                <a:cs typeface="Arial"/>
                <a:sym typeface="Wingdings" panose="05000000000000000000" pitchFamily="2" charset="2"/>
              </a:rPr>
              <a:t>  Net balance / Growth Acquisition / </a:t>
            </a:r>
            <a:r>
              <a:rPr lang="en-GB" sz="1600" cap="all" dirty="0" err="1">
                <a:solidFill>
                  <a:srgbClr val="009597"/>
                </a:solidFill>
                <a:latin typeface="Arial Black" panose="020B0A04020102020204" pitchFamily="34" charset="0"/>
                <a:ea typeface="+mj-ea"/>
                <a:cs typeface="Arial"/>
                <a:sym typeface="Wingdings" panose="05000000000000000000" pitchFamily="2" charset="2"/>
              </a:rPr>
              <a:t>LosS</a:t>
            </a:r>
            <a:r>
              <a:rPr lang="en-GB" sz="1600" cap="all" dirty="0">
                <a:solidFill>
                  <a:srgbClr val="009597"/>
                </a:solidFill>
                <a:latin typeface="Arial Black" panose="020B0A04020102020204" pitchFamily="34" charset="0"/>
                <a:ea typeface="+mj-ea"/>
                <a:cs typeface="Arial"/>
                <a:sym typeface="Wingdings" panose="05000000000000000000" pitchFamily="2" charset="2"/>
              </a:rPr>
              <a:t> / Rate of target achievement </a:t>
            </a:r>
          </a:p>
          <a:p>
            <a:pPr defTabSz="514266">
              <a:defRPr/>
            </a:pPr>
            <a:r>
              <a:rPr lang="en-GB" sz="1600" cap="all" dirty="0">
                <a:solidFill>
                  <a:srgbClr val="009597"/>
                </a:solidFill>
                <a:latin typeface="Arial Black" panose="020B0A04020102020204" pitchFamily="34" charset="0"/>
                <a:ea typeface="+mj-ea"/>
                <a:cs typeface="Arial"/>
                <a:sym typeface="Wingdings" panose="05000000000000000000" pitchFamily="2" charset="2"/>
              </a:rPr>
              <a:t>         </a:t>
            </a:r>
            <a:r>
              <a:rPr lang="en-GB" sz="1200" cap="all" dirty="0">
                <a:solidFill>
                  <a:srgbClr val="009597"/>
                </a:solidFill>
                <a:latin typeface="Arial Black" panose="020B0A04020102020204" pitchFamily="34" charset="0"/>
                <a:ea typeface="+mj-ea"/>
                <a:cs typeface="Arial"/>
                <a:sym typeface="Wingdings" panose="05000000000000000000" pitchFamily="2" charset="2"/>
              </a:rPr>
              <a:t></a:t>
            </a:r>
            <a:r>
              <a:rPr lang="en-GB" sz="1600" cap="all" dirty="0">
                <a:solidFill>
                  <a:srgbClr val="009597"/>
                </a:solidFill>
                <a:latin typeface="Arial Black" panose="020B0A04020102020204" pitchFamily="34" charset="0"/>
                <a:ea typeface="+mj-ea"/>
                <a:cs typeface="Arial"/>
                <a:sym typeface="Wingdings" panose="05000000000000000000" pitchFamily="2" charset="2"/>
              </a:rPr>
              <a:t>  Figures by Regional Direction </a:t>
            </a:r>
          </a:p>
          <a:p>
            <a:pPr defTabSz="514266">
              <a:defRPr/>
            </a:pPr>
            <a:r>
              <a:rPr lang="en-GB" sz="1600" cap="all" dirty="0">
                <a:solidFill>
                  <a:srgbClr val="009597"/>
                </a:solidFill>
                <a:latin typeface="Arial Black" panose="020B0A04020102020204" pitchFamily="34" charset="0"/>
                <a:ea typeface="+mj-ea"/>
                <a:cs typeface="Arial"/>
                <a:sym typeface="Wingdings" panose="05000000000000000000" pitchFamily="2" charset="2"/>
              </a:rPr>
              <a:t>         </a:t>
            </a:r>
            <a:r>
              <a:rPr lang="en-GB" sz="1200" cap="all" dirty="0">
                <a:solidFill>
                  <a:srgbClr val="009597"/>
                </a:solidFill>
                <a:latin typeface="Arial Black" panose="020B0A04020102020204" pitchFamily="34" charset="0"/>
                <a:ea typeface="+mj-ea"/>
                <a:cs typeface="Arial"/>
                <a:sym typeface="Wingdings" panose="05000000000000000000" pitchFamily="2" charset="2"/>
              </a:rPr>
              <a:t></a:t>
            </a:r>
            <a:r>
              <a:rPr lang="en-GB" sz="1600" cap="all" dirty="0">
                <a:solidFill>
                  <a:srgbClr val="009597"/>
                </a:solidFill>
                <a:latin typeface="Arial Black" panose="020B0A04020102020204" pitchFamily="34" charset="0"/>
                <a:ea typeface="+mj-ea"/>
                <a:cs typeface="Arial"/>
                <a:sym typeface="Wingdings" panose="05000000000000000000" pitchFamily="2" charset="2"/>
              </a:rPr>
              <a:t>  Acquisition by channel </a:t>
            </a:r>
          </a:p>
          <a:p>
            <a:pPr defTabSz="514266">
              <a:defRPr/>
            </a:pPr>
            <a:endParaRPr lang="en-GB" sz="1600" cap="all" dirty="0">
              <a:solidFill>
                <a:srgbClr val="009597"/>
              </a:solidFill>
              <a:latin typeface="Arial Black" panose="020B0A04020102020204" pitchFamily="34" charset="0"/>
              <a:ea typeface="+mj-ea"/>
              <a:cs typeface="Arial"/>
              <a:sym typeface="Wingdings" panose="05000000000000000000" pitchFamily="2" charset="2"/>
            </a:endParaRPr>
          </a:p>
          <a:p>
            <a:pPr defTabSz="514266">
              <a:defRPr/>
            </a:pPr>
            <a:r>
              <a:rPr lang="en-GB" sz="1600" cap="all" dirty="0">
                <a:solidFill>
                  <a:srgbClr val="009597"/>
                </a:solidFill>
                <a:latin typeface="Arial Black" panose="020B0A04020102020204" pitchFamily="34" charset="0"/>
                <a:ea typeface="+mj-ea"/>
                <a:cs typeface="Arial"/>
                <a:sym typeface="Wingdings" panose="05000000000000000000" pitchFamily="2" charset="2"/>
              </a:rPr>
              <a:t> </a:t>
            </a:r>
          </a:p>
          <a:p>
            <a:pPr defTabSz="514266">
              <a:defRPr/>
            </a:pPr>
            <a:r>
              <a:rPr lang="en-GB" sz="1600" cap="all" dirty="0">
                <a:solidFill>
                  <a:srgbClr val="009597"/>
                </a:solidFill>
                <a:latin typeface="Arial Black" panose="020B0A04020102020204" pitchFamily="34" charset="0"/>
                <a:ea typeface="+mj-ea"/>
                <a:cs typeface="Arial"/>
                <a:sym typeface="Wingdings" panose="05000000000000000000" pitchFamily="2" charset="2"/>
              </a:rPr>
              <a:t>          </a:t>
            </a:r>
          </a:p>
          <a:p>
            <a:pPr defTabSz="514266">
              <a:defRPr/>
            </a:pPr>
            <a:endParaRPr lang="en-GB" sz="1600" cap="all" dirty="0">
              <a:solidFill>
                <a:srgbClr val="009597"/>
              </a:solidFill>
              <a:latin typeface="Arial Black" panose="020B0A04020102020204" pitchFamily="34" charset="0"/>
              <a:ea typeface="+mj-ea"/>
              <a:cs typeface="Arial"/>
              <a:sym typeface="Wingdings" panose="05000000000000000000" pitchFamily="2" charset="2"/>
            </a:endParaRPr>
          </a:p>
          <a:p>
            <a:pPr defTabSz="514266">
              <a:defRPr/>
            </a:pPr>
            <a:r>
              <a:rPr lang="en-GB" sz="1600" cap="all" dirty="0">
                <a:solidFill>
                  <a:srgbClr val="009597"/>
                </a:solidFill>
                <a:latin typeface="Arial Black" panose="020B0A04020102020204" pitchFamily="34" charset="0"/>
                <a:ea typeface="+mj-ea"/>
                <a:cs typeface="Arial"/>
                <a:sym typeface="Wingdings" panose="05000000000000000000" pitchFamily="2" charset="2"/>
              </a:rPr>
              <a:t> </a:t>
            </a:r>
            <a:r>
              <a:rPr lang="en-GB" cap="all" dirty="0">
                <a:solidFill>
                  <a:srgbClr val="009597"/>
                </a:solidFill>
                <a:latin typeface="Arial Black" panose="020B0A04020102020204" pitchFamily="34" charset="0"/>
                <a:ea typeface="+mj-ea"/>
                <a:cs typeface="Arial"/>
                <a:sym typeface="Wingdings" panose="05000000000000000000" pitchFamily="2" charset="2"/>
              </a:rPr>
              <a:t>3  ) Focus on Liberal Professions </a:t>
            </a:r>
          </a:p>
          <a:p>
            <a:pPr defTabSz="514266">
              <a:defRPr/>
            </a:pPr>
            <a:r>
              <a:rPr lang="en-GB" cap="all" dirty="0">
                <a:solidFill>
                  <a:srgbClr val="009597"/>
                </a:solidFill>
                <a:latin typeface="Arial Black" panose="020B0A04020102020204" pitchFamily="34" charset="0"/>
                <a:ea typeface="+mj-ea"/>
                <a:cs typeface="Arial"/>
                <a:sym typeface="Wingdings" panose="05000000000000000000" pitchFamily="2" charset="2"/>
              </a:rPr>
              <a:t> </a:t>
            </a:r>
          </a:p>
          <a:p>
            <a:pPr defTabSz="514266">
              <a:defRPr/>
            </a:pPr>
            <a:r>
              <a:rPr lang="en-GB" sz="1800" cap="all" dirty="0">
                <a:solidFill>
                  <a:srgbClr val="009597"/>
                </a:solidFill>
                <a:latin typeface="Arial Black" panose="020B0A04020102020204" pitchFamily="34" charset="0"/>
                <a:ea typeface="+mj-ea"/>
                <a:cs typeface="Arial"/>
                <a:sym typeface="Wingdings" panose="05000000000000000000" pitchFamily="2" charset="2"/>
              </a:rPr>
              <a:t>        </a:t>
            </a:r>
            <a:r>
              <a:rPr lang="en-GB" sz="1200" cap="all" dirty="0">
                <a:solidFill>
                  <a:srgbClr val="009597"/>
                </a:solidFill>
                <a:latin typeface="Arial Black" panose="020B0A04020102020204" pitchFamily="34" charset="0"/>
                <a:ea typeface="+mj-ea"/>
                <a:cs typeface="Arial"/>
                <a:sym typeface="Wingdings" panose="05000000000000000000" pitchFamily="2" charset="2"/>
              </a:rPr>
              <a:t></a:t>
            </a:r>
            <a:r>
              <a:rPr lang="en-GB" sz="1800" cap="all" dirty="0">
                <a:solidFill>
                  <a:srgbClr val="009597"/>
                </a:solidFill>
                <a:latin typeface="Arial Black" panose="020B0A04020102020204" pitchFamily="34" charset="0"/>
                <a:ea typeface="+mj-ea"/>
                <a:cs typeface="Arial"/>
                <a:sym typeface="Wingdings" panose="05000000000000000000" pitchFamily="2" charset="2"/>
              </a:rPr>
              <a:t> </a:t>
            </a:r>
            <a:r>
              <a:rPr lang="en-GB" sz="1600" cap="all" dirty="0">
                <a:solidFill>
                  <a:srgbClr val="009597"/>
                </a:solidFill>
                <a:latin typeface="Arial Black" panose="020B0A04020102020204" pitchFamily="34" charset="0"/>
                <a:ea typeface="+mj-ea"/>
                <a:cs typeface="Arial"/>
                <a:sym typeface="Wingdings" panose="05000000000000000000" pitchFamily="2" charset="2"/>
              </a:rPr>
              <a:t>Liberal professions priority segments / ambitions / market share ambition</a:t>
            </a:r>
          </a:p>
          <a:p>
            <a:pPr defTabSz="514266">
              <a:defRPr/>
            </a:pPr>
            <a:r>
              <a:rPr lang="en-GB" sz="1600" cap="all" dirty="0">
                <a:solidFill>
                  <a:srgbClr val="009597"/>
                </a:solidFill>
                <a:latin typeface="Arial Black" panose="020B0A04020102020204" pitchFamily="34" charset="0"/>
                <a:ea typeface="+mj-ea"/>
                <a:cs typeface="Arial"/>
                <a:sym typeface="Wingdings" panose="05000000000000000000" pitchFamily="2" charset="2"/>
              </a:rPr>
              <a:t>         </a:t>
            </a:r>
            <a:r>
              <a:rPr lang="en-GB" sz="1200" cap="all" dirty="0">
                <a:solidFill>
                  <a:srgbClr val="009597"/>
                </a:solidFill>
                <a:latin typeface="Arial Black" panose="020B0A04020102020204" pitchFamily="34" charset="0"/>
                <a:ea typeface="+mj-ea"/>
                <a:cs typeface="Arial"/>
                <a:sym typeface="Wingdings" panose="05000000000000000000" pitchFamily="2" charset="2"/>
              </a:rPr>
              <a:t></a:t>
            </a:r>
            <a:r>
              <a:rPr lang="en-GB" sz="1600" cap="all" dirty="0">
                <a:solidFill>
                  <a:srgbClr val="009597"/>
                </a:solidFill>
                <a:latin typeface="Arial Black" panose="020B0A04020102020204" pitchFamily="34" charset="0"/>
                <a:ea typeface="+mj-ea"/>
                <a:cs typeface="Arial"/>
                <a:sym typeface="Wingdings" panose="05000000000000000000" pitchFamily="2" charset="2"/>
              </a:rPr>
              <a:t> Net balance / Growth Acquisition / </a:t>
            </a:r>
            <a:r>
              <a:rPr lang="en-GB" sz="1600" cap="all" dirty="0" err="1">
                <a:solidFill>
                  <a:srgbClr val="009597"/>
                </a:solidFill>
                <a:latin typeface="Arial Black" panose="020B0A04020102020204" pitchFamily="34" charset="0"/>
                <a:ea typeface="+mj-ea"/>
                <a:cs typeface="Arial"/>
                <a:sym typeface="Wingdings" panose="05000000000000000000" pitchFamily="2" charset="2"/>
              </a:rPr>
              <a:t>LosS</a:t>
            </a:r>
            <a:r>
              <a:rPr lang="en-GB" sz="1600" cap="all" dirty="0">
                <a:solidFill>
                  <a:srgbClr val="009597"/>
                </a:solidFill>
                <a:latin typeface="Arial Black" panose="020B0A04020102020204" pitchFamily="34" charset="0"/>
                <a:ea typeface="+mj-ea"/>
                <a:cs typeface="Arial"/>
                <a:sym typeface="Wingdings" panose="05000000000000000000" pitchFamily="2" charset="2"/>
              </a:rPr>
              <a:t> / Rate of target achievement</a:t>
            </a: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R="0" lvl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fr-FR" sz="1600" b="0" i="0" u="none" strike="noStrike" kern="1200" cap="none" spc="0" normalizeH="0" baseline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itre 2">
            <a:extLst>
              <a:ext uri="{FF2B5EF4-FFF2-40B4-BE49-F238E27FC236}">
                <a16:creationId xmlns:a16="http://schemas.microsoft.com/office/drawing/2014/main" id="{0ADDDDFC-D620-8A2D-7779-5107214ED0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2538" y="108128"/>
            <a:ext cx="11539365" cy="249410"/>
          </a:xfrm>
        </p:spPr>
        <p:txBody>
          <a:bodyPr>
            <a:noAutofit/>
          </a:bodyPr>
          <a:lstStyle/>
          <a:p>
            <a:pPr algn="ctr" defTabSz="180000">
              <a:defRPr/>
            </a:pPr>
            <a:r>
              <a:rPr lang="en-GB" sz="2400" b="0" dirty="0">
                <a:solidFill>
                  <a:srgbClr val="009597"/>
                </a:solidFill>
                <a:latin typeface="Arial Black" panose="020B0A04020102020204" pitchFamily="34" charset="0"/>
                <a:cs typeface="Arial"/>
              </a:rPr>
              <a:t>AGENDA  </a:t>
            </a:r>
            <a:br>
              <a:rPr lang="fr-FR" sz="1600" b="0" dirty="0">
                <a:solidFill>
                  <a:srgbClr val="009597"/>
                </a:solidFill>
                <a:latin typeface="+mn-lt"/>
              </a:rPr>
            </a:br>
            <a:endParaRPr lang="fr-FR" sz="1600" b="0" dirty="0">
              <a:solidFill>
                <a:srgbClr val="009597"/>
              </a:solidFill>
              <a:latin typeface="+mn-lt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4315998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5E1617-E6E7-2A3C-6F17-E60EF406A9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ZoneTexte 17">
            <a:extLst>
              <a:ext uri="{FF2B5EF4-FFF2-40B4-BE49-F238E27FC236}">
                <a16:creationId xmlns:a16="http://schemas.microsoft.com/office/drawing/2014/main" id="{4E7C9848-7B27-4F97-E4CA-6B1CE70C9FA0}"/>
              </a:ext>
            </a:extLst>
          </p:cNvPr>
          <p:cNvSpPr txBox="1"/>
          <p:nvPr/>
        </p:nvSpPr>
        <p:spPr>
          <a:xfrm>
            <a:off x="49880" y="57371"/>
            <a:ext cx="1205067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all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</a:rPr>
              <a:t>2026 COMMERCIAL Strategies FOR LIBERAL PROFESSIONS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314843C4-357C-DFC6-3FC1-CD1E2A5393DD}"/>
              </a:ext>
            </a:extLst>
          </p:cNvPr>
          <p:cNvSpPr txBox="1"/>
          <p:nvPr/>
        </p:nvSpPr>
        <p:spPr>
          <a:xfrm>
            <a:off x="233816" y="5991787"/>
            <a:ext cx="1160110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70717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96" name="Rettangolo 95">
            <a:extLst>
              <a:ext uri="{FF2B5EF4-FFF2-40B4-BE49-F238E27FC236}">
                <a16:creationId xmlns:a16="http://schemas.microsoft.com/office/drawing/2014/main" id="{B07DC4C8-5896-065E-EE61-A02AF469D955}"/>
              </a:ext>
            </a:extLst>
          </p:cNvPr>
          <p:cNvSpPr/>
          <p:nvPr/>
        </p:nvSpPr>
        <p:spPr>
          <a:xfrm>
            <a:off x="9428404" y="3827795"/>
            <a:ext cx="2126749" cy="457548"/>
          </a:xfrm>
          <a:prstGeom prst="rect">
            <a:avLst/>
          </a:prstGeom>
          <a:solidFill>
            <a:schemeClr val="accent6"/>
          </a:solidFill>
          <a:ln w="9525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numCol="1" rtlCol="0" anchor="ctr"/>
          <a:lstStyle/>
          <a:p>
            <a:pPr marL="0" marR="0" lvl="0" indent="0" algn="ctr" defTabSz="468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ive from Q2 2026</a:t>
            </a:r>
          </a:p>
        </p:txBody>
      </p:sp>
      <p:cxnSp>
        <p:nvCxnSpPr>
          <p:cNvPr id="7" name="Connettore diritto 6">
            <a:extLst>
              <a:ext uri="{FF2B5EF4-FFF2-40B4-BE49-F238E27FC236}">
                <a16:creationId xmlns:a16="http://schemas.microsoft.com/office/drawing/2014/main" id="{8E25D1AB-2151-A3FB-10B6-BDB3CD1DB4DD}"/>
              </a:ext>
            </a:extLst>
          </p:cNvPr>
          <p:cNvCxnSpPr>
            <a:cxnSpLocks/>
          </p:cNvCxnSpPr>
          <p:nvPr/>
        </p:nvCxnSpPr>
        <p:spPr>
          <a:xfrm>
            <a:off x="9264767" y="727935"/>
            <a:ext cx="2434388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Pentagono 38">
            <a:extLst>
              <a:ext uri="{FF2B5EF4-FFF2-40B4-BE49-F238E27FC236}">
                <a16:creationId xmlns:a16="http://schemas.microsoft.com/office/drawing/2014/main" id="{24786105-F755-BAF3-97D8-EB9D0E0B02DF}"/>
              </a:ext>
            </a:extLst>
          </p:cNvPr>
          <p:cNvSpPr/>
          <p:nvPr/>
        </p:nvSpPr>
        <p:spPr>
          <a:xfrm>
            <a:off x="2815085" y="820261"/>
            <a:ext cx="5693828" cy="565665"/>
          </a:xfrm>
          <a:prstGeom prst="homePlate">
            <a:avLst>
              <a:gd name="adj" fmla="val 48184"/>
            </a:avLst>
          </a:prstGeom>
          <a:gradFill flip="none" rotWithShape="1">
            <a:gsLst>
              <a:gs pos="0">
                <a:schemeClr val="accent5">
                  <a:lumMod val="0"/>
                  <a:lumOff val="100000"/>
                </a:schemeClr>
              </a:gs>
              <a:gs pos="35000">
                <a:schemeClr val="accent5">
                  <a:lumMod val="0"/>
                  <a:lumOff val="100000"/>
                </a:schemeClr>
              </a:gs>
              <a:gs pos="100000">
                <a:schemeClr val="accent5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 w="12700">
            <a:solidFill>
              <a:srgbClr val="008B9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it-IT" sz="16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line bank account + new </a:t>
            </a:r>
            <a:r>
              <a:rPr lang="it-IT" sz="1600" b="1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fer</a:t>
            </a:r>
            <a:r>
              <a:rPr lang="it-IT" sz="16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liberal </a:t>
            </a:r>
            <a:r>
              <a:rPr lang="it-IT" sz="1600" b="1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essions</a:t>
            </a:r>
            <a:r>
              <a:rPr lang="it-IT" sz="16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it-IT" sz="1600" b="1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anches</a:t>
            </a:r>
            <a:endParaRPr lang="it-IT" sz="1600" b="1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Pentagono 38">
            <a:extLst>
              <a:ext uri="{FF2B5EF4-FFF2-40B4-BE49-F238E27FC236}">
                <a16:creationId xmlns:a16="http://schemas.microsoft.com/office/drawing/2014/main" id="{2BFC2625-7FA4-DC58-CF1F-CC9429179378}"/>
              </a:ext>
            </a:extLst>
          </p:cNvPr>
          <p:cNvSpPr/>
          <p:nvPr/>
        </p:nvSpPr>
        <p:spPr>
          <a:xfrm>
            <a:off x="2815085" y="1519476"/>
            <a:ext cx="5693828" cy="506973"/>
          </a:xfrm>
          <a:prstGeom prst="homePlate">
            <a:avLst/>
          </a:prstGeom>
          <a:gradFill flip="none" rotWithShape="1">
            <a:gsLst>
              <a:gs pos="0">
                <a:schemeClr val="accent5">
                  <a:lumMod val="0"/>
                  <a:lumOff val="100000"/>
                </a:schemeClr>
              </a:gs>
              <a:gs pos="35000">
                <a:schemeClr val="accent5">
                  <a:lumMod val="0"/>
                  <a:lumOff val="100000"/>
                </a:schemeClr>
              </a:gs>
              <a:gs pos="100000">
                <a:schemeClr val="accent5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 w="12700">
            <a:solidFill>
              <a:srgbClr val="008B9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it-IT" sz="1600" b="1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arch</a:t>
            </a:r>
            <a:r>
              <a:rPr lang="it-IT" sz="16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new partners (Enpam, Others </a:t>
            </a:r>
            <a:r>
              <a:rPr lang="it-IT" sz="1600" b="1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ities</a:t>
            </a:r>
            <a:r>
              <a:rPr lang="it-IT" sz="16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5" name="Pentagono 38">
            <a:extLst>
              <a:ext uri="{FF2B5EF4-FFF2-40B4-BE49-F238E27FC236}">
                <a16:creationId xmlns:a16="http://schemas.microsoft.com/office/drawing/2014/main" id="{A43EEBF7-3437-9B05-156E-3070559B881B}"/>
              </a:ext>
            </a:extLst>
          </p:cNvPr>
          <p:cNvSpPr/>
          <p:nvPr/>
        </p:nvSpPr>
        <p:spPr>
          <a:xfrm>
            <a:off x="2815084" y="3789937"/>
            <a:ext cx="5866577" cy="565664"/>
          </a:xfrm>
          <a:prstGeom prst="homePlate">
            <a:avLst/>
          </a:prstGeom>
          <a:gradFill>
            <a:gsLst>
              <a:gs pos="0">
                <a:schemeClr val="accent5">
                  <a:lumMod val="0"/>
                  <a:lumOff val="100000"/>
                </a:schemeClr>
              </a:gs>
              <a:gs pos="35000">
                <a:schemeClr val="accent5">
                  <a:lumMod val="0"/>
                  <a:lumOff val="100000"/>
                </a:schemeClr>
              </a:gs>
              <a:gs pos="100000">
                <a:schemeClr val="accent5">
                  <a:lumMod val="100000"/>
                </a:schemeClr>
              </a:gs>
            </a:gsLst>
            <a:path path="circle">
              <a:fillToRect l="50000" t="-80000" r="50000" b="180000"/>
            </a:path>
          </a:gradFill>
          <a:ln w="12700">
            <a:solidFill>
              <a:srgbClr val="008B9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it-IT" sz="16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 on </a:t>
            </a:r>
            <a:r>
              <a:rPr lang="it-IT" sz="1600" b="1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essional</a:t>
            </a:r>
            <a:r>
              <a:rPr lang="it-IT" sz="16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600" b="1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ders</a:t>
            </a:r>
            <a:r>
              <a:rPr lang="it-IT" sz="16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in </a:t>
            </a:r>
            <a:r>
              <a:rPr lang="it-IT" sz="1600" b="1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laboration</a:t>
            </a:r>
            <a:r>
              <a:rPr lang="it-IT" sz="16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with Crescita </a:t>
            </a:r>
            <a:r>
              <a:rPr lang="it-IT" sz="1600" b="1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nction</a:t>
            </a:r>
            <a:r>
              <a:rPr lang="it-IT" sz="16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and national </a:t>
            </a:r>
            <a:r>
              <a:rPr lang="it-IT" sz="1600" b="1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egations</a:t>
            </a:r>
            <a:r>
              <a:rPr lang="it-IT" sz="16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LP</a:t>
            </a:r>
          </a:p>
        </p:txBody>
      </p:sp>
      <p:sp>
        <p:nvSpPr>
          <p:cNvPr id="6" name="Pentagono 38">
            <a:extLst>
              <a:ext uri="{FF2B5EF4-FFF2-40B4-BE49-F238E27FC236}">
                <a16:creationId xmlns:a16="http://schemas.microsoft.com/office/drawing/2014/main" id="{FD5F3E4D-5541-261C-38B9-0EF7F6EE8B84}"/>
              </a:ext>
            </a:extLst>
          </p:cNvPr>
          <p:cNvSpPr/>
          <p:nvPr/>
        </p:nvSpPr>
        <p:spPr>
          <a:xfrm>
            <a:off x="2815085" y="5482746"/>
            <a:ext cx="5866576" cy="647460"/>
          </a:xfrm>
          <a:prstGeom prst="homePlate">
            <a:avLst/>
          </a:prstGeom>
          <a:gradFill>
            <a:gsLst>
              <a:gs pos="0">
                <a:schemeClr val="accent5">
                  <a:lumMod val="0"/>
                  <a:lumOff val="100000"/>
                </a:schemeClr>
              </a:gs>
              <a:gs pos="35000">
                <a:schemeClr val="accent5">
                  <a:lumMod val="0"/>
                  <a:lumOff val="100000"/>
                </a:schemeClr>
              </a:gs>
              <a:gs pos="100000">
                <a:schemeClr val="accent5">
                  <a:lumMod val="100000"/>
                </a:schemeClr>
              </a:gs>
            </a:gsLst>
            <a:path path="circle">
              <a:fillToRect l="50000" t="-80000" r="50000" b="180000"/>
            </a:path>
          </a:gradFill>
          <a:ln w="12700">
            <a:solidFill>
              <a:srgbClr val="008B9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it-IT" sz="16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ercial </a:t>
            </a:r>
            <a:r>
              <a:rPr lang="it-IT" sz="1600" b="1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itiatives</a:t>
            </a:r>
            <a:r>
              <a:rPr lang="it-IT" sz="16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</a:t>
            </a:r>
            <a:r>
              <a:rPr lang="it-IT" sz="1600" b="1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</a:t>
            </a:r>
            <a:r>
              <a:rPr lang="it-IT" sz="16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ross-selling and NBI</a:t>
            </a:r>
          </a:p>
        </p:txBody>
      </p:sp>
      <p:sp>
        <p:nvSpPr>
          <p:cNvPr id="8" name="Pentagono 38">
            <a:extLst>
              <a:ext uri="{FF2B5EF4-FFF2-40B4-BE49-F238E27FC236}">
                <a16:creationId xmlns:a16="http://schemas.microsoft.com/office/drawing/2014/main" id="{5A9FC72B-7F83-A171-E66A-5699395DBA46}"/>
              </a:ext>
            </a:extLst>
          </p:cNvPr>
          <p:cNvSpPr/>
          <p:nvPr/>
        </p:nvSpPr>
        <p:spPr>
          <a:xfrm>
            <a:off x="2815085" y="2806071"/>
            <a:ext cx="5866578" cy="811885"/>
          </a:xfrm>
          <a:prstGeom prst="homePlate">
            <a:avLst/>
          </a:prstGeom>
          <a:gradFill>
            <a:gsLst>
              <a:gs pos="0">
                <a:schemeClr val="accent5">
                  <a:lumMod val="0"/>
                  <a:lumOff val="100000"/>
                </a:schemeClr>
              </a:gs>
              <a:gs pos="35000">
                <a:schemeClr val="accent5">
                  <a:lumMod val="0"/>
                  <a:lumOff val="100000"/>
                </a:schemeClr>
              </a:gs>
              <a:gs pos="100000">
                <a:schemeClr val="accent5">
                  <a:lumMod val="100000"/>
                </a:schemeClr>
              </a:gs>
            </a:gsLst>
            <a:path path="circle">
              <a:fillToRect l="50000" t="-80000" r="50000" b="180000"/>
            </a:path>
          </a:gradFill>
          <a:ln w="12700">
            <a:solidFill>
              <a:srgbClr val="008B9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it-IT" sz="1600" b="1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iatiatives</a:t>
            </a:r>
            <a:r>
              <a:rPr lang="it-IT" sz="16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the </a:t>
            </a:r>
            <a:r>
              <a:rPr lang="it-IT" sz="1600" b="1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alian</a:t>
            </a:r>
            <a:r>
              <a:rPr lang="it-IT" sz="16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600" b="1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versities</a:t>
            </a:r>
            <a:r>
              <a:rPr lang="it-IT" sz="16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it-IT" sz="16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n </a:t>
            </a:r>
            <a:r>
              <a:rPr lang="it-IT" sz="1600" b="1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laboration</a:t>
            </a:r>
            <a:r>
              <a:rPr lang="it-IT" sz="16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with </a:t>
            </a:r>
            <a:r>
              <a:rPr lang="it-IT" sz="1600" b="1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r</a:t>
            </a:r>
            <a:r>
              <a:rPr lang="it-IT" sz="16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reasury Service)</a:t>
            </a:r>
          </a:p>
        </p:txBody>
      </p:sp>
      <p:sp>
        <p:nvSpPr>
          <p:cNvPr id="9" name="Pentagono 38">
            <a:extLst>
              <a:ext uri="{FF2B5EF4-FFF2-40B4-BE49-F238E27FC236}">
                <a16:creationId xmlns:a16="http://schemas.microsoft.com/office/drawing/2014/main" id="{19DF55E4-70D0-9021-C9B6-8A4070B9E746}"/>
              </a:ext>
            </a:extLst>
          </p:cNvPr>
          <p:cNvSpPr/>
          <p:nvPr/>
        </p:nvSpPr>
        <p:spPr>
          <a:xfrm>
            <a:off x="2815085" y="2117363"/>
            <a:ext cx="5693828" cy="565665"/>
          </a:xfrm>
          <a:prstGeom prst="homePlate">
            <a:avLst/>
          </a:prstGeom>
          <a:gradFill flip="none" rotWithShape="1">
            <a:gsLst>
              <a:gs pos="0">
                <a:schemeClr val="accent5">
                  <a:lumMod val="0"/>
                  <a:lumOff val="100000"/>
                </a:schemeClr>
              </a:gs>
              <a:gs pos="35000">
                <a:schemeClr val="accent5">
                  <a:lumMod val="0"/>
                  <a:lumOff val="100000"/>
                </a:schemeClr>
              </a:gs>
              <a:gs pos="100000">
                <a:schemeClr val="accent5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 w="12700">
            <a:solidFill>
              <a:srgbClr val="008B9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it-IT" sz="1600" b="1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icipation</a:t>
            </a:r>
            <a:r>
              <a:rPr lang="it-IT" sz="16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it-IT" sz="1600" b="1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ganization</a:t>
            </a:r>
            <a:r>
              <a:rPr lang="it-IT" sz="16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Events/Road Shows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79BF5CDD-BA5A-E852-0D53-2D5B4288573A}"/>
              </a:ext>
            </a:extLst>
          </p:cNvPr>
          <p:cNvSpPr txBox="1"/>
          <p:nvPr/>
        </p:nvSpPr>
        <p:spPr>
          <a:xfrm>
            <a:off x="9244077" y="468277"/>
            <a:ext cx="2475768" cy="230832"/>
          </a:xfrm>
          <a:prstGeom prst="rect">
            <a:avLst/>
          </a:prstGeom>
          <a:noFill/>
        </p:spPr>
        <p:txBody>
          <a:bodyPr wrap="square" lIns="0" t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200" b="1" i="1" dirty="0" err="1">
                <a:solidFill>
                  <a:srgbClr val="707173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cted</a:t>
            </a:r>
            <a:r>
              <a:rPr lang="it-IT" sz="1200" b="1" i="1" dirty="0">
                <a:solidFill>
                  <a:srgbClr val="707173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</a:t>
            </a:r>
            <a:r>
              <a:rPr kumimoji="0" lang="it-IT" sz="1200" b="1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me </a:t>
            </a:r>
            <a:r>
              <a:rPr lang="it-IT" sz="1200" b="1" i="1" dirty="0">
                <a:solidFill>
                  <a:srgbClr val="707173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kumimoji="0" lang="it-IT" sz="1200" b="1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reali</a:t>
            </a:r>
            <a:r>
              <a:rPr lang="it-IT" sz="1200" b="1" i="1" dirty="0">
                <a:solidFill>
                  <a:srgbClr val="707173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z</a:t>
            </a:r>
            <a:r>
              <a:rPr kumimoji="0" lang="it-IT" sz="1200" b="1" i="1" u="none" strike="noStrike" kern="1200" cap="none" spc="0" normalizeH="0" baseline="0" noProof="0" dirty="0" err="1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tion</a:t>
            </a:r>
            <a:endParaRPr kumimoji="0" lang="it-IT" sz="1200" b="1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Pentagono 38">
            <a:extLst>
              <a:ext uri="{FF2B5EF4-FFF2-40B4-BE49-F238E27FC236}">
                <a16:creationId xmlns:a16="http://schemas.microsoft.com/office/drawing/2014/main" id="{4D2932CA-DFD8-2C92-1A92-E520022F6DB1}"/>
              </a:ext>
            </a:extLst>
          </p:cNvPr>
          <p:cNvSpPr/>
          <p:nvPr/>
        </p:nvSpPr>
        <p:spPr>
          <a:xfrm>
            <a:off x="2815085" y="4734362"/>
            <a:ext cx="5866576" cy="666713"/>
          </a:xfrm>
          <a:prstGeom prst="homePlate">
            <a:avLst/>
          </a:prstGeom>
          <a:gradFill>
            <a:gsLst>
              <a:gs pos="0">
                <a:schemeClr val="accent5">
                  <a:lumMod val="0"/>
                  <a:lumOff val="100000"/>
                </a:schemeClr>
              </a:gs>
              <a:gs pos="35000">
                <a:schemeClr val="accent5">
                  <a:lumMod val="0"/>
                  <a:lumOff val="100000"/>
                </a:schemeClr>
              </a:gs>
              <a:gs pos="100000">
                <a:schemeClr val="accent5">
                  <a:lumMod val="100000"/>
                </a:schemeClr>
              </a:gs>
            </a:gsLst>
            <a:path path="circle">
              <a:fillToRect l="50000" t="-80000" r="50000" b="180000"/>
            </a:path>
          </a:gradFill>
          <a:ln w="12700">
            <a:solidFill>
              <a:srgbClr val="008B9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it-IT" sz="16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 on LP with the best credit standards to facilitate access to Credit (in </a:t>
            </a:r>
            <a:r>
              <a:rPr lang="it-IT" sz="1600" b="1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laboration</a:t>
            </a:r>
            <a:r>
              <a:rPr lang="it-IT" sz="16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with Crediti </a:t>
            </a:r>
            <a:r>
              <a:rPr lang="it-IT" sz="1600" b="1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nction</a:t>
            </a:r>
            <a:r>
              <a:rPr lang="it-IT" sz="16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0" name="Freccia a pentagono 9">
            <a:extLst>
              <a:ext uri="{FF2B5EF4-FFF2-40B4-BE49-F238E27FC236}">
                <a16:creationId xmlns:a16="http://schemas.microsoft.com/office/drawing/2014/main" id="{03ECF6D9-748C-E9A7-A6B5-8F8A4BC872DD}"/>
              </a:ext>
            </a:extLst>
          </p:cNvPr>
          <p:cNvSpPr/>
          <p:nvPr/>
        </p:nvSpPr>
        <p:spPr>
          <a:xfrm>
            <a:off x="357074" y="821636"/>
            <a:ext cx="2334755" cy="3619064"/>
          </a:xfrm>
          <a:prstGeom prst="homePlate">
            <a:avLst>
              <a:gd name="adj" fmla="val 17963"/>
            </a:avLst>
          </a:prstGeom>
          <a:solidFill>
            <a:srgbClr val="E1FE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>
                <a:solidFill>
                  <a:schemeClr val="accent5">
                    <a:lumMod val="75000"/>
                  </a:schemeClr>
                </a:solidFill>
              </a:rPr>
              <a:t>To </a:t>
            </a:r>
            <a:r>
              <a:rPr lang="it-IT" sz="1600" b="1" dirty="0" err="1">
                <a:solidFill>
                  <a:schemeClr val="accent5">
                    <a:lumMod val="75000"/>
                  </a:schemeClr>
                </a:solidFill>
              </a:rPr>
              <a:t>acquire</a:t>
            </a:r>
            <a:r>
              <a:rPr lang="it-IT" sz="1600" b="1" dirty="0">
                <a:solidFill>
                  <a:schemeClr val="accent5">
                    <a:lumMod val="75000"/>
                  </a:schemeClr>
                </a:solidFill>
              </a:rPr>
              <a:t> new clients on the target of Liberal </a:t>
            </a:r>
            <a:r>
              <a:rPr lang="it-IT" sz="1600" b="1" dirty="0" err="1">
                <a:solidFill>
                  <a:schemeClr val="accent5">
                    <a:lumMod val="75000"/>
                  </a:schemeClr>
                </a:solidFill>
              </a:rPr>
              <a:t>Professions</a:t>
            </a:r>
            <a:endParaRPr lang="it-IT" sz="1600" b="1" dirty="0">
              <a:solidFill>
                <a:schemeClr val="accent5">
                  <a:lumMod val="75000"/>
                </a:schemeClr>
              </a:solidFill>
            </a:endParaRPr>
          </a:p>
          <a:p>
            <a:pPr algn="ctr"/>
            <a:endParaRPr lang="it-IT" sz="16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6" name="Freccia a pentagono 15">
            <a:extLst>
              <a:ext uri="{FF2B5EF4-FFF2-40B4-BE49-F238E27FC236}">
                <a16:creationId xmlns:a16="http://schemas.microsoft.com/office/drawing/2014/main" id="{4D3C1F94-1748-DED4-D357-31C9DAFFF042}"/>
              </a:ext>
            </a:extLst>
          </p:cNvPr>
          <p:cNvSpPr/>
          <p:nvPr/>
        </p:nvSpPr>
        <p:spPr>
          <a:xfrm>
            <a:off x="357073" y="4543619"/>
            <a:ext cx="2334755" cy="1591470"/>
          </a:xfrm>
          <a:prstGeom prst="homePlate">
            <a:avLst>
              <a:gd name="adj" fmla="val 17963"/>
            </a:avLst>
          </a:prstGeom>
          <a:solidFill>
            <a:srgbClr val="E1FE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>
                <a:solidFill>
                  <a:schemeClr val="accent5">
                    <a:lumMod val="75000"/>
                  </a:schemeClr>
                </a:solidFill>
              </a:rPr>
              <a:t>To </a:t>
            </a:r>
            <a:r>
              <a:rPr lang="it-IT" sz="1600" b="1" dirty="0" err="1">
                <a:solidFill>
                  <a:schemeClr val="accent5">
                    <a:lumMod val="75000"/>
                  </a:schemeClr>
                </a:solidFill>
              </a:rPr>
              <a:t>strengthen</a:t>
            </a:r>
            <a:r>
              <a:rPr lang="it-IT" sz="1600" b="1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it-IT" sz="1600" b="1" dirty="0" err="1">
                <a:solidFill>
                  <a:schemeClr val="accent5">
                    <a:lumMod val="75000"/>
                  </a:schemeClr>
                </a:solidFill>
              </a:rPr>
              <a:t>our</a:t>
            </a:r>
            <a:r>
              <a:rPr lang="it-IT" sz="1600" b="1" dirty="0">
                <a:solidFill>
                  <a:schemeClr val="accent5">
                    <a:lumMod val="75000"/>
                  </a:schemeClr>
                </a:solidFill>
              </a:rPr>
              <a:t> relations with the 27.000 liberal </a:t>
            </a:r>
            <a:r>
              <a:rPr lang="it-IT" sz="1600" b="1" dirty="0" err="1">
                <a:solidFill>
                  <a:schemeClr val="accent5">
                    <a:lumMod val="75000"/>
                  </a:schemeClr>
                </a:solidFill>
              </a:rPr>
              <a:t>professions</a:t>
            </a:r>
            <a:r>
              <a:rPr lang="it-IT" sz="1600" b="1" dirty="0">
                <a:solidFill>
                  <a:schemeClr val="accent5">
                    <a:lumMod val="75000"/>
                  </a:schemeClr>
                </a:solidFill>
              </a:rPr>
              <a:t> clients in CAI</a:t>
            </a:r>
          </a:p>
        </p:txBody>
      </p:sp>
      <p:sp>
        <p:nvSpPr>
          <p:cNvPr id="19" name="Rettangolo 18">
            <a:extLst>
              <a:ext uri="{FF2B5EF4-FFF2-40B4-BE49-F238E27FC236}">
                <a16:creationId xmlns:a16="http://schemas.microsoft.com/office/drawing/2014/main" id="{15C6E86F-E4BC-CF0D-9F21-189FA4CCA7EE}"/>
              </a:ext>
            </a:extLst>
          </p:cNvPr>
          <p:cNvSpPr/>
          <p:nvPr/>
        </p:nvSpPr>
        <p:spPr>
          <a:xfrm>
            <a:off x="9428404" y="4828688"/>
            <a:ext cx="2126749" cy="457548"/>
          </a:xfrm>
          <a:prstGeom prst="rect">
            <a:avLst/>
          </a:prstGeom>
          <a:solidFill>
            <a:schemeClr val="accent6"/>
          </a:solidFill>
          <a:ln w="9525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numCol="1" rtlCol="0" anchor="ctr"/>
          <a:lstStyle/>
          <a:p>
            <a:pPr marL="0" marR="0" lvl="0" indent="0" algn="ctr" defTabSz="468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ive from Q2 2026</a:t>
            </a:r>
          </a:p>
        </p:txBody>
      </p:sp>
      <p:sp>
        <p:nvSpPr>
          <p:cNvPr id="20" name="Rettangolo 19">
            <a:extLst>
              <a:ext uri="{FF2B5EF4-FFF2-40B4-BE49-F238E27FC236}">
                <a16:creationId xmlns:a16="http://schemas.microsoft.com/office/drawing/2014/main" id="{2CC7000B-B379-2221-1ACD-4FB922FABF60}"/>
              </a:ext>
            </a:extLst>
          </p:cNvPr>
          <p:cNvSpPr/>
          <p:nvPr/>
        </p:nvSpPr>
        <p:spPr>
          <a:xfrm>
            <a:off x="9428404" y="5577702"/>
            <a:ext cx="2126749" cy="457548"/>
          </a:xfrm>
          <a:prstGeom prst="rect">
            <a:avLst/>
          </a:prstGeom>
          <a:solidFill>
            <a:schemeClr val="accent6"/>
          </a:solidFill>
          <a:ln w="9525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numCol="1" rtlCol="0" anchor="ctr"/>
          <a:lstStyle/>
          <a:p>
            <a:pPr marL="0" marR="0" lvl="0" indent="0" algn="ctr" defTabSz="468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ive from </a:t>
            </a:r>
            <a:r>
              <a:rPr lang="en-GB" sz="1200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Q2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2026</a:t>
            </a:r>
          </a:p>
        </p:txBody>
      </p:sp>
      <p:sp>
        <p:nvSpPr>
          <p:cNvPr id="22" name="Rettangolo 21">
            <a:extLst>
              <a:ext uri="{FF2B5EF4-FFF2-40B4-BE49-F238E27FC236}">
                <a16:creationId xmlns:a16="http://schemas.microsoft.com/office/drawing/2014/main" id="{EAEE24DA-1CCC-46EA-B6E8-BDDDEBDB5F23}"/>
              </a:ext>
            </a:extLst>
          </p:cNvPr>
          <p:cNvSpPr/>
          <p:nvPr/>
        </p:nvSpPr>
        <p:spPr>
          <a:xfrm>
            <a:off x="9428404" y="3006598"/>
            <a:ext cx="2126749" cy="457548"/>
          </a:xfrm>
          <a:prstGeom prst="rect">
            <a:avLst/>
          </a:prstGeom>
          <a:solidFill>
            <a:schemeClr val="accent6"/>
          </a:solidFill>
          <a:ln w="9525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numCol="1" rtlCol="0" anchor="ctr"/>
          <a:lstStyle/>
          <a:p>
            <a:pPr marL="0" marR="0" lvl="0" indent="0" algn="ctr" defTabSz="468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ive from Q3 2026</a:t>
            </a:r>
          </a:p>
        </p:txBody>
      </p:sp>
      <p:sp>
        <p:nvSpPr>
          <p:cNvPr id="23" name="Rettangolo 22">
            <a:extLst>
              <a:ext uri="{FF2B5EF4-FFF2-40B4-BE49-F238E27FC236}">
                <a16:creationId xmlns:a16="http://schemas.microsoft.com/office/drawing/2014/main" id="{67B5BFB7-E15E-9F2B-AAAA-5C83958A3E2E}"/>
              </a:ext>
            </a:extLst>
          </p:cNvPr>
          <p:cNvSpPr/>
          <p:nvPr/>
        </p:nvSpPr>
        <p:spPr>
          <a:xfrm>
            <a:off x="9418586" y="2257584"/>
            <a:ext cx="2126749" cy="457548"/>
          </a:xfrm>
          <a:prstGeom prst="rect">
            <a:avLst/>
          </a:prstGeom>
          <a:solidFill>
            <a:schemeClr val="accent6"/>
          </a:solidFill>
          <a:ln w="9525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numCol="1" rtlCol="0" anchor="ctr"/>
          <a:lstStyle/>
          <a:p>
            <a:pPr marL="0" marR="0" lvl="0" indent="0" algn="ctr" defTabSz="468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ive from </a:t>
            </a:r>
            <a:r>
              <a:rPr lang="en-GB" sz="1200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Q3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2026</a:t>
            </a:r>
          </a:p>
        </p:txBody>
      </p:sp>
      <p:sp>
        <p:nvSpPr>
          <p:cNvPr id="24" name="Rettangolo 23">
            <a:extLst>
              <a:ext uri="{FF2B5EF4-FFF2-40B4-BE49-F238E27FC236}">
                <a16:creationId xmlns:a16="http://schemas.microsoft.com/office/drawing/2014/main" id="{7C829816-DCB0-58D6-3F4D-6342A6292B1D}"/>
              </a:ext>
            </a:extLst>
          </p:cNvPr>
          <p:cNvSpPr/>
          <p:nvPr/>
        </p:nvSpPr>
        <p:spPr>
          <a:xfrm>
            <a:off x="9418586" y="1575313"/>
            <a:ext cx="2126749" cy="457548"/>
          </a:xfrm>
          <a:prstGeom prst="rect">
            <a:avLst/>
          </a:prstGeom>
          <a:solidFill>
            <a:schemeClr val="accent6"/>
          </a:solidFill>
          <a:ln w="9525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numCol="1" rtlCol="0" anchor="ctr"/>
          <a:lstStyle/>
          <a:p>
            <a:pPr marL="0" marR="0" lvl="0" indent="0" algn="ctr" defTabSz="468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ve from Q1 2026 and work in progress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chemeClr val="accent5">
                  <a:lumMod val="75000"/>
                </a:scheme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5" name="Rettangolo 24">
            <a:extLst>
              <a:ext uri="{FF2B5EF4-FFF2-40B4-BE49-F238E27FC236}">
                <a16:creationId xmlns:a16="http://schemas.microsoft.com/office/drawing/2014/main" id="{6FF2818B-74F5-B1FD-07F7-0EAAD39A07C3}"/>
              </a:ext>
            </a:extLst>
          </p:cNvPr>
          <p:cNvSpPr/>
          <p:nvPr/>
        </p:nvSpPr>
        <p:spPr>
          <a:xfrm>
            <a:off x="9418586" y="944276"/>
            <a:ext cx="2126749" cy="457548"/>
          </a:xfrm>
          <a:prstGeom prst="rect">
            <a:avLst/>
          </a:prstGeom>
          <a:solidFill>
            <a:schemeClr val="accent6"/>
          </a:solidFill>
          <a:ln w="9525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numCol="1" rtlCol="0" anchor="ctr"/>
          <a:lstStyle/>
          <a:p>
            <a:pPr marL="0" marR="0" lvl="0" indent="0" algn="ctr" defTabSz="468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ive from Q4 2025</a:t>
            </a:r>
          </a:p>
        </p:txBody>
      </p:sp>
    </p:spTree>
    <p:extLst>
      <p:ext uri="{BB962C8B-B14F-4D97-AF65-F5344CB8AC3E}">
        <p14:creationId xmlns:p14="http://schemas.microsoft.com/office/powerpoint/2010/main" val="415152019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5A587B-5814-4D9B-9598-FE9CB954CB01}" type="slidenum">
              <a:rPr kumimoji="0" lang="fr-FR" sz="1000" b="1" i="0" u="none" strike="noStrike" kern="1200" cap="none" spc="0" normalizeH="0" baseline="0" noProof="0" smtClean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fr-FR" sz="1000" b="1" i="0" u="none" strike="noStrike" kern="1200" cap="none" spc="0" normalizeH="0" baseline="0" noProof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Espace réservé du pied de page 3"/>
          <p:cNvSpPr txBox="1">
            <a:spLocks/>
          </p:cNvSpPr>
          <p:nvPr/>
        </p:nvSpPr>
        <p:spPr>
          <a:xfrm>
            <a:off x="3223220" y="6463653"/>
            <a:ext cx="4320000" cy="252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BI - AAP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FECEFB89-AF4B-C469-2BBB-A1A25D69C0FB}"/>
              </a:ext>
            </a:extLst>
          </p:cNvPr>
          <p:cNvSpPr txBox="1"/>
          <p:nvPr/>
        </p:nvSpPr>
        <p:spPr>
          <a:xfrm>
            <a:off x="233816" y="5995332"/>
            <a:ext cx="1160110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70717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4" name="Rettangolo 9">
            <a:extLst>
              <a:ext uri="{FF2B5EF4-FFF2-40B4-BE49-F238E27FC236}">
                <a16:creationId xmlns:a16="http://schemas.microsoft.com/office/drawing/2014/main" id="{E2201AB3-3232-4FA5-7977-A062DE59DA7E}"/>
              </a:ext>
            </a:extLst>
          </p:cNvPr>
          <p:cNvSpPr/>
          <p:nvPr/>
        </p:nvSpPr>
        <p:spPr>
          <a:xfrm>
            <a:off x="0" y="1352872"/>
            <a:ext cx="12192000" cy="4509363"/>
          </a:xfrm>
          <a:prstGeom prst="rect">
            <a:avLst/>
          </a:prstGeom>
          <a:solidFill>
            <a:srgbClr val="019798"/>
          </a:solidFill>
          <a:ln w="12700" cap="flat" cmpd="sng" algn="ctr">
            <a:solidFill>
              <a:srgbClr val="019798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145A6007-2711-A014-4E10-F0C4BD36EC8C}"/>
              </a:ext>
            </a:extLst>
          </p:cNvPr>
          <p:cNvSpPr/>
          <p:nvPr/>
        </p:nvSpPr>
        <p:spPr>
          <a:xfrm>
            <a:off x="151557" y="1563955"/>
            <a:ext cx="10691044" cy="17377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ENDIX</a:t>
            </a:r>
            <a:r>
              <a:rPr kumimoji="0" lang="it-IT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endParaRPr kumimoji="0" lang="it-IT" sz="2400" b="1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r" defTabSz="9144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1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r" defTabSz="9144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1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7" name="Immagine 8" descr="Immagine che contiene disegnando&#10;&#10;Descrizione generata automaticamente">
            <a:extLst>
              <a:ext uri="{FF2B5EF4-FFF2-40B4-BE49-F238E27FC236}">
                <a16:creationId xmlns:a16="http://schemas.microsoft.com/office/drawing/2014/main" id="{7CFB1156-E23E-95A8-8A6F-07B89A7EC92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368" y="2303677"/>
            <a:ext cx="1003339" cy="655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852836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554416-F5E3-3380-B5FD-E52BB4F15E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Titolo 85">
            <a:extLst>
              <a:ext uri="{FF2B5EF4-FFF2-40B4-BE49-F238E27FC236}">
                <a16:creationId xmlns:a16="http://schemas.microsoft.com/office/drawing/2014/main" id="{1DAE8CEA-5690-AC59-E799-AD5D6DA9FB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7860" y="188803"/>
            <a:ext cx="10800000" cy="900000"/>
          </a:xfrm>
        </p:spPr>
        <p:txBody>
          <a:bodyPr>
            <a:normAutofit/>
          </a:bodyPr>
          <a:lstStyle/>
          <a:p>
            <a:r>
              <a:rPr lang="en-GB" dirty="0"/>
              <a:t>Offer and partnerships – </a:t>
            </a:r>
            <a:r>
              <a:rPr lang="en-GB" dirty="0" err="1"/>
              <a:t>LIBERal</a:t>
            </a:r>
            <a:r>
              <a:rPr lang="en-GB" dirty="0"/>
              <a:t> PROFESSIONs 1/2</a:t>
            </a:r>
          </a:p>
        </p:txBody>
      </p:sp>
      <p:sp>
        <p:nvSpPr>
          <p:cNvPr id="53" name="Rettangolo 52">
            <a:extLst>
              <a:ext uri="{FF2B5EF4-FFF2-40B4-BE49-F238E27FC236}">
                <a16:creationId xmlns:a16="http://schemas.microsoft.com/office/drawing/2014/main" id="{DF0B31FB-91C0-D73E-DA77-9E6A17AAD501}"/>
              </a:ext>
            </a:extLst>
          </p:cNvPr>
          <p:cNvSpPr/>
          <p:nvPr/>
        </p:nvSpPr>
        <p:spPr>
          <a:xfrm>
            <a:off x="347861" y="1259655"/>
            <a:ext cx="5383088" cy="256812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6A4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4" name="Rettangolo 3">
            <a:extLst>
              <a:ext uri="{FF2B5EF4-FFF2-40B4-BE49-F238E27FC236}">
                <a16:creationId xmlns:a16="http://schemas.microsoft.com/office/drawing/2014/main" id="{897D44F8-9A68-1081-3F6F-A8D15EB93BA1}"/>
              </a:ext>
            </a:extLst>
          </p:cNvPr>
          <p:cNvSpPr/>
          <p:nvPr/>
        </p:nvSpPr>
        <p:spPr>
          <a:xfrm>
            <a:off x="2040454" y="1388986"/>
            <a:ext cx="3690495" cy="450447"/>
          </a:xfrm>
          <a:prstGeom prst="rect">
            <a:avLst/>
          </a:prstGeom>
          <a:solidFill>
            <a:schemeClr val="bg1"/>
          </a:solidFill>
          <a:ln>
            <a:solidFill>
              <a:srgbClr val="006A4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b="1" dirty="0">
                <a:solidFill>
                  <a:schemeClr val="tx1">
                    <a:lumMod val="50000"/>
                  </a:schemeClr>
                </a:solidFill>
              </a:rPr>
              <a:t>Complete </a:t>
            </a:r>
            <a:r>
              <a:rPr lang="it-IT" sz="1400" b="1" dirty="0" err="1">
                <a:solidFill>
                  <a:schemeClr val="tx1">
                    <a:lumMod val="50000"/>
                  </a:schemeClr>
                </a:solidFill>
              </a:rPr>
              <a:t>ecosystem</a:t>
            </a:r>
            <a:endParaRPr lang="it-IT" sz="1400" b="1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8" name="Rettangolo 7">
            <a:extLst>
              <a:ext uri="{FF2B5EF4-FFF2-40B4-BE49-F238E27FC236}">
                <a16:creationId xmlns:a16="http://schemas.microsoft.com/office/drawing/2014/main" id="{19251A43-A6C3-BDD3-A59A-A58BB8F1A202}"/>
              </a:ext>
            </a:extLst>
          </p:cNvPr>
          <p:cNvSpPr/>
          <p:nvPr/>
        </p:nvSpPr>
        <p:spPr>
          <a:xfrm>
            <a:off x="2040454" y="1971701"/>
            <a:ext cx="3690495" cy="450447"/>
          </a:xfrm>
          <a:prstGeom prst="rect">
            <a:avLst/>
          </a:prstGeom>
          <a:solidFill>
            <a:schemeClr val="bg1"/>
          </a:solidFill>
          <a:ln>
            <a:solidFill>
              <a:srgbClr val="006A4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b="1" dirty="0" err="1">
                <a:solidFill>
                  <a:schemeClr val="tx1">
                    <a:lumMod val="50000"/>
                  </a:schemeClr>
                </a:solidFill>
              </a:rPr>
              <a:t>Changes</a:t>
            </a:r>
            <a:r>
              <a:rPr lang="it-IT" sz="1400" b="1" dirty="0">
                <a:solidFill>
                  <a:schemeClr val="tx1">
                    <a:lumMod val="50000"/>
                  </a:schemeClr>
                </a:solidFill>
              </a:rPr>
              <a:t> in the </a:t>
            </a:r>
            <a:r>
              <a:rPr lang="it-IT" sz="1400" b="1" dirty="0" err="1">
                <a:solidFill>
                  <a:schemeClr val="tx1">
                    <a:lumMod val="50000"/>
                  </a:schemeClr>
                </a:solidFill>
              </a:rPr>
              <a:t>italian</a:t>
            </a:r>
            <a:r>
              <a:rPr lang="it-IT" sz="1400" b="1" dirty="0">
                <a:solidFill>
                  <a:schemeClr val="tx1">
                    <a:lumMod val="50000"/>
                  </a:schemeClr>
                </a:solidFill>
              </a:rPr>
              <a:t> market</a:t>
            </a:r>
          </a:p>
        </p:txBody>
      </p:sp>
      <p:sp>
        <p:nvSpPr>
          <p:cNvPr id="11" name="Rettangolo 10">
            <a:extLst>
              <a:ext uri="{FF2B5EF4-FFF2-40B4-BE49-F238E27FC236}">
                <a16:creationId xmlns:a16="http://schemas.microsoft.com/office/drawing/2014/main" id="{180450AC-B63F-39E6-16A1-3D065A8CF2A7}"/>
              </a:ext>
            </a:extLst>
          </p:cNvPr>
          <p:cNvSpPr/>
          <p:nvPr/>
        </p:nvSpPr>
        <p:spPr>
          <a:xfrm>
            <a:off x="2040454" y="2567196"/>
            <a:ext cx="3690495" cy="450447"/>
          </a:xfrm>
          <a:prstGeom prst="rect">
            <a:avLst/>
          </a:prstGeom>
          <a:solidFill>
            <a:schemeClr val="bg1"/>
          </a:solidFill>
          <a:ln>
            <a:solidFill>
              <a:srgbClr val="006A4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b="1" dirty="0" err="1">
                <a:solidFill>
                  <a:schemeClr val="tx1">
                    <a:lumMod val="50000"/>
                  </a:schemeClr>
                </a:solidFill>
              </a:rPr>
              <a:t>Territorial</a:t>
            </a:r>
            <a:r>
              <a:rPr lang="it-IT" sz="1400" b="1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it-IT" sz="1400" b="1" dirty="0" err="1">
                <a:solidFill>
                  <a:schemeClr val="tx1">
                    <a:lumMod val="50000"/>
                  </a:schemeClr>
                </a:solidFill>
              </a:rPr>
              <a:t>proximity</a:t>
            </a:r>
            <a:endParaRPr lang="it-IT" sz="1400" b="1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3" name="Rettangolo 12">
            <a:extLst>
              <a:ext uri="{FF2B5EF4-FFF2-40B4-BE49-F238E27FC236}">
                <a16:creationId xmlns:a16="http://schemas.microsoft.com/office/drawing/2014/main" id="{4F81F2D7-7A21-8AB2-72AD-0F6E7AE43C9C}"/>
              </a:ext>
            </a:extLst>
          </p:cNvPr>
          <p:cNvSpPr/>
          <p:nvPr/>
        </p:nvSpPr>
        <p:spPr>
          <a:xfrm>
            <a:off x="2040454" y="3170862"/>
            <a:ext cx="3690495" cy="450447"/>
          </a:xfrm>
          <a:prstGeom prst="rect">
            <a:avLst/>
          </a:prstGeom>
          <a:solidFill>
            <a:schemeClr val="bg1"/>
          </a:solidFill>
          <a:ln>
            <a:solidFill>
              <a:srgbClr val="006A4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b="1" dirty="0">
                <a:solidFill>
                  <a:schemeClr val="tx1">
                    <a:lumMod val="50000"/>
                  </a:schemeClr>
                </a:solidFill>
              </a:rPr>
              <a:t>Low </a:t>
            </a:r>
            <a:r>
              <a:rPr lang="it-IT" sz="1400" b="1" dirty="0" err="1">
                <a:solidFill>
                  <a:schemeClr val="tx1">
                    <a:lumMod val="50000"/>
                  </a:schemeClr>
                </a:solidFill>
              </a:rPr>
              <a:t>realization</a:t>
            </a:r>
            <a:r>
              <a:rPr lang="it-IT" sz="1400" b="1" dirty="0">
                <a:solidFill>
                  <a:schemeClr val="tx1">
                    <a:lumMod val="50000"/>
                  </a:schemeClr>
                </a:solidFill>
              </a:rPr>
              <a:t> costs</a:t>
            </a:r>
          </a:p>
        </p:txBody>
      </p:sp>
      <p:sp>
        <p:nvSpPr>
          <p:cNvPr id="3" name="Freccia a pentagono 2">
            <a:extLst>
              <a:ext uri="{FF2B5EF4-FFF2-40B4-BE49-F238E27FC236}">
                <a16:creationId xmlns:a16="http://schemas.microsoft.com/office/drawing/2014/main" id="{C23D9BC4-0B77-2CB6-8E0D-DFAD54DA4FB0}"/>
              </a:ext>
            </a:extLst>
          </p:cNvPr>
          <p:cNvSpPr/>
          <p:nvPr/>
        </p:nvSpPr>
        <p:spPr>
          <a:xfrm>
            <a:off x="347859" y="1259655"/>
            <a:ext cx="2065731" cy="2568129"/>
          </a:xfrm>
          <a:prstGeom prst="homePlate">
            <a:avLst>
              <a:gd name="adj" fmla="val 17963"/>
            </a:avLst>
          </a:prstGeom>
          <a:solidFill>
            <a:srgbClr val="00949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dirty="0" err="1"/>
              <a:t>Reasons</a:t>
            </a:r>
            <a:r>
              <a:rPr lang="it-IT" b="1" dirty="0"/>
              <a:t> for an </a:t>
            </a:r>
            <a:r>
              <a:rPr lang="it-IT" b="1" dirty="0" err="1"/>
              <a:t>added-value</a:t>
            </a:r>
            <a:r>
              <a:rPr lang="it-IT" b="1" dirty="0"/>
              <a:t> plan…</a:t>
            </a:r>
          </a:p>
        </p:txBody>
      </p:sp>
      <p:sp>
        <p:nvSpPr>
          <p:cNvPr id="15" name="Rettangolo 14">
            <a:extLst>
              <a:ext uri="{FF2B5EF4-FFF2-40B4-BE49-F238E27FC236}">
                <a16:creationId xmlns:a16="http://schemas.microsoft.com/office/drawing/2014/main" id="{836AACD6-F855-5A00-9739-07311CB28FD0}"/>
              </a:ext>
            </a:extLst>
          </p:cNvPr>
          <p:cNvSpPr/>
          <p:nvPr/>
        </p:nvSpPr>
        <p:spPr>
          <a:xfrm>
            <a:off x="5919322" y="1259655"/>
            <a:ext cx="5383088" cy="256812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6A4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FC4D3948-2895-5933-3EE0-DBAEEA606363}"/>
              </a:ext>
            </a:extLst>
          </p:cNvPr>
          <p:cNvSpPr/>
          <p:nvPr/>
        </p:nvSpPr>
        <p:spPr>
          <a:xfrm>
            <a:off x="5919323" y="1388986"/>
            <a:ext cx="5383088" cy="450447"/>
          </a:xfrm>
          <a:prstGeom prst="rect">
            <a:avLst/>
          </a:prstGeom>
          <a:solidFill>
            <a:schemeClr val="bg1"/>
          </a:solidFill>
          <a:ln>
            <a:solidFill>
              <a:srgbClr val="006A4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dirty="0" err="1">
                <a:solidFill>
                  <a:schemeClr val="tx1">
                    <a:lumMod val="50000"/>
                  </a:schemeClr>
                </a:solidFill>
              </a:rPr>
              <a:t>Dedicated</a:t>
            </a:r>
            <a:r>
              <a:rPr lang="it-IT" sz="1400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it-IT" sz="1400" dirty="0" err="1">
                <a:solidFill>
                  <a:schemeClr val="tx1">
                    <a:lumMod val="50000"/>
                  </a:schemeClr>
                </a:solidFill>
              </a:rPr>
              <a:t>conditions</a:t>
            </a:r>
            <a:r>
              <a:rPr lang="it-IT" sz="1400" dirty="0">
                <a:solidFill>
                  <a:schemeClr val="tx1">
                    <a:lumMod val="50000"/>
                  </a:schemeClr>
                </a:solidFill>
              </a:rPr>
              <a:t> on products and innovative services</a:t>
            </a:r>
          </a:p>
        </p:txBody>
      </p:sp>
      <p:sp>
        <p:nvSpPr>
          <p:cNvPr id="17" name="Rettangolo 16">
            <a:extLst>
              <a:ext uri="{FF2B5EF4-FFF2-40B4-BE49-F238E27FC236}">
                <a16:creationId xmlns:a16="http://schemas.microsoft.com/office/drawing/2014/main" id="{90103C3D-7386-1387-4B3A-8C65A2F6FA26}"/>
              </a:ext>
            </a:extLst>
          </p:cNvPr>
          <p:cNvSpPr/>
          <p:nvPr/>
        </p:nvSpPr>
        <p:spPr>
          <a:xfrm>
            <a:off x="5919321" y="1971701"/>
            <a:ext cx="5383089" cy="450447"/>
          </a:xfrm>
          <a:prstGeom prst="rect">
            <a:avLst/>
          </a:prstGeom>
          <a:solidFill>
            <a:schemeClr val="bg1"/>
          </a:solidFill>
          <a:ln>
            <a:solidFill>
              <a:srgbClr val="006A4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Room for a new leader in the liberal </a:t>
            </a:r>
            <a:r>
              <a:rPr lang="it-IT" sz="1400" dirty="0" err="1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professions</a:t>
            </a:r>
            <a:r>
              <a:rPr lang="it-IT" sz="1400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 </a:t>
            </a:r>
            <a:r>
              <a:rPr lang="it-IT" sz="1400" dirty="0" err="1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sector</a:t>
            </a:r>
            <a:endParaRPr lang="it-IT" sz="14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8" name="Rettangolo 17">
            <a:extLst>
              <a:ext uri="{FF2B5EF4-FFF2-40B4-BE49-F238E27FC236}">
                <a16:creationId xmlns:a16="http://schemas.microsoft.com/office/drawing/2014/main" id="{3A2610B2-5FB9-7A5B-822B-DE415B8BD122}"/>
              </a:ext>
            </a:extLst>
          </p:cNvPr>
          <p:cNvSpPr/>
          <p:nvPr/>
        </p:nvSpPr>
        <p:spPr>
          <a:xfrm>
            <a:off x="5919321" y="2567196"/>
            <a:ext cx="5383089" cy="450447"/>
          </a:xfrm>
          <a:prstGeom prst="rect">
            <a:avLst/>
          </a:prstGeom>
          <a:solidFill>
            <a:schemeClr val="bg1"/>
          </a:solidFill>
          <a:ln>
            <a:solidFill>
              <a:srgbClr val="006A4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Advisors </a:t>
            </a:r>
            <a:r>
              <a:rPr lang="it-IT" sz="1400" dirty="0" err="1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always</a:t>
            </a:r>
            <a:r>
              <a:rPr lang="it-IT" sz="1400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 </a:t>
            </a:r>
            <a:r>
              <a:rPr lang="it-IT" sz="1400" dirty="0" err="1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at</a:t>
            </a:r>
            <a:r>
              <a:rPr lang="it-IT" sz="1400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 the </a:t>
            </a:r>
            <a:r>
              <a:rPr lang="it-IT" sz="1400" dirty="0" err="1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client’s</a:t>
            </a:r>
            <a:r>
              <a:rPr lang="it-IT" sz="1400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 </a:t>
            </a:r>
            <a:r>
              <a:rPr lang="it-IT" sz="1400" dirty="0" err="1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disposal</a:t>
            </a:r>
            <a:endParaRPr lang="it-IT" sz="14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9" name="Rettangolo 18">
            <a:extLst>
              <a:ext uri="{FF2B5EF4-FFF2-40B4-BE49-F238E27FC236}">
                <a16:creationId xmlns:a16="http://schemas.microsoft.com/office/drawing/2014/main" id="{9B2682CC-0213-49E9-61A6-AA0A58D39A41}"/>
              </a:ext>
            </a:extLst>
          </p:cNvPr>
          <p:cNvSpPr/>
          <p:nvPr/>
        </p:nvSpPr>
        <p:spPr>
          <a:xfrm>
            <a:off x="5919321" y="3170862"/>
            <a:ext cx="5383089" cy="450447"/>
          </a:xfrm>
          <a:prstGeom prst="rect">
            <a:avLst/>
          </a:prstGeom>
          <a:solidFill>
            <a:schemeClr val="bg1"/>
          </a:solidFill>
          <a:ln>
            <a:solidFill>
              <a:srgbClr val="006A4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dirty="0">
                <a:solidFill>
                  <a:schemeClr val="tx1">
                    <a:lumMod val="50000"/>
                  </a:schemeClr>
                </a:solidFill>
              </a:rPr>
              <a:t>Investment in </a:t>
            </a:r>
            <a:r>
              <a:rPr lang="it-IT" sz="1400" dirty="0" err="1">
                <a:solidFill>
                  <a:schemeClr val="tx1">
                    <a:lumMod val="50000"/>
                  </a:schemeClr>
                </a:solidFill>
              </a:rPr>
              <a:t>ideas</a:t>
            </a:r>
            <a:r>
              <a:rPr lang="it-IT" sz="1400" dirty="0">
                <a:solidFill>
                  <a:schemeClr val="tx1">
                    <a:lumMod val="50000"/>
                  </a:schemeClr>
                </a:solidFill>
              </a:rPr>
              <a:t> and </a:t>
            </a:r>
            <a:r>
              <a:rPr lang="it-IT" sz="1400" dirty="0" err="1">
                <a:solidFill>
                  <a:schemeClr val="tx1">
                    <a:lumMod val="50000"/>
                  </a:schemeClr>
                </a:solidFill>
              </a:rPr>
              <a:t>win-win</a:t>
            </a:r>
            <a:r>
              <a:rPr lang="it-IT" sz="1400" dirty="0">
                <a:solidFill>
                  <a:schemeClr val="tx1">
                    <a:lumMod val="50000"/>
                  </a:schemeClr>
                </a:solidFill>
              </a:rPr>
              <a:t> partnerships, with low </a:t>
            </a:r>
            <a:r>
              <a:rPr lang="it-IT" sz="1400" dirty="0" err="1">
                <a:solidFill>
                  <a:schemeClr val="tx1">
                    <a:lumMod val="50000"/>
                  </a:schemeClr>
                </a:solidFill>
              </a:rPr>
              <a:t>expenses</a:t>
            </a:r>
            <a:endParaRPr lang="it-IT" sz="14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1" name="Rettangolo 20">
            <a:extLst>
              <a:ext uri="{FF2B5EF4-FFF2-40B4-BE49-F238E27FC236}">
                <a16:creationId xmlns:a16="http://schemas.microsoft.com/office/drawing/2014/main" id="{3D43ED99-C6CE-F164-685F-E20F76D2A8D1}"/>
              </a:ext>
            </a:extLst>
          </p:cNvPr>
          <p:cNvSpPr/>
          <p:nvPr/>
        </p:nvSpPr>
        <p:spPr>
          <a:xfrm>
            <a:off x="347861" y="4099647"/>
            <a:ext cx="5383088" cy="1911207"/>
          </a:xfrm>
          <a:prstGeom prst="rect">
            <a:avLst/>
          </a:prstGeom>
          <a:solidFill>
            <a:srgbClr val="D8F1E4"/>
          </a:solidFill>
          <a:ln>
            <a:solidFill>
              <a:srgbClr val="006A4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2" name="Rettangolo 21">
            <a:extLst>
              <a:ext uri="{FF2B5EF4-FFF2-40B4-BE49-F238E27FC236}">
                <a16:creationId xmlns:a16="http://schemas.microsoft.com/office/drawing/2014/main" id="{FA9B8C79-90BB-008C-6362-1DCB57C35F4B}"/>
              </a:ext>
            </a:extLst>
          </p:cNvPr>
          <p:cNvSpPr/>
          <p:nvPr/>
        </p:nvSpPr>
        <p:spPr>
          <a:xfrm>
            <a:off x="2040454" y="4228978"/>
            <a:ext cx="3690495" cy="450447"/>
          </a:xfrm>
          <a:prstGeom prst="rect">
            <a:avLst/>
          </a:prstGeom>
          <a:solidFill>
            <a:schemeClr val="bg1"/>
          </a:solidFill>
          <a:ln>
            <a:solidFill>
              <a:srgbClr val="006A4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b="1" dirty="0" err="1">
                <a:solidFill>
                  <a:schemeClr val="tx1">
                    <a:lumMod val="50000"/>
                  </a:schemeClr>
                </a:solidFill>
              </a:rPr>
              <a:t>External</a:t>
            </a:r>
            <a:r>
              <a:rPr lang="it-IT" sz="1400" b="1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it-IT" sz="1400" b="1" dirty="0" err="1">
                <a:solidFill>
                  <a:schemeClr val="tx1">
                    <a:lumMod val="50000"/>
                  </a:schemeClr>
                </a:solidFill>
              </a:rPr>
              <a:t>communication</a:t>
            </a:r>
            <a:endParaRPr lang="it-IT" sz="1400" b="1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3" name="Rettangolo 22">
            <a:extLst>
              <a:ext uri="{FF2B5EF4-FFF2-40B4-BE49-F238E27FC236}">
                <a16:creationId xmlns:a16="http://schemas.microsoft.com/office/drawing/2014/main" id="{E36F22F5-097C-A41A-E6BB-7CF2368D3C8F}"/>
              </a:ext>
            </a:extLst>
          </p:cNvPr>
          <p:cNvSpPr/>
          <p:nvPr/>
        </p:nvSpPr>
        <p:spPr>
          <a:xfrm>
            <a:off x="2040454" y="4811693"/>
            <a:ext cx="3690495" cy="450447"/>
          </a:xfrm>
          <a:prstGeom prst="rect">
            <a:avLst/>
          </a:prstGeom>
          <a:solidFill>
            <a:schemeClr val="bg1"/>
          </a:solidFill>
          <a:ln>
            <a:solidFill>
              <a:srgbClr val="006A4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b="1" dirty="0">
                <a:solidFill>
                  <a:schemeClr val="tx1">
                    <a:lumMod val="50000"/>
                  </a:schemeClr>
                </a:solidFill>
              </a:rPr>
              <a:t>Digital UX</a:t>
            </a:r>
          </a:p>
        </p:txBody>
      </p:sp>
      <p:sp>
        <p:nvSpPr>
          <p:cNvPr id="24" name="Rettangolo 23">
            <a:extLst>
              <a:ext uri="{FF2B5EF4-FFF2-40B4-BE49-F238E27FC236}">
                <a16:creationId xmlns:a16="http://schemas.microsoft.com/office/drawing/2014/main" id="{891A71CB-39FD-5A03-E9FE-497E14686A27}"/>
              </a:ext>
            </a:extLst>
          </p:cNvPr>
          <p:cNvSpPr/>
          <p:nvPr/>
        </p:nvSpPr>
        <p:spPr>
          <a:xfrm>
            <a:off x="2040454" y="5407188"/>
            <a:ext cx="3690495" cy="450447"/>
          </a:xfrm>
          <a:prstGeom prst="rect">
            <a:avLst/>
          </a:prstGeom>
          <a:solidFill>
            <a:schemeClr val="bg1"/>
          </a:solidFill>
          <a:ln>
            <a:solidFill>
              <a:srgbClr val="006A4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b="1" dirty="0" err="1">
                <a:solidFill>
                  <a:schemeClr val="tx1">
                    <a:lumMod val="50000"/>
                  </a:schemeClr>
                </a:solidFill>
              </a:rPr>
              <a:t>Internal</a:t>
            </a:r>
            <a:r>
              <a:rPr lang="it-IT" sz="1400" b="1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it-IT" sz="1400" b="1" dirty="0" err="1">
                <a:solidFill>
                  <a:schemeClr val="tx1">
                    <a:lumMod val="50000"/>
                  </a:schemeClr>
                </a:solidFill>
              </a:rPr>
              <a:t>communication</a:t>
            </a:r>
            <a:r>
              <a:rPr lang="it-IT" sz="1400" b="1" dirty="0">
                <a:solidFill>
                  <a:schemeClr val="tx1">
                    <a:lumMod val="50000"/>
                  </a:schemeClr>
                </a:solidFill>
              </a:rPr>
              <a:t> and meetings</a:t>
            </a:r>
          </a:p>
        </p:txBody>
      </p:sp>
      <p:sp>
        <p:nvSpPr>
          <p:cNvPr id="26" name="Freccia a pentagono 25">
            <a:extLst>
              <a:ext uri="{FF2B5EF4-FFF2-40B4-BE49-F238E27FC236}">
                <a16:creationId xmlns:a16="http://schemas.microsoft.com/office/drawing/2014/main" id="{CE0F2B47-B45E-06E4-F58A-F4277F97CE75}"/>
              </a:ext>
            </a:extLst>
          </p:cNvPr>
          <p:cNvSpPr/>
          <p:nvPr/>
        </p:nvSpPr>
        <p:spPr>
          <a:xfrm>
            <a:off x="347859" y="4099647"/>
            <a:ext cx="2065731" cy="1911207"/>
          </a:xfrm>
          <a:prstGeom prst="homePlate">
            <a:avLst>
              <a:gd name="adj" fmla="val 17963"/>
            </a:avLst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dirty="0"/>
              <a:t>…and </a:t>
            </a:r>
            <a:r>
              <a:rPr lang="it-IT" b="1" dirty="0" err="1"/>
              <a:t>its</a:t>
            </a:r>
            <a:r>
              <a:rPr lang="it-IT" b="1" dirty="0"/>
              <a:t> </a:t>
            </a:r>
            <a:r>
              <a:rPr lang="it-IT" b="1" dirty="0" err="1"/>
              <a:t>communication</a:t>
            </a:r>
            <a:r>
              <a:rPr lang="it-IT" b="1" dirty="0"/>
              <a:t> strategy</a:t>
            </a:r>
          </a:p>
        </p:txBody>
      </p:sp>
      <p:sp>
        <p:nvSpPr>
          <p:cNvPr id="27" name="Rettangolo 26">
            <a:extLst>
              <a:ext uri="{FF2B5EF4-FFF2-40B4-BE49-F238E27FC236}">
                <a16:creationId xmlns:a16="http://schemas.microsoft.com/office/drawing/2014/main" id="{C4A6306B-281C-2CF7-9BE4-6167027CB46C}"/>
              </a:ext>
            </a:extLst>
          </p:cNvPr>
          <p:cNvSpPr/>
          <p:nvPr/>
        </p:nvSpPr>
        <p:spPr>
          <a:xfrm>
            <a:off x="5919322" y="4099647"/>
            <a:ext cx="5383088" cy="1911207"/>
          </a:xfrm>
          <a:prstGeom prst="rect">
            <a:avLst/>
          </a:prstGeom>
          <a:solidFill>
            <a:srgbClr val="D8F1E4"/>
          </a:solidFill>
          <a:ln>
            <a:solidFill>
              <a:srgbClr val="006A4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8" name="Rettangolo 27">
            <a:extLst>
              <a:ext uri="{FF2B5EF4-FFF2-40B4-BE49-F238E27FC236}">
                <a16:creationId xmlns:a16="http://schemas.microsoft.com/office/drawing/2014/main" id="{626D6505-4719-8E15-6107-4215100C165B}"/>
              </a:ext>
            </a:extLst>
          </p:cNvPr>
          <p:cNvSpPr/>
          <p:nvPr/>
        </p:nvSpPr>
        <p:spPr>
          <a:xfrm>
            <a:off x="5919323" y="4228978"/>
            <a:ext cx="5383088" cy="450447"/>
          </a:xfrm>
          <a:prstGeom prst="rect">
            <a:avLst/>
          </a:prstGeom>
          <a:solidFill>
            <a:schemeClr val="bg1"/>
          </a:solidFill>
          <a:ln>
            <a:solidFill>
              <a:srgbClr val="006A4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dirty="0">
                <a:solidFill>
                  <a:schemeClr val="tx1">
                    <a:lumMod val="50000"/>
                  </a:schemeClr>
                </a:solidFill>
              </a:rPr>
              <a:t>Broad </a:t>
            </a:r>
            <a:r>
              <a:rPr lang="it-IT" sz="1400" dirty="0" err="1">
                <a:solidFill>
                  <a:schemeClr val="tx1">
                    <a:lumMod val="50000"/>
                  </a:schemeClr>
                </a:solidFill>
              </a:rPr>
              <a:t>presence</a:t>
            </a:r>
            <a:r>
              <a:rPr lang="it-IT" sz="1400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it-IT" sz="1400" dirty="0" err="1">
                <a:solidFill>
                  <a:schemeClr val="tx1">
                    <a:lumMod val="50000"/>
                  </a:schemeClr>
                </a:solidFill>
              </a:rPr>
              <a:t>both</a:t>
            </a:r>
            <a:r>
              <a:rPr lang="it-IT" sz="1400" dirty="0">
                <a:solidFill>
                  <a:schemeClr val="tx1">
                    <a:lumMod val="50000"/>
                  </a:schemeClr>
                </a:solidFill>
              </a:rPr>
              <a:t> in Social Networks and </a:t>
            </a:r>
            <a:r>
              <a:rPr lang="it-IT" sz="1400" dirty="0" err="1">
                <a:solidFill>
                  <a:schemeClr val="tx1">
                    <a:lumMod val="50000"/>
                  </a:schemeClr>
                </a:solidFill>
              </a:rPr>
              <a:t>branches</a:t>
            </a:r>
            <a:endParaRPr lang="it-IT" sz="14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9" name="Rettangolo 28">
            <a:extLst>
              <a:ext uri="{FF2B5EF4-FFF2-40B4-BE49-F238E27FC236}">
                <a16:creationId xmlns:a16="http://schemas.microsoft.com/office/drawing/2014/main" id="{B582B697-9C1A-1DDD-E79E-E2C7D5A1D1F2}"/>
              </a:ext>
            </a:extLst>
          </p:cNvPr>
          <p:cNvSpPr/>
          <p:nvPr/>
        </p:nvSpPr>
        <p:spPr>
          <a:xfrm>
            <a:off x="5919321" y="4811693"/>
            <a:ext cx="5383089" cy="450447"/>
          </a:xfrm>
          <a:prstGeom prst="rect">
            <a:avLst/>
          </a:prstGeom>
          <a:solidFill>
            <a:schemeClr val="bg1"/>
          </a:solidFill>
          <a:ln>
            <a:solidFill>
              <a:srgbClr val="006A4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CAI website for the general </a:t>
            </a:r>
            <a:r>
              <a:rPr lang="it-IT" sz="1400" dirty="0" err="1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proposal</a:t>
            </a:r>
            <a:r>
              <a:rPr lang="it-IT" sz="1400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, </a:t>
            </a:r>
            <a:r>
              <a:rPr lang="it-IT" sz="1400" dirty="0" err="1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customized</a:t>
            </a:r>
            <a:r>
              <a:rPr lang="it-IT" sz="1400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 HB</a:t>
            </a:r>
            <a:endParaRPr lang="it-IT" sz="14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31" name="Rettangolo 30">
            <a:extLst>
              <a:ext uri="{FF2B5EF4-FFF2-40B4-BE49-F238E27FC236}">
                <a16:creationId xmlns:a16="http://schemas.microsoft.com/office/drawing/2014/main" id="{6E46EDD7-755E-172F-A267-A92266076D03}"/>
              </a:ext>
            </a:extLst>
          </p:cNvPr>
          <p:cNvSpPr/>
          <p:nvPr/>
        </p:nvSpPr>
        <p:spPr>
          <a:xfrm>
            <a:off x="5919321" y="5407188"/>
            <a:ext cx="5383089" cy="450447"/>
          </a:xfrm>
          <a:prstGeom prst="rect">
            <a:avLst/>
          </a:prstGeom>
          <a:solidFill>
            <a:schemeClr val="bg1"/>
          </a:solidFill>
          <a:ln>
            <a:solidFill>
              <a:srgbClr val="006A4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For the advisors to spread the word</a:t>
            </a:r>
            <a:endParaRPr lang="it-IT" sz="1400" dirty="0">
              <a:solidFill>
                <a:schemeClr val="tx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448847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46A405-8DBC-4A47-647A-3644EE04D5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1D8AC117-B21E-BDA4-D0AF-0D93BB07E9C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5ABC3C-103B-4086-8D3F-569824F59C7E}" type="slidenum">
              <a:rPr lang="it-IT" smtClean="0"/>
              <a:pPr/>
              <a:t>23</a:t>
            </a:fld>
            <a:endParaRPr lang="it-IT" dirty="0"/>
          </a:p>
        </p:txBody>
      </p:sp>
      <p:sp>
        <p:nvSpPr>
          <p:cNvPr id="86" name="Titolo 85">
            <a:extLst>
              <a:ext uri="{FF2B5EF4-FFF2-40B4-BE49-F238E27FC236}">
                <a16:creationId xmlns:a16="http://schemas.microsoft.com/office/drawing/2014/main" id="{6035AEF4-6E27-1A49-3B6B-58C5252B15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7860" y="188803"/>
            <a:ext cx="10800000" cy="900000"/>
          </a:xfrm>
        </p:spPr>
        <p:txBody>
          <a:bodyPr>
            <a:normAutofit/>
          </a:bodyPr>
          <a:lstStyle/>
          <a:p>
            <a:r>
              <a:rPr lang="en-GB" dirty="0"/>
              <a:t>Offer and partnerships – </a:t>
            </a:r>
            <a:r>
              <a:rPr lang="en-GB" dirty="0" err="1"/>
              <a:t>LIBERal</a:t>
            </a:r>
            <a:r>
              <a:rPr lang="en-GB" dirty="0"/>
              <a:t> PROFESSIONs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78CE7E31-D7B0-3142-9094-77AE10FCACA7}"/>
              </a:ext>
            </a:extLst>
          </p:cNvPr>
          <p:cNvSpPr txBox="1"/>
          <p:nvPr/>
        </p:nvSpPr>
        <p:spPr>
          <a:xfrm>
            <a:off x="618207" y="6553761"/>
            <a:ext cx="448694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"/>
            <a:r>
              <a:rPr lang="it-IT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r>
              <a:rPr lang="it-IT" sz="105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o al 31.12.2025</a:t>
            </a:r>
            <a:endParaRPr lang="it-IT" sz="1100" i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ttangolo con angoli arrotondati 9">
            <a:extLst>
              <a:ext uri="{FF2B5EF4-FFF2-40B4-BE49-F238E27FC236}">
                <a16:creationId xmlns:a16="http://schemas.microsoft.com/office/drawing/2014/main" id="{34FFA421-5C08-7EAF-EF8B-BFF8CCFF91A8}"/>
              </a:ext>
            </a:extLst>
          </p:cNvPr>
          <p:cNvSpPr/>
          <p:nvPr/>
        </p:nvSpPr>
        <p:spPr>
          <a:xfrm>
            <a:off x="518978" y="1173891"/>
            <a:ext cx="5140411" cy="390308"/>
          </a:xfrm>
          <a:prstGeom prst="roundRect">
            <a:avLst/>
          </a:prstGeom>
          <a:solidFill>
            <a:srgbClr val="00949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dirty="0"/>
              <a:t>OFFER</a:t>
            </a:r>
          </a:p>
        </p:txBody>
      </p:sp>
      <p:sp>
        <p:nvSpPr>
          <p:cNvPr id="11" name="Rettangolo con angoli arrotondati 10">
            <a:extLst>
              <a:ext uri="{FF2B5EF4-FFF2-40B4-BE49-F238E27FC236}">
                <a16:creationId xmlns:a16="http://schemas.microsoft.com/office/drawing/2014/main" id="{EF80A0B4-A24C-09AE-8C31-5BD164507B25}"/>
              </a:ext>
            </a:extLst>
          </p:cNvPr>
          <p:cNvSpPr/>
          <p:nvPr/>
        </p:nvSpPr>
        <p:spPr>
          <a:xfrm>
            <a:off x="6211333" y="1173891"/>
            <a:ext cx="5184000" cy="390308"/>
          </a:xfrm>
          <a:prstGeom prst="roundRect">
            <a:avLst/>
          </a:prstGeom>
          <a:solidFill>
            <a:srgbClr val="25517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dirty="0"/>
              <a:t>PARTNERSHIPS</a:t>
            </a:r>
          </a:p>
        </p:txBody>
      </p:sp>
      <p:sp>
        <p:nvSpPr>
          <p:cNvPr id="12" name="Rettangolo con angoli arrotondati 11">
            <a:extLst>
              <a:ext uri="{FF2B5EF4-FFF2-40B4-BE49-F238E27FC236}">
                <a16:creationId xmlns:a16="http://schemas.microsoft.com/office/drawing/2014/main" id="{579F157F-8606-86F1-4C39-B397E5C87DB8}"/>
              </a:ext>
            </a:extLst>
          </p:cNvPr>
          <p:cNvSpPr/>
          <p:nvPr/>
        </p:nvSpPr>
        <p:spPr>
          <a:xfrm>
            <a:off x="531708" y="1655802"/>
            <a:ext cx="1853144" cy="679622"/>
          </a:xfrm>
          <a:prstGeom prst="roundRect">
            <a:avLst/>
          </a:prstGeom>
          <a:solidFill>
            <a:srgbClr val="00949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500" b="1" dirty="0"/>
              <a:t>Bank account in </a:t>
            </a:r>
            <a:r>
              <a:rPr lang="it-IT" sz="1500" b="1" dirty="0" err="1"/>
              <a:t>branches</a:t>
            </a:r>
            <a:endParaRPr lang="it-IT" sz="1500" b="1" dirty="0"/>
          </a:p>
        </p:txBody>
      </p:sp>
      <p:sp>
        <p:nvSpPr>
          <p:cNvPr id="13" name="Rettangolo con angoli arrotondati 12">
            <a:extLst>
              <a:ext uri="{FF2B5EF4-FFF2-40B4-BE49-F238E27FC236}">
                <a16:creationId xmlns:a16="http://schemas.microsoft.com/office/drawing/2014/main" id="{764E6198-08B6-52F5-A5DB-5EFD7EC61B54}"/>
              </a:ext>
            </a:extLst>
          </p:cNvPr>
          <p:cNvSpPr/>
          <p:nvPr/>
        </p:nvSpPr>
        <p:spPr>
          <a:xfrm>
            <a:off x="531708" y="2431304"/>
            <a:ext cx="1853144" cy="679622"/>
          </a:xfrm>
          <a:prstGeom prst="roundRect">
            <a:avLst/>
          </a:prstGeom>
          <a:solidFill>
            <a:srgbClr val="00949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500" b="1" dirty="0"/>
              <a:t>Online bank account</a:t>
            </a:r>
          </a:p>
        </p:txBody>
      </p:sp>
      <p:sp>
        <p:nvSpPr>
          <p:cNvPr id="18" name="Rettangolo con angoli arrotondati 17">
            <a:extLst>
              <a:ext uri="{FF2B5EF4-FFF2-40B4-BE49-F238E27FC236}">
                <a16:creationId xmlns:a16="http://schemas.microsoft.com/office/drawing/2014/main" id="{ED07A78A-5518-A573-C17F-E1C204F12DFA}"/>
              </a:ext>
            </a:extLst>
          </p:cNvPr>
          <p:cNvSpPr/>
          <p:nvPr/>
        </p:nvSpPr>
        <p:spPr>
          <a:xfrm>
            <a:off x="531708" y="3206806"/>
            <a:ext cx="1853144" cy="679622"/>
          </a:xfrm>
          <a:prstGeom prst="roundRect">
            <a:avLst/>
          </a:prstGeom>
          <a:solidFill>
            <a:srgbClr val="00949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500" b="1" dirty="0"/>
              <a:t>Collection rate on bank account</a:t>
            </a:r>
          </a:p>
        </p:txBody>
      </p:sp>
      <p:sp>
        <p:nvSpPr>
          <p:cNvPr id="19" name="Rettangolo con angoli arrotondati 18">
            <a:extLst>
              <a:ext uri="{FF2B5EF4-FFF2-40B4-BE49-F238E27FC236}">
                <a16:creationId xmlns:a16="http://schemas.microsoft.com/office/drawing/2014/main" id="{B428FBD5-C73F-209A-9981-61E18EB43219}"/>
              </a:ext>
            </a:extLst>
          </p:cNvPr>
          <p:cNvSpPr/>
          <p:nvPr/>
        </p:nvSpPr>
        <p:spPr>
          <a:xfrm>
            <a:off x="531708" y="3982308"/>
            <a:ext cx="1853144" cy="679622"/>
          </a:xfrm>
          <a:prstGeom prst="roundRect">
            <a:avLst/>
          </a:prstGeom>
          <a:solidFill>
            <a:srgbClr val="00949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500" b="1" dirty="0"/>
              <a:t>POS</a:t>
            </a:r>
          </a:p>
        </p:txBody>
      </p:sp>
      <p:sp>
        <p:nvSpPr>
          <p:cNvPr id="20" name="Rettangolo con angoli arrotondati 19">
            <a:extLst>
              <a:ext uri="{FF2B5EF4-FFF2-40B4-BE49-F238E27FC236}">
                <a16:creationId xmlns:a16="http://schemas.microsoft.com/office/drawing/2014/main" id="{60398E07-04E7-560E-3810-3DC446FB9E96}"/>
              </a:ext>
            </a:extLst>
          </p:cNvPr>
          <p:cNvSpPr/>
          <p:nvPr/>
        </p:nvSpPr>
        <p:spPr>
          <a:xfrm>
            <a:off x="531708" y="4757810"/>
            <a:ext cx="1853144" cy="679622"/>
          </a:xfrm>
          <a:prstGeom prst="roundRect">
            <a:avLst/>
          </a:prstGeom>
          <a:solidFill>
            <a:srgbClr val="00949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500" b="1" dirty="0"/>
              <a:t>Leasing</a:t>
            </a:r>
          </a:p>
        </p:txBody>
      </p:sp>
      <p:sp>
        <p:nvSpPr>
          <p:cNvPr id="21" name="Rettangolo con angoli arrotondati 20">
            <a:extLst>
              <a:ext uri="{FF2B5EF4-FFF2-40B4-BE49-F238E27FC236}">
                <a16:creationId xmlns:a16="http://schemas.microsoft.com/office/drawing/2014/main" id="{5BCD42CF-07AB-827E-7358-3C3EBAA4113B}"/>
              </a:ext>
            </a:extLst>
          </p:cNvPr>
          <p:cNvSpPr/>
          <p:nvPr/>
        </p:nvSpPr>
        <p:spPr>
          <a:xfrm>
            <a:off x="531708" y="5533314"/>
            <a:ext cx="1853144" cy="679622"/>
          </a:xfrm>
          <a:prstGeom prst="roundRect">
            <a:avLst/>
          </a:prstGeom>
          <a:solidFill>
            <a:srgbClr val="00949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500" b="1" dirty="0" err="1"/>
              <a:t>Loans</a:t>
            </a:r>
            <a:endParaRPr lang="it-IT" sz="1500" b="1" dirty="0"/>
          </a:p>
        </p:txBody>
      </p:sp>
      <p:sp>
        <p:nvSpPr>
          <p:cNvPr id="22" name="Rettangolo con angoli arrotondati 21">
            <a:extLst>
              <a:ext uri="{FF2B5EF4-FFF2-40B4-BE49-F238E27FC236}">
                <a16:creationId xmlns:a16="http://schemas.microsoft.com/office/drawing/2014/main" id="{1C1BF9BE-EE81-3557-580A-0112D6EF25B3}"/>
              </a:ext>
            </a:extLst>
          </p:cNvPr>
          <p:cNvSpPr/>
          <p:nvPr/>
        </p:nvSpPr>
        <p:spPr>
          <a:xfrm>
            <a:off x="2510220" y="1680518"/>
            <a:ext cx="3126262" cy="298460"/>
          </a:xfrm>
          <a:prstGeom prst="roundRect">
            <a:avLst/>
          </a:prstGeom>
          <a:solidFill>
            <a:schemeClr val="bg1"/>
          </a:solidFill>
          <a:ln>
            <a:solidFill>
              <a:srgbClr val="00949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300" dirty="0">
                <a:solidFill>
                  <a:schemeClr val="tx1">
                    <a:lumMod val="50000"/>
                  </a:schemeClr>
                </a:solidFill>
              </a:rPr>
              <a:t>Free for 6 </a:t>
            </a:r>
            <a:r>
              <a:rPr lang="it-IT" sz="1300" dirty="0" err="1">
                <a:solidFill>
                  <a:schemeClr val="tx1">
                    <a:lumMod val="50000"/>
                  </a:schemeClr>
                </a:solidFill>
              </a:rPr>
              <a:t>months</a:t>
            </a:r>
            <a:endParaRPr lang="it-IT" sz="13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3" name="Rettangolo con angoli arrotondati 22">
            <a:extLst>
              <a:ext uri="{FF2B5EF4-FFF2-40B4-BE49-F238E27FC236}">
                <a16:creationId xmlns:a16="http://schemas.microsoft.com/office/drawing/2014/main" id="{C1DBD304-B6D2-2F63-0ACB-C97D8C447857}"/>
              </a:ext>
            </a:extLst>
          </p:cNvPr>
          <p:cNvSpPr/>
          <p:nvPr/>
        </p:nvSpPr>
        <p:spPr>
          <a:xfrm>
            <a:off x="2510220" y="2024653"/>
            <a:ext cx="3126262" cy="298460"/>
          </a:xfrm>
          <a:prstGeom prst="roundRect">
            <a:avLst/>
          </a:prstGeom>
          <a:solidFill>
            <a:schemeClr val="bg1"/>
          </a:solidFill>
          <a:ln>
            <a:solidFill>
              <a:srgbClr val="00949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300" dirty="0" err="1">
                <a:solidFill>
                  <a:schemeClr val="tx1">
                    <a:lumMod val="50000"/>
                  </a:schemeClr>
                </a:solidFill>
              </a:rPr>
              <a:t>Increased</a:t>
            </a:r>
            <a:r>
              <a:rPr lang="it-IT" sz="1300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it-IT" sz="1300" dirty="0" err="1">
                <a:solidFill>
                  <a:schemeClr val="tx1">
                    <a:lumMod val="50000"/>
                  </a:schemeClr>
                </a:solidFill>
              </a:rPr>
              <a:t>number</a:t>
            </a:r>
            <a:r>
              <a:rPr lang="it-IT" sz="1300" dirty="0">
                <a:solidFill>
                  <a:schemeClr val="tx1">
                    <a:lumMod val="50000"/>
                  </a:schemeClr>
                </a:solidFill>
              </a:rPr>
              <a:t> of </a:t>
            </a:r>
            <a:r>
              <a:rPr lang="it-IT" sz="1300" dirty="0" err="1">
                <a:solidFill>
                  <a:schemeClr val="tx1">
                    <a:lumMod val="50000"/>
                  </a:schemeClr>
                </a:solidFill>
              </a:rPr>
              <a:t>transactions</a:t>
            </a:r>
            <a:endParaRPr lang="it-IT" sz="13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5" name="Rettangolo con angoli arrotondati 24">
            <a:extLst>
              <a:ext uri="{FF2B5EF4-FFF2-40B4-BE49-F238E27FC236}">
                <a16:creationId xmlns:a16="http://schemas.microsoft.com/office/drawing/2014/main" id="{FDADB6E3-6113-294F-2ECE-3BDC748E8626}"/>
              </a:ext>
            </a:extLst>
          </p:cNvPr>
          <p:cNvSpPr/>
          <p:nvPr/>
        </p:nvSpPr>
        <p:spPr>
          <a:xfrm>
            <a:off x="2510220" y="2430569"/>
            <a:ext cx="3126262" cy="298460"/>
          </a:xfrm>
          <a:prstGeom prst="roundRect">
            <a:avLst/>
          </a:prstGeom>
          <a:solidFill>
            <a:srgbClr val="E5F6F5"/>
          </a:solidFill>
          <a:ln>
            <a:solidFill>
              <a:srgbClr val="00949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300" dirty="0">
                <a:solidFill>
                  <a:schemeClr val="tx1">
                    <a:lumMod val="50000"/>
                  </a:schemeClr>
                </a:solidFill>
              </a:rPr>
              <a:t>Free for 12 </a:t>
            </a:r>
            <a:r>
              <a:rPr lang="it-IT" sz="1300" dirty="0" err="1">
                <a:solidFill>
                  <a:schemeClr val="tx1">
                    <a:lumMod val="50000"/>
                  </a:schemeClr>
                </a:solidFill>
              </a:rPr>
              <a:t>months</a:t>
            </a:r>
            <a:endParaRPr lang="it-IT" sz="13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6" name="Rettangolo con angoli arrotondati 25">
            <a:extLst>
              <a:ext uri="{FF2B5EF4-FFF2-40B4-BE49-F238E27FC236}">
                <a16:creationId xmlns:a16="http://schemas.microsoft.com/office/drawing/2014/main" id="{50E5F6F1-36A6-27BB-5E55-8899FE8B02F0}"/>
              </a:ext>
            </a:extLst>
          </p:cNvPr>
          <p:cNvSpPr/>
          <p:nvPr/>
        </p:nvSpPr>
        <p:spPr>
          <a:xfrm>
            <a:off x="2510220" y="2774704"/>
            <a:ext cx="3126262" cy="298460"/>
          </a:xfrm>
          <a:prstGeom prst="roundRect">
            <a:avLst/>
          </a:prstGeom>
          <a:solidFill>
            <a:srgbClr val="E5F6F5"/>
          </a:solidFill>
          <a:ln>
            <a:solidFill>
              <a:srgbClr val="00949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300" dirty="0" err="1">
                <a:solidFill>
                  <a:schemeClr val="tx1">
                    <a:lumMod val="50000"/>
                  </a:schemeClr>
                </a:solidFill>
              </a:rPr>
              <a:t>Increased</a:t>
            </a:r>
            <a:r>
              <a:rPr lang="it-IT" sz="1300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it-IT" sz="1300" dirty="0" err="1">
                <a:solidFill>
                  <a:schemeClr val="tx1">
                    <a:lumMod val="50000"/>
                  </a:schemeClr>
                </a:solidFill>
              </a:rPr>
              <a:t>number</a:t>
            </a:r>
            <a:r>
              <a:rPr lang="it-IT" sz="1300" dirty="0">
                <a:solidFill>
                  <a:schemeClr val="tx1">
                    <a:lumMod val="50000"/>
                  </a:schemeClr>
                </a:solidFill>
              </a:rPr>
              <a:t> of </a:t>
            </a:r>
            <a:r>
              <a:rPr lang="it-IT" sz="1300" dirty="0" err="1">
                <a:solidFill>
                  <a:schemeClr val="tx1">
                    <a:lumMod val="50000"/>
                  </a:schemeClr>
                </a:solidFill>
              </a:rPr>
              <a:t>transactions</a:t>
            </a:r>
            <a:endParaRPr lang="it-IT" sz="13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7" name="Rettangolo con angoli arrotondati 26">
            <a:extLst>
              <a:ext uri="{FF2B5EF4-FFF2-40B4-BE49-F238E27FC236}">
                <a16:creationId xmlns:a16="http://schemas.microsoft.com/office/drawing/2014/main" id="{CB0ABEC2-8B8A-16FD-E919-E4B2661DA751}"/>
              </a:ext>
            </a:extLst>
          </p:cNvPr>
          <p:cNvSpPr/>
          <p:nvPr/>
        </p:nvSpPr>
        <p:spPr>
          <a:xfrm>
            <a:off x="2510220" y="3202763"/>
            <a:ext cx="3126262" cy="298460"/>
          </a:xfrm>
          <a:prstGeom prst="roundRect">
            <a:avLst/>
          </a:prstGeom>
          <a:solidFill>
            <a:schemeClr val="bg1"/>
          </a:solidFill>
          <a:ln>
            <a:solidFill>
              <a:srgbClr val="00949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300" dirty="0">
                <a:solidFill>
                  <a:schemeClr val="tx1">
                    <a:lumMod val="50000"/>
                  </a:schemeClr>
                </a:solidFill>
              </a:rPr>
              <a:t>1% on new </a:t>
            </a:r>
            <a:r>
              <a:rPr lang="it-IT" sz="1300" dirty="0" err="1">
                <a:solidFill>
                  <a:schemeClr val="tx1">
                    <a:lumMod val="50000"/>
                  </a:schemeClr>
                </a:solidFill>
              </a:rPr>
              <a:t>liquidity</a:t>
            </a:r>
            <a:endParaRPr lang="it-IT" sz="13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8" name="Rettangolo con angoli arrotondati 27">
            <a:extLst>
              <a:ext uri="{FF2B5EF4-FFF2-40B4-BE49-F238E27FC236}">
                <a16:creationId xmlns:a16="http://schemas.microsoft.com/office/drawing/2014/main" id="{1C75C1C2-C37C-14D0-F20C-FA44209B265A}"/>
              </a:ext>
            </a:extLst>
          </p:cNvPr>
          <p:cNvSpPr/>
          <p:nvPr/>
        </p:nvSpPr>
        <p:spPr>
          <a:xfrm>
            <a:off x="2510220" y="3546898"/>
            <a:ext cx="3126262" cy="298460"/>
          </a:xfrm>
          <a:prstGeom prst="roundRect">
            <a:avLst/>
          </a:prstGeom>
          <a:solidFill>
            <a:schemeClr val="bg1"/>
          </a:solidFill>
          <a:ln>
            <a:solidFill>
              <a:srgbClr val="00949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300" dirty="0">
                <a:solidFill>
                  <a:schemeClr val="tx1">
                    <a:lumMod val="50000"/>
                  </a:schemeClr>
                </a:solidFill>
              </a:rPr>
              <a:t>6-month duration </a:t>
            </a:r>
          </a:p>
        </p:txBody>
      </p:sp>
      <p:sp>
        <p:nvSpPr>
          <p:cNvPr id="7" name="Rettangolo con angoli arrotondati 6">
            <a:extLst>
              <a:ext uri="{FF2B5EF4-FFF2-40B4-BE49-F238E27FC236}">
                <a16:creationId xmlns:a16="http://schemas.microsoft.com/office/drawing/2014/main" id="{104B3A10-3A12-6BFF-E5DA-800F28431A9F}"/>
              </a:ext>
            </a:extLst>
          </p:cNvPr>
          <p:cNvSpPr/>
          <p:nvPr/>
        </p:nvSpPr>
        <p:spPr>
          <a:xfrm>
            <a:off x="2510220" y="3978976"/>
            <a:ext cx="3126262" cy="298460"/>
          </a:xfrm>
          <a:prstGeom prst="roundRect">
            <a:avLst/>
          </a:prstGeom>
          <a:solidFill>
            <a:srgbClr val="E5F6F5"/>
          </a:solidFill>
          <a:ln>
            <a:solidFill>
              <a:srgbClr val="00949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300" dirty="0" err="1">
                <a:solidFill>
                  <a:schemeClr val="tx1">
                    <a:lumMod val="50000"/>
                  </a:schemeClr>
                </a:solidFill>
              </a:rPr>
              <a:t>Reduced</a:t>
            </a:r>
            <a:r>
              <a:rPr lang="it-IT" sz="1300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it-IT" sz="1300" dirty="0" err="1">
                <a:solidFill>
                  <a:schemeClr val="tx1">
                    <a:lumMod val="50000"/>
                  </a:schemeClr>
                </a:solidFill>
              </a:rPr>
              <a:t>monthly</a:t>
            </a:r>
            <a:r>
              <a:rPr lang="it-IT" sz="1300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it-IT" sz="1300" dirty="0" err="1">
                <a:solidFill>
                  <a:schemeClr val="tx1">
                    <a:lumMod val="50000"/>
                  </a:schemeClr>
                </a:solidFill>
              </a:rPr>
              <a:t>fee</a:t>
            </a:r>
            <a:endParaRPr lang="it-IT" sz="13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8" name="Rettangolo con angoli arrotondati 7">
            <a:extLst>
              <a:ext uri="{FF2B5EF4-FFF2-40B4-BE49-F238E27FC236}">
                <a16:creationId xmlns:a16="http://schemas.microsoft.com/office/drawing/2014/main" id="{58E9D9D8-A6BA-45B3-59D9-4035C2E77D9A}"/>
              </a:ext>
            </a:extLst>
          </p:cNvPr>
          <p:cNvSpPr/>
          <p:nvPr/>
        </p:nvSpPr>
        <p:spPr>
          <a:xfrm>
            <a:off x="2510220" y="4323111"/>
            <a:ext cx="3126262" cy="298460"/>
          </a:xfrm>
          <a:prstGeom prst="roundRect">
            <a:avLst/>
          </a:prstGeom>
          <a:solidFill>
            <a:srgbClr val="E5F6F5"/>
          </a:solidFill>
          <a:ln>
            <a:solidFill>
              <a:srgbClr val="00949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300" dirty="0" err="1">
                <a:solidFill>
                  <a:schemeClr val="tx1">
                    <a:lumMod val="50000"/>
                  </a:schemeClr>
                </a:solidFill>
              </a:rPr>
              <a:t>Reduced</a:t>
            </a:r>
            <a:r>
              <a:rPr lang="it-IT" sz="1300" dirty="0">
                <a:solidFill>
                  <a:schemeClr val="tx1">
                    <a:lumMod val="50000"/>
                  </a:schemeClr>
                </a:solidFill>
              </a:rPr>
              <a:t> bank </a:t>
            </a:r>
            <a:r>
              <a:rPr lang="it-IT" sz="1300" dirty="0" err="1">
                <a:solidFill>
                  <a:schemeClr val="tx1">
                    <a:lumMod val="50000"/>
                  </a:schemeClr>
                </a:solidFill>
              </a:rPr>
              <a:t>fees</a:t>
            </a:r>
            <a:endParaRPr lang="it-IT" sz="13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5" name="Rettangolo con angoli arrotondati 14">
            <a:extLst>
              <a:ext uri="{FF2B5EF4-FFF2-40B4-BE49-F238E27FC236}">
                <a16:creationId xmlns:a16="http://schemas.microsoft.com/office/drawing/2014/main" id="{B2FC0412-54A5-9796-5406-2F4F571446B4}"/>
              </a:ext>
            </a:extLst>
          </p:cNvPr>
          <p:cNvSpPr/>
          <p:nvPr/>
        </p:nvSpPr>
        <p:spPr>
          <a:xfrm>
            <a:off x="2510220" y="4753767"/>
            <a:ext cx="3126262" cy="298460"/>
          </a:xfrm>
          <a:prstGeom prst="roundRect">
            <a:avLst/>
          </a:prstGeom>
          <a:solidFill>
            <a:schemeClr val="bg1"/>
          </a:solidFill>
          <a:ln>
            <a:solidFill>
              <a:srgbClr val="00949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dirty="0" err="1">
                <a:solidFill>
                  <a:schemeClr val="tx1">
                    <a:lumMod val="50000"/>
                  </a:schemeClr>
                </a:solidFill>
              </a:rPr>
              <a:t>Reduced</a:t>
            </a:r>
            <a:r>
              <a:rPr lang="it-IT" sz="1400" dirty="0">
                <a:solidFill>
                  <a:schemeClr val="tx1">
                    <a:lumMod val="50000"/>
                  </a:schemeClr>
                </a:solidFill>
              </a:rPr>
              <a:t> financing rate</a:t>
            </a:r>
          </a:p>
        </p:txBody>
      </p:sp>
      <p:sp>
        <p:nvSpPr>
          <p:cNvPr id="16" name="Rettangolo con angoli arrotondati 15">
            <a:extLst>
              <a:ext uri="{FF2B5EF4-FFF2-40B4-BE49-F238E27FC236}">
                <a16:creationId xmlns:a16="http://schemas.microsoft.com/office/drawing/2014/main" id="{A413A789-D023-D442-340E-53D95E1BC4DE}"/>
              </a:ext>
            </a:extLst>
          </p:cNvPr>
          <p:cNvSpPr/>
          <p:nvPr/>
        </p:nvSpPr>
        <p:spPr>
          <a:xfrm>
            <a:off x="2510220" y="5097902"/>
            <a:ext cx="3126262" cy="298460"/>
          </a:xfrm>
          <a:prstGeom prst="roundRect">
            <a:avLst/>
          </a:prstGeom>
          <a:solidFill>
            <a:schemeClr val="bg1"/>
          </a:solidFill>
          <a:ln>
            <a:solidFill>
              <a:srgbClr val="00949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dirty="0" err="1">
                <a:solidFill>
                  <a:schemeClr val="tx1">
                    <a:lumMod val="50000"/>
                  </a:schemeClr>
                </a:solidFill>
              </a:rPr>
              <a:t>Reduced</a:t>
            </a:r>
            <a:r>
              <a:rPr lang="it-IT" sz="1400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it-IT" sz="1400" dirty="0" err="1">
                <a:solidFill>
                  <a:schemeClr val="tx1">
                    <a:lumMod val="50000"/>
                  </a:schemeClr>
                </a:solidFill>
              </a:rPr>
              <a:t>administration</a:t>
            </a:r>
            <a:r>
              <a:rPr lang="it-IT" sz="1400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it-IT" sz="1400" dirty="0" err="1">
                <a:solidFill>
                  <a:schemeClr val="tx1">
                    <a:lumMod val="50000"/>
                  </a:schemeClr>
                </a:solidFill>
              </a:rPr>
              <a:t>fees</a:t>
            </a:r>
            <a:endParaRPr lang="it-IT" sz="14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7" name="Rettangolo con angoli arrotondati 16">
            <a:extLst>
              <a:ext uri="{FF2B5EF4-FFF2-40B4-BE49-F238E27FC236}">
                <a16:creationId xmlns:a16="http://schemas.microsoft.com/office/drawing/2014/main" id="{A956402E-756C-5687-3585-14DDFA47051B}"/>
              </a:ext>
            </a:extLst>
          </p:cNvPr>
          <p:cNvSpPr/>
          <p:nvPr/>
        </p:nvSpPr>
        <p:spPr>
          <a:xfrm>
            <a:off x="2510220" y="5536155"/>
            <a:ext cx="3126262" cy="298460"/>
          </a:xfrm>
          <a:prstGeom prst="roundRect">
            <a:avLst/>
          </a:prstGeom>
          <a:solidFill>
            <a:srgbClr val="E5F6F5"/>
          </a:solidFill>
          <a:ln>
            <a:solidFill>
              <a:srgbClr val="00949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4" name="Rettangolo con angoli arrotondati 23">
            <a:extLst>
              <a:ext uri="{FF2B5EF4-FFF2-40B4-BE49-F238E27FC236}">
                <a16:creationId xmlns:a16="http://schemas.microsoft.com/office/drawing/2014/main" id="{611CBE35-16B6-6634-E3F9-C380D79E9580}"/>
              </a:ext>
            </a:extLst>
          </p:cNvPr>
          <p:cNvSpPr/>
          <p:nvPr/>
        </p:nvSpPr>
        <p:spPr>
          <a:xfrm>
            <a:off x="2510220" y="5880290"/>
            <a:ext cx="3126262" cy="298460"/>
          </a:xfrm>
          <a:prstGeom prst="roundRect">
            <a:avLst/>
          </a:prstGeom>
          <a:solidFill>
            <a:srgbClr val="E5F6F5"/>
          </a:solidFill>
          <a:ln>
            <a:solidFill>
              <a:srgbClr val="00949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31" name="Onda 30">
            <a:extLst>
              <a:ext uri="{FF2B5EF4-FFF2-40B4-BE49-F238E27FC236}">
                <a16:creationId xmlns:a16="http://schemas.microsoft.com/office/drawing/2014/main" id="{2D087DB8-049E-3DEE-BBAE-AECDC43301EB}"/>
              </a:ext>
            </a:extLst>
          </p:cNvPr>
          <p:cNvSpPr/>
          <p:nvPr/>
        </p:nvSpPr>
        <p:spPr>
          <a:xfrm rot="19820728">
            <a:off x="3635350" y="5650790"/>
            <a:ext cx="763985" cy="470944"/>
          </a:xfrm>
          <a:prstGeom prst="wave">
            <a:avLst/>
          </a:prstGeom>
          <a:solidFill>
            <a:srgbClr val="009496"/>
          </a:solidFill>
          <a:ln w="12700" cap="flat" cmpd="sng" algn="ctr">
            <a:solidFill>
              <a:srgbClr val="009496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BE</a:t>
            </a:r>
          </a:p>
        </p:txBody>
      </p:sp>
      <p:sp>
        <p:nvSpPr>
          <p:cNvPr id="32" name="Rettangolo con angoli arrotondati 31">
            <a:extLst>
              <a:ext uri="{FF2B5EF4-FFF2-40B4-BE49-F238E27FC236}">
                <a16:creationId xmlns:a16="http://schemas.microsoft.com/office/drawing/2014/main" id="{B9CBD9F7-A7B1-7DC6-3DA4-FC8EBA336C5C}"/>
              </a:ext>
            </a:extLst>
          </p:cNvPr>
          <p:cNvSpPr/>
          <p:nvPr/>
        </p:nvSpPr>
        <p:spPr>
          <a:xfrm>
            <a:off x="6211333" y="1655802"/>
            <a:ext cx="1853144" cy="679622"/>
          </a:xfrm>
          <a:prstGeom prst="roundRect">
            <a:avLst/>
          </a:prstGeom>
          <a:solidFill>
            <a:srgbClr val="255179"/>
          </a:solidFill>
          <a:ln>
            <a:solidFill>
              <a:srgbClr val="25517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500" b="1" dirty="0" err="1"/>
              <a:t>Fiscozen</a:t>
            </a:r>
            <a:endParaRPr lang="it-IT" sz="1500" b="1" dirty="0"/>
          </a:p>
        </p:txBody>
      </p:sp>
      <p:sp>
        <p:nvSpPr>
          <p:cNvPr id="33" name="Rettangolo con angoli arrotondati 32">
            <a:extLst>
              <a:ext uri="{FF2B5EF4-FFF2-40B4-BE49-F238E27FC236}">
                <a16:creationId xmlns:a16="http://schemas.microsoft.com/office/drawing/2014/main" id="{4FCA9A8D-90F7-6960-F7A1-7381A58A31C7}"/>
              </a:ext>
            </a:extLst>
          </p:cNvPr>
          <p:cNvSpPr/>
          <p:nvPr/>
        </p:nvSpPr>
        <p:spPr>
          <a:xfrm>
            <a:off x="8189845" y="1680518"/>
            <a:ext cx="3204000" cy="298460"/>
          </a:xfrm>
          <a:prstGeom prst="roundRect">
            <a:avLst/>
          </a:prstGeom>
          <a:solidFill>
            <a:schemeClr val="bg1"/>
          </a:solidFill>
          <a:ln>
            <a:solidFill>
              <a:srgbClr val="25517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300" dirty="0">
                <a:solidFill>
                  <a:schemeClr val="tx1">
                    <a:lumMod val="50000"/>
                  </a:schemeClr>
                </a:solidFill>
              </a:rPr>
              <a:t>Online tax </a:t>
            </a:r>
            <a:r>
              <a:rPr lang="it-IT" sz="1300" dirty="0" err="1">
                <a:solidFill>
                  <a:schemeClr val="tx1">
                    <a:lumMod val="50000"/>
                  </a:schemeClr>
                </a:solidFill>
              </a:rPr>
              <a:t>consultancy</a:t>
            </a:r>
            <a:endParaRPr lang="it-IT" sz="13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34" name="Rettangolo con angoli arrotondati 33">
            <a:extLst>
              <a:ext uri="{FF2B5EF4-FFF2-40B4-BE49-F238E27FC236}">
                <a16:creationId xmlns:a16="http://schemas.microsoft.com/office/drawing/2014/main" id="{4E3D9923-A32E-03C9-D35E-F0D568B33F55}"/>
              </a:ext>
            </a:extLst>
          </p:cNvPr>
          <p:cNvSpPr/>
          <p:nvPr/>
        </p:nvSpPr>
        <p:spPr>
          <a:xfrm>
            <a:off x="8189845" y="2024653"/>
            <a:ext cx="3204000" cy="298460"/>
          </a:xfrm>
          <a:prstGeom prst="roundRect">
            <a:avLst/>
          </a:prstGeom>
          <a:solidFill>
            <a:schemeClr val="bg1"/>
          </a:solidFill>
          <a:ln>
            <a:solidFill>
              <a:srgbClr val="25517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300" dirty="0">
                <a:solidFill>
                  <a:schemeClr val="tx1">
                    <a:lumMod val="50000"/>
                  </a:schemeClr>
                </a:solidFill>
              </a:rPr>
              <a:t>100€ discount on </a:t>
            </a:r>
            <a:r>
              <a:rPr lang="it-IT" sz="1300" dirty="0" err="1">
                <a:solidFill>
                  <a:schemeClr val="tx1">
                    <a:lumMod val="50000"/>
                  </a:schemeClr>
                </a:solidFill>
              </a:rPr>
              <a:t>annual</a:t>
            </a:r>
            <a:r>
              <a:rPr lang="it-IT" sz="1300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it-IT" sz="1300" dirty="0" err="1">
                <a:solidFill>
                  <a:schemeClr val="tx1">
                    <a:lumMod val="50000"/>
                  </a:schemeClr>
                </a:solidFill>
              </a:rPr>
              <a:t>subscription</a:t>
            </a:r>
            <a:endParaRPr lang="it-IT" sz="13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35" name="Rettangolo con angoli arrotondati 34">
            <a:extLst>
              <a:ext uri="{FF2B5EF4-FFF2-40B4-BE49-F238E27FC236}">
                <a16:creationId xmlns:a16="http://schemas.microsoft.com/office/drawing/2014/main" id="{6DB72C90-1BD5-BF4D-F73C-F52DC186C741}"/>
              </a:ext>
            </a:extLst>
          </p:cNvPr>
          <p:cNvSpPr/>
          <p:nvPr/>
        </p:nvSpPr>
        <p:spPr>
          <a:xfrm>
            <a:off x="6211333" y="2434893"/>
            <a:ext cx="1853144" cy="679622"/>
          </a:xfrm>
          <a:prstGeom prst="roundRect">
            <a:avLst/>
          </a:prstGeom>
          <a:solidFill>
            <a:srgbClr val="255179"/>
          </a:solidFill>
          <a:ln>
            <a:solidFill>
              <a:srgbClr val="25517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500" b="1" dirty="0"/>
              <a:t>Amex + DAZN</a:t>
            </a:r>
          </a:p>
        </p:txBody>
      </p:sp>
      <p:sp>
        <p:nvSpPr>
          <p:cNvPr id="36" name="Rettangolo con angoli arrotondati 35">
            <a:extLst>
              <a:ext uri="{FF2B5EF4-FFF2-40B4-BE49-F238E27FC236}">
                <a16:creationId xmlns:a16="http://schemas.microsoft.com/office/drawing/2014/main" id="{113F9BEB-D454-A54B-9082-0C82A66EB7C3}"/>
              </a:ext>
            </a:extLst>
          </p:cNvPr>
          <p:cNvSpPr/>
          <p:nvPr/>
        </p:nvSpPr>
        <p:spPr>
          <a:xfrm>
            <a:off x="8189845" y="2459609"/>
            <a:ext cx="3204000" cy="298460"/>
          </a:xfrm>
          <a:prstGeom prst="roundRect">
            <a:avLst/>
          </a:prstGeom>
          <a:solidFill>
            <a:srgbClr val="DFEBF5"/>
          </a:solidFill>
          <a:ln>
            <a:solidFill>
              <a:srgbClr val="25517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300" dirty="0" err="1">
                <a:solidFill>
                  <a:schemeClr val="tx1">
                    <a:lumMod val="50000"/>
                  </a:schemeClr>
                </a:solidFill>
              </a:rPr>
              <a:t>Requirements</a:t>
            </a:r>
            <a:r>
              <a:rPr lang="it-IT" sz="1300" dirty="0">
                <a:solidFill>
                  <a:schemeClr val="tx1">
                    <a:lumMod val="50000"/>
                  </a:schemeClr>
                </a:solidFill>
              </a:rPr>
              <a:t>: new b. account and card</a:t>
            </a:r>
          </a:p>
        </p:txBody>
      </p:sp>
      <p:sp>
        <p:nvSpPr>
          <p:cNvPr id="37" name="Rettangolo con angoli arrotondati 36">
            <a:extLst>
              <a:ext uri="{FF2B5EF4-FFF2-40B4-BE49-F238E27FC236}">
                <a16:creationId xmlns:a16="http://schemas.microsoft.com/office/drawing/2014/main" id="{CDCC78DB-4B1B-7117-8375-DEAC60151338}"/>
              </a:ext>
            </a:extLst>
          </p:cNvPr>
          <p:cNvSpPr/>
          <p:nvPr/>
        </p:nvSpPr>
        <p:spPr>
          <a:xfrm>
            <a:off x="8189845" y="2803744"/>
            <a:ext cx="3204000" cy="298460"/>
          </a:xfrm>
          <a:prstGeom prst="roundRect">
            <a:avLst/>
          </a:prstGeom>
          <a:solidFill>
            <a:srgbClr val="DFEBF5"/>
          </a:solidFill>
          <a:ln>
            <a:solidFill>
              <a:srgbClr val="25517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300" dirty="0">
                <a:solidFill>
                  <a:schemeClr val="tx1">
                    <a:lumMod val="50000"/>
                  </a:schemeClr>
                </a:solidFill>
              </a:rPr>
              <a:t>3 </a:t>
            </a:r>
            <a:r>
              <a:rPr lang="it-IT" sz="1300" dirty="0" err="1">
                <a:solidFill>
                  <a:schemeClr val="tx1">
                    <a:lumMod val="50000"/>
                  </a:schemeClr>
                </a:solidFill>
              </a:rPr>
              <a:t>months</a:t>
            </a:r>
            <a:r>
              <a:rPr lang="it-IT" sz="1300" dirty="0">
                <a:solidFill>
                  <a:schemeClr val="tx1">
                    <a:lumMod val="50000"/>
                  </a:schemeClr>
                </a:solidFill>
              </a:rPr>
              <a:t> of </a:t>
            </a:r>
            <a:r>
              <a:rPr lang="it-IT" sz="1300" dirty="0" err="1">
                <a:solidFill>
                  <a:schemeClr val="tx1">
                    <a:lumMod val="50000"/>
                  </a:schemeClr>
                </a:solidFill>
              </a:rPr>
              <a:t>subscription</a:t>
            </a:r>
            <a:r>
              <a:rPr lang="it-IT" sz="1300" dirty="0">
                <a:solidFill>
                  <a:schemeClr val="tx1">
                    <a:lumMod val="50000"/>
                  </a:schemeClr>
                </a:solidFill>
              </a:rPr>
              <a:t> free</a:t>
            </a:r>
          </a:p>
        </p:txBody>
      </p:sp>
      <p:sp>
        <p:nvSpPr>
          <p:cNvPr id="4" name="Ovale 3">
            <a:extLst>
              <a:ext uri="{FF2B5EF4-FFF2-40B4-BE49-F238E27FC236}">
                <a16:creationId xmlns:a16="http://schemas.microsoft.com/office/drawing/2014/main" id="{93C1DF2E-B8AC-E04D-502B-5D6D7F77D374}"/>
              </a:ext>
            </a:extLst>
          </p:cNvPr>
          <p:cNvSpPr/>
          <p:nvPr/>
        </p:nvSpPr>
        <p:spPr>
          <a:xfrm>
            <a:off x="6202961" y="4674363"/>
            <a:ext cx="1558804" cy="774791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 err="1"/>
              <a:t>February</a:t>
            </a:r>
            <a:endParaRPr lang="it-IT" dirty="0"/>
          </a:p>
        </p:txBody>
      </p:sp>
      <p:sp>
        <p:nvSpPr>
          <p:cNvPr id="5" name="Ovale 4">
            <a:extLst>
              <a:ext uri="{FF2B5EF4-FFF2-40B4-BE49-F238E27FC236}">
                <a16:creationId xmlns:a16="http://schemas.microsoft.com/office/drawing/2014/main" id="{578913D8-D729-B2AA-0603-F44792C2ABFF}"/>
              </a:ext>
            </a:extLst>
          </p:cNvPr>
          <p:cNvSpPr/>
          <p:nvPr/>
        </p:nvSpPr>
        <p:spPr>
          <a:xfrm>
            <a:off x="6202961" y="5470793"/>
            <a:ext cx="1558804" cy="774791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March</a:t>
            </a:r>
          </a:p>
        </p:txBody>
      </p:sp>
      <p:sp>
        <p:nvSpPr>
          <p:cNvPr id="29" name="Freccia a gallone 28">
            <a:extLst>
              <a:ext uri="{FF2B5EF4-FFF2-40B4-BE49-F238E27FC236}">
                <a16:creationId xmlns:a16="http://schemas.microsoft.com/office/drawing/2014/main" id="{E5A29A99-B57E-A767-1406-3D4BEB220A0A}"/>
              </a:ext>
            </a:extLst>
          </p:cNvPr>
          <p:cNvSpPr/>
          <p:nvPr/>
        </p:nvSpPr>
        <p:spPr>
          <a:xfrm>
            <a:off x="7819618" y="4724446"/>
            <a:ext cx="315437" cy="679622"/>
          </a:xfrm>
          <a:prstGeom prst="chevro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tx1"/>
              </a:solidFill>
            </a:endParaRPr>
          </a:p>
        </p:txBody>
      </p:sp>
      <p:sp>
        <p:nvSpPr>
          <p:cNvPr id="43" name="Freccia a gallone 42">
            <a:extLst>
              <a:ext uri="{FF2B5EF4-FFF2-40B4-BE49-F238E27FC236}">
                <a16:creationId xmlns:a16="http://schemas.microsoft.com/office/drawing/2014/main" id="{81C2483B-734C-F808-BF6F-F147974BF1E4}"/>
              </a:ext>
            </a:extLst>
          </p:cNvPr>
          <p:cNvSpPr/>
          <p:nvPr/>
        </p:nvSpPr>
        <p:spPr>
          <a:xfrm>
            <a:off x="7819618" y="5511863"/>
            <a:ext cx="315437" cy="679622"/>
          </a:xfrm>
          <a:prstGeom prst="chevro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tx1"/>
              </a:solidFill>
            </a:endParaRPr>
          </a:p>
        </p:txBody>
      </p:sp>
      <p:sp>
        <p:nvSpPr>
          <p:cNvPr id="45" name="Rettangolo con angoli arrotondati 44">
            <a:extLst>
              <a:ext uri="{FF2B5EF4-FFF2-40B4-BE49-F238E27FC236}">
                <a16:creationId xmlns:a16="http://schemas.microsoft.com/office/drawing/2014/main" id="{8FB907F0-CE97-1FE1-88D3-C095C0D89F27}"/>
              </a:ext>
            </a:extLst>
          </p:cNvPr>
          <p:cNvSpPr/>
          <p:nvPr/>
        </p:nvSpPr>
        <p:spPr>
          <a:xfrm>
            <a:off x="6211333" y="4213856"/>
            <a:ext cx="5140411" cy="390308"/>
          </a:xfrm>
          <a:prstGeom prst="roundRect">
            <a:avLst/>
          </a:prstGeom>
          <a:solidFill>
            <a:srgbClr val="006A4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dirty="0"/>
              <a:t>HOW TO COMMUNICATE THEM</a:t>
            </a:r>
          </a:p>
        </p:txBody>
      </p:sp>
      <p:sp>
        <p:nvSpPr>
          <p:cNvPr id="46" name="Rettangolo con angoli arrotondati 45">
            <a:extLst>
              <a:ext uri="{FF2B5EF4-FFF2-40B4-BE49-F238E27FC236}">
                <a16:creationId xmlns:a16="http://schemas.microsoft.com/office/drawing/2014/main" id="{9549371B-9C70-681D-C58C-F9B3F865C4B6}"/>
              </a:ext>
            </a:extLst>
          </p:cNvPr>
          <p:cNvSpPr/>
          <p:nvPr/>
        </p:nvSpPr>
        <p:spPr>
          <a:xfrm>
            <a:off x="8225482" y="4741400"/>
            <a:ext cx="3126262" cy="298460"/>
          </a:xfrm>
          <a:prstGeom prst="roundRect">
            <a:avLst/>
          </a:prstGeom>
          <a:solidFill>
            <a:schemeClr val="bg1"/>
          </a:solidFill>
          <a:ln>
            <a:solidFill>
              <a:srgbClr val="006A4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300" dirty="0" err="1">
                <a:solidFill>
                  <a:schemeClr val="tx1">
                    <a:lumMod val="50000"/>
                  </a:schemeClr>
                </a:solidFill>
              </a:rPr>
              <a:t>Internal</a:t>
            </a:r>
            <a:r>
              <a:rPr lang="it-IT" sz="1300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it-IT" sz="1300" dirty="0" err="1">
                <a:solidFill>
                  <a:schemeClr val="tx1">
                    <a:lumMod val="50000"/>
                  </a:schemeClr>
                </a:solidFill>
              </a:rPr>
              <a:t>communication</a:t>
            </a:r>
            <a:r>
              <a:rPr lang="it-IT" sz="1300" dirty="0">
                <a:solidFill>
                  <a:schemeClr val="tx1">
                    <a:lumMod val="50000"/>
                  </a:schemeClr>
                </a:solidFill>
              </a:rPr>
              <a:t> plan</a:t>
            </a:r>
          </a:p>
        </p:txBody>
      </p:sp>
      <p:sp>
        <p:nvSpPr>
          <p:cNvPr id="47" name="Rettangolo con angoli arrotondati 46">
            <a:extLst>
              <a:ext uri="{FF2B5EF4-FFF2-40B4-BE49-F238E27FC236}">
                <a16:creationId xmlns:a16="http://schemas.microsoft.com/office/drawing/2014/main" id="{6F0B0044-DB4C-964D-BC05-EBBC376670C3}"/>
              </a:ext>
            </a:extLst>
          </p:cNvPr>
          <p:cNvSpPr/>
          <p:nvPr/>
        </p:nvSpPr>
        <p:spPr>
          <a:xfrm>
            <a:off x="8225482" y="5106801"/>
            <a:ext cx="3126262" cy="298460"/>
          </a:xfrm>
          <a:prstGeom prst="roundRect">
            <a:avLst/>
          </a:prstGeom>
          <a:solidFill>
            <a:schemeClr val="bg1"/>
          </a:solidFill>
          <a:ln>
            <a:solidFill>
              <a:srgbClr val="006A4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300" dirty="0">
                <a:solidFill>
                  <a:schemeClr val="tx1">
                    <a:lumMod val="50000"/>
                  </a:schemeClr>
                </a:solidFill>
              </a:rPr>
              <a:t>CAI website, </a:t>
            </a:r>
            <a:r>
              <a:rPr lang="it-IT" sz="1300" dirty="0" err="1">
                <a:solidFill>
                  <a:schemeClr val="tx1">
                    <a:lumMod val="50000"/>
                  </a:schemeClr>
                </a:solidFill>
              </a:rPr>
              <a:t>customized</a:t>
            </a:r>
            <a:r>
              <a:rPr lang="it-IT" sz="1300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it-IT" sz="1300" dirty="0" err="1">
                <a:solidFill>
                  <a:schemeClr val="tx1">
                    <a:lumMod val="50000"/>
                  </a:schemeClr>
                </a:solidFill>
              </a:rPr>
              <a:t>homebanking</a:t>
            </a:r>
            <a:endParaRPr lang="it-IT" sz="13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48" name="Rettangolo con angoli arrotondati 47">
            <a:extLst>
              <a:ext uri="{FF2B5EF4-FFF2-40B4-BE49-F238E27FC236}">
                <a16:creationId xmlns:a16="http://schemas.microsoft.com/office/drawing/2014/main" id="{BDBA44D7-067A-667A-E77B-62116EE1E5AC}"/>
              </a:ext>
            </a:extLst>
          </p:cNvPr>
          <p:cNvSpPr/>
          <p:nvPr/>
        </p:nvSpPr>
        <p:spPr>
          <a:xfrm>
            <a:off x="8225482" y="5517825"/>
            <a:ext cx="3126262" cy="298460"/>
          </a:xfrm>
          <a:prstGeom prst="roundRect">
            <a:avLst/>
          </a:prstGeom>
          <a:solidFill>
            <a:srgbClr val="E1FFF7"/>
          </a:solidFill>
          <a:ln>
            <a:solidFill>
              <a:srgbClr val="006A4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300" dirty="0" err="1">
                <a:solidFill>
                  <a:schemeClr val="tx1">
                    <a:lumMod val="50000"/>
                  </a:schemeClr>
                </a:solidFill>
              </a:rPr>
              <a:t>External</a:t>
            </a:r>
            <a:r>
              <a:rPr lang="it-IT" sz="1300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it-IT" sz="1300" dirty="0" err="1">
                <a:solidFill>
                  <a:schemeClr val="tx1">
                    <a:lumMod val="50000"/>
                  </a:schemeClr>
                </a:solidFill>
              </a:rPr>
              <a:t>communication</a:t>
            </a:r>
            <a:r>
              <a:rPr lang="it-IT" sz="1300" dirty="0">
                <a:solidFill>
                  <a:schemeClr val="tx1">
                    <a:lumMod val="50000"/>
                  </a:schemeClr>
                </a:solidFill>
              </a:rPr>
              <a:t> plan</a:t>
            </a:r>
          </a:p>
        </p:txBody>
      </p:sp>
      <p:sp>
        <p:nvSpPr>
          <p:cNvPr id="49" name="Rettangolo con angoli arrotondati 48">
            <a:extLst>
              <a:ext uri="{FF2B5EF4-FFF2-40B4-BE49-F238E27FC236}">
                <a16:creationId xmlns:a16="http://schemas.microsoft.com/office/drawing/2014/main" id="{38F53CDE-A10D-71DF-100F-D14E12F07274}"/>
              </a:ext>
            </a:extLst>
          </p:cNvPr>
          <p:cNvSpPr/>
          <p:nvPr/>
        </p:nvSpPr>
        <p:spPr>
          <a:xfrm>
            <a:off x="8225482" y="5883226"/>
            <a:ext cx="3126262" cy="298460"/>
          </a:xfrm>
          <a:prstGeom prst="roundRect">
            <a:avLst/>
          </a:prstGeom>
          <a:solidFill>
            <a:srgbClr val="E1FFF7"/>
          </a:solidFill>
          <a:ln>
            <a:solidFill>
              <a:srgbClr val="006A4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300" dirty="0">
                <a:solidFill>
                  <a:schemeClr val="tx1">
                    <a:lumMod val="50000"/>
                  </a:schemeClr>
                </a:solidFill>
              </a:rPr>
              <a:t>Meetings with commercial network</a:t>
            </a:r>
          </a:p>
        </p:txBody>
      </p:sp>
    </p:spTree>
    <p:extLst>
      <p:ext uri="{BB962C8B-B14F-4D97-AF65-F5344CB8AC3E}">
        <p14:creationId xmlns:p14="http://schemas.microsoft.com/office/powerpoint/2010/main" val="333567711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C81AC7-3E0D-3C18-5151-B2B861A65A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tangolo arrotondato 36">
            <a:extLst>
              <a:ext uri="{FF2B5EF4-FFF2-40B4-BE49-F238E27FC236}">
                <a16:creationId xmlns:a16="http://schemas.microsoft.com/office/drawing/2014/main" id="{F3E36ED4-BB69-0FA8-2D1D-E835BA1C3DC7}"/>
              </a:ext>
            </a:extLst>
          </p:cNvPr>
          <p:cNvSpPr/>
          <p:nvPr/>
        </p:nvSpPr>
        <p:spPr>
          <a:xfrm>
            <a:off x="335520" y="1195422"/>
            <a:ext cx="1440000" cy="1008112"/>
          </a:xfrm>
          <a:prstGeom prst="roundRect">
            <a:avLst/>
          </a:prstGeom>
          <a:solidFill>
            <a:srgbClr val="00999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lvl="1" algn="ctr"/>
            <a:r>
              <a:rPr lang="en-GB" altLang="it-IT" sz="1400" dirty="0">
                <a:solidFill>
                  <a:srgbClr val="FFFFFF"/>
                </a:solidFill>
                <a:latin typeface="Aptos Narrow" panose="020B0004020202020204" pitchFamily="34" charset="0"/>
                <a:cs typeface="Arial" panose="020B0604020202020204" pitchFamily="34" charset="0"/>
                <a:sym typeface="Apex New Book" charset="0"/>
              </a:rPr>
              <a:t>SCOPE AND OBJECTIVES</a:t>
            </a:r>
          </a:p>
        </p:txBody>
      </p:sp>
      <p:sp>
        <p:nvSpPr>
          <p:cNvPr id="43" name="Rectangle 2">
            <a:extLst>
              <a:ext uri="{FF2B5EF4-FFF2-40B4-BE49-F238E27FC236}">
                <a16:creationId xmlns:a16="http://schemas.microsoft.com/office/drawing/2014/main" id="{B91C541B-9383-0388-7534-C98F97F29555}"/>
              </a:ext>
            </a:extLst>
          </p:cNvPr>
          <p:cNvSpPr/>
          <p:nvPr/>
        </p:nvSpPr>
        <p:spPr>
          <a:xfrm>
            <a:off x="335520" y="4578932"/>
            <a:ext cx="1440000" cy="459843"/>
          </a:xfrm>
          <a:prstGeom prst="roundRect">
            <a:avLst/>
          </a:prstGeom>
          <a:solidFill>
            <a:srgbClr val="00999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>
              <a:buSzPct val="100000"/>
            </a:pPr>
            <a:r>
              <a:rPr lang="en-GB" sz="1400" dirty="0">
                <a:solidFill>
                  <a:prstClr val="white"/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BUSINESS CASE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8175FDA1-241F-BF79-3F0D-CF681C3DC26E}"/>
              </a:ext>
            </a:extLst>
          </p:cNvPr>
          <p:cNvSpPr/>
          <p:nvPr/>
        </p:nvSpPr>
        <p:spPr>
          <a:xfrm>
            <a:off x="335520" y="6013009"/>
            <a:ext cx="1440000" cy="345753"/>
          </a:xfrm>
          <a:prstGeom prst="roundRect">
            <a:avLst/>
          </a:prstGeom>
          <a:solidFill>
            <a:srgbClr val="00999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>
              <a:buSzPct val="100000"/>
            </a:pPr>
            <a:r>
              <a:rPr lang="en-GB" sz="1400" dirty="0">
                <a:solidFill>
                  <a:prstClr val="white"/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TOTAL AMOUNT</a:t>
            </a:r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BD4CA566-F93E-2BC5-B2ED-4FF60833265B}"/>
              </a:ext>
            </a:extLst>
          </p:cNvPr>
          <p:cNvSpPr/>
          <p:nvPr/>
        </p:nvSpPr>
        <p:spPr>
          <a:xfrm>
            <a:off x="335520" y="3997226"/>
            <a:ext cx="1440000" cy="386762"/>
          </a:xfrm>
          <a:prstGeom prst="roundRect">
            <a:avLst/>
          </a:prstGeom>
          <a:solidFill>
            <a:srgbClr val="00999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>
              <a:buSzPct val="100000"/>
            </a:pPr>
            <a:r>
              <a:rPr lang="en-GB" sz="1400" dirty="0">
                <a:solidFill>
                  <a:prstClr val="white"/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TEAM GOVERNANCE</a:t>
            </a:r>
          </a:p>
        </p:txBody>
      </p:sp>
      <p:sp>
        <p:nvSpPr>
          <p:cNvPr id="12" name="Rettangolo arrotondato 36">
            <a:extLst>
              <a:ext uri="{FF2B5EF4-FFF2-40B4-BE49-F238E27FC236}">
                <a16:creationId xmlns:a16="http://schemas.microsoft.com/office/drawing/2014/main" id="{3CBB4A6D-D1A6-589C-9232-103D1D5209A2}"/>
              </a:ext>
            </a:extLst>
          </p:cNvPr>
          <p:cNvSpPr/>
          <p:nvPr/>
        </p:nvSpPr>
        <p:spPr>
          <a:xfrm>
            <a:off x="1919590" y="5969653"/>
            <a:ext cx="10004805" cy="439588"/>
          </a:xfrm>
          <a:prstGeom prst="rect">
            <a:avLst/>
          </a:prstGeom>
          <a:noFill/>
          <a:ln w="12700">
            <a:noFill/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/>
            <a:r>
              <a:rPr lang="en-GB" sz="1100" dirty="0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The overall cost over the ‘25-’27 plan period is 5 million€, of which 3,9 million€ is CAPEX and 1,1 million€ is OPEX: the 2025 approved quota is 225 k€ for the inception phase; the 2026 quota is 2,6 million€ CAPEX and 381 k€ OPEX </a:t>
            </a:r>
          </a:p>
          <a:p>
            <a:pPr marL="0" lvl="1"/>
            <a:endParaRPr lang="en-GB" sz="1100" dirty="0">
              <a:solidFill>
                <a:schemeClr val="tx1">
                  <a:lumMod val="75000"/>
                </a:schemeClr>
              </a:solidFill>
              <a:latin typeface="Aptos Narrow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ttangolo arrotondato 36">
            <a:extLst>
              <a:ext uri="{FF2B5EF4-FFF2-40B4-BE49-F238E27FC236}">
                <a16:creationId xmlns:a16="http://schemas.microsoft.com/office/drawing/2014/main" id="{2877AFD1-2FD5-28E9-230C-4B29329488BC}"/>
              </a:ext>
            </a:extLst>
          </p:cNvPr>
          <p:cNvSpPr/>
          <p:nvPr/>
        </p:nvSpPr>
        <p:spPr>
          <a:xfrm>
            <a:off x="1919591" y="3959194"/>
            <a:ext cx="10004805" cy="439588"/>
          </a:xfrm>
          <a:prstGeom prst="rect">
            <a:avLst/>
          </a:prstGeom>
          <a:noFill/>
          <a:ln w="12700">
            <a:noFill/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>
              <a:spcBef>
                <a:spcPts val="400"/>
              </a:spcBef>
              <a:spcAft>
                <a:spcPts val="400"/>
              </a:spcAft>
            </a:pPr>
            <a:r>
              <a:rPr lang="en-GB" sz="1100" dirty="0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With </a:t>
            </a:r>
            <a:r>
              <a:rPr lang="en-GB" sz="1100" b="1" dirty="0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five work areas</a:t>
            </a:r>
            <a:r>
              <a:rPr lang="en-GB" sz="1100" dirty="0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, the platform's development is a single thread and follows an agile methodology. The platform is sponsored by the Deputy General Manager Retail and Digital and a coordination board has been established to summarize the activities of the five work areas.</a:t>
            </a:r>
          </a:p>
        </p:txBody>
      </p:sp>
      <p:sp>
        <p:nvSpPr>
          <p:cNvPr id="44" name="Rettangolo arrotondato 36">
            <a:extLst>
              <a:ext uri="{FF2B5EF4-FFF2-40B4-BE49-F238E27FC236}">
                <a16:creationId xmlns:a16="http://schemas.microsoft.com/office/drawing/2014/main" id="{2A9B4203-D05A-2305-FD21-E93299447717}"/>
              </a:ext>
            </a:extLst>
          </p:cNvPr>
          <p:cNvSpPr/>
          <p:nvPr/>
        </p:nvSpPr>
        <p:spPr>
          <a:xfrm>
            <a:off x="1919591" y="4648379"/>
            <a:ext cx="10004805" cy="310124"/>
          </a:xfrm>
          <a:prstGeom prst="rect">
            <a:avLst/>
          </a:prstGeom>
          <a:noFill/>
          <a:ln w="12700">
            <a:noFill/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>
              <a:spcBef>
                <a:spcPts val="400"/>
              </a:spcBef>
              <a:spcAft>
                <a:spcPts val="400"/>
              </a:spcAft>
            </a:pPr>
            <a:r>
              <a:rPr lang="en-GB" sz="1100" dirty="0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With the implementation of the Partners’ Platform, an increase in loan volumes of approximately </a:t>
            </a:r>
            <a:r>
              <a:rPr lang="en-GB" sz="1100" b="1" dirty="0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€1,1 million </a:t>
            </a:r>
            <a:r>
              <a:rPr lang="en-GB" sz="1100" dirty="0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(combined between the Bank and </a:t>
            </a:r>
            <a:r>
              <a:rPr lang="en-GB" sz="1100" dirty="0" err="1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Calit</a:t>
            </a:r>
            <a:r>
              <a:rPr lang="en-GB" sz="1100" dirty="0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 over 5 years) is estimated, with an overall pre-tax operating profit of approximately </a:t>
            </a:r>
            <a:r>
              <a:rPr lang="en-GB" sz="1100" b="1" dirty="0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€17 million</a:t>
            </a:r>
            <a:r>
              <a:rPr lang="en-GB" sz="1100" dirty="0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9E4376AB-8171-BF80-5484-1B96BED96644}"/>
              </a:ext>
            </a:extLst>
          </p:cNvPr>
          <p:cNvSpPr txBox="1"/>
          <p:nvPr/>
        </p:nvSpPr>
        <p:spPr>
          <a:xfrm>
            <a:off x="1923842" y="2319821"/>
            <a:ext cx="10004805" cy="15234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300"/>
              </a:spcAft>
            </a:pPr>
            <a:r>
              <a:rPr lang="en-GB" sz="1100" dirty="0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There will be </a:t>
            </a:r>
            <a:r>
              <a:rPr lang="en-GB" sz="1100" b="1" dirty="0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5 phases to release the fully operational platform</a:t>
            </a:r>
            <a:r>
              <a:rPr lang="en-GB" sz="1100" dirty="0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. </a:t>
            </a:r>
          </a:p>
          <a:p>
            <a:pPr>
              <a:spcAft>
                <a:spcPts val="300"/>
              </a:spcAft>
            </a:pPr>
            <a:r>
              <a:rPr lang="en-GB" sz="1100" dirty="0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The implementation of the partners’ platform will enable the development, in the initial phase, of </a:t>
            </a:r>
            <a:r>
              <a:rPr lang="en-GB" sz="1100" b="1" dirty="0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intermediary services for Agri-Agro customers </a:t>
            </a:r>
            <a:r>
              <a:rPr lang="en-GB" sz="1100" dirty="0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(Agri </a:t>
            </a:r>
            <a:r>
              <a:rPr lang="en-GB" sz="1100" dirty="0" err="1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Agro</a:t>
            </a:r>
            <a:r>
              <a:rPr lang="en-GB" sz="1100" dirty="0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 Vendors) through new distribution and development agreements with other retailers. By the end of 2026, the credit assessment process for selected customers is expected to be automated with the integration of a deliberative </a:t>
            </a:r>
            <a:r>
              <a:rPr lang="en-GB" sz="1100" b="1" dirty="0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credit scoring system </a:t>
            </a:r>
            <a:r>
              <a:rPr lang="en-GB" sz="1100" dirty="0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(with cut-off points for amount thresholds and prudential selection criteria). In the third phase, the offer will be extended to all Business products, with the </a:t>
            </a:r>
            <a:r>
              <a:rPr lang="en-GB" sz="1100" b="1" dirty="0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integration of short-term products and mortgage loans</a:t>
            </a:r>
            <a:r>
              <a:rPr lang="en-GB" sz="1100" dirty="0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, and to state guarantees, also developing </a:t>
            </a:r>
            <a:r>
              <a:rPr lang="en-GB" sz="1100" b="1" dirty="0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new Vendors (non-Agri), </a:t>
            </a:r>
            <a:r>
              <a:rPr lang="en-GB" sz="1100" b="1" dirty="0" err="1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Confidi</a:t>
            </a:r>
            <a:r>
              <a:rPr lang="en-GB" sz="1100" b="1" dirty="0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 and Credit Intermediaries.</a:t>
            </a:r>
            <a:r>
              <a:rPr lang="en-GB" sz="1100" dirty="0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 Once the financing platform is complete, it will </a:t>
            </a:r>
            <a:r>
              <a:rPr lang="en-GB" sz="1100" b="1" dirty="0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be integrated with the leasing offer</a:t>
            </a:r>
            <a:r>
              <a:rPr lang="en-GB" sz="1100" dirty="0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 in synergy with </a:t>
            </a:r>
            <a:r>
              <a:rPr lang="en-GB" sz="1100" dirty="0" err="1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Calit</a:t>
            </a:r>
            <a:r>
              <a:rPr lang="en-GB" sz="1100" dirty="0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. The project will conclude with the </a:t>
            </a:r>
            <a:r>
              <a:rPr lang="en-GB" sz="1100" b="1" dirty="0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extension</a:t>
            </a:r>
            <a:r>
              <a:rPr lang="en-GB" sz="1100" dirty="0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 of the platform's functionality to the </a:t>
            </a:r>
            <a:r>
              <a:rPr lang="en-GB" sz="1100" b="1" dirty="0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Bank's commercial network</a:t>
            </a:r>
            <a:r>
              <a:rPr lang="en-GB" sz="1100" dirty="0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Aft>
                <a:spcPts val="300"/>
              </a:spcAft>
            </a:pPr>
            <a:r>
              <a:rPr lang="en-GB" sz="1100" dirty="0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In 2025 the operational group has worked on the </a:t>
            </a:r>
            <a:r>
              <a:rPr lang="en-GB" sz="1100" b="1" dirty="0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Inception Phase</a:t>
            </a:r>
            <a:r>
              <a:rPr lang="en-GB" sz="1100" dirty="0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, to carry on the setup design and to deepen the preliminary technical and functional analyses.</a:t>
            </a:r>
          </a:p>
        </p:txBody>
      </p:sp>
      <p:sp>
        <p:nvSpPr>
          <p:cNvPr id="16" name="Rettangolo arrotondato 36">
            <a:extLst>
              <a:ext uri="{FF2B5EF4-FFF2-40B4-BE49-F238E27FC236}">
                <a16:creationId xmlns:a16="http://schemas.microsoft.com/office/drawing/2014/main" id="{E59BCDE9-8BCA-64DF-280A-5F0E7AF2D1B8}"/>
              </a:ext>
            </a:extLst>
          </p:cNvPr>
          <p:cNvSpPr/>
          <p:nvPr/>
        </p:nvSpPr>
        <p:spPr>
          <a:xfrm>
            <a:off x="335520" y="2357255"/>
            <a:ext cx="1440000" cy="1412190"/>
          </a:xfrm>
          <a:prstGeom prst="roundRect">
            <a:avLst/>
          </a:prstGeom>
          <a:solidFill>
            <a:srgbClr val="00999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lvl="1" algn="ctr"/>
            <a:r>
              <a:rPr lang="en-GB" altLang="it-IT" sz="1400" dirty="0">
                <a:solidFill>
                  <a:srgbClr val="FFFFFF"/>
                </a:solidFill>
                <a:latin typeface="Aptos Narrow" panose="020B0004020202020204" pitchFamily="34" charset="0"/>
                <a:cs typeface="Arial" panose="020B0604020202020204" pitchFamily="34" charset="0"/>
                <a:sym typeface="Apex New Book" charset="0"/>
              </a:rPr>
              <a:t>IMPLEMENTATION PHASES</a:t>
            </a:r>
          </a:p>
        </p:txBody>
      </p:sp>
      <p:sp>
        <p:nvSpPr>
          <p:cNvPr id="18" name="Rectangle 2">
            <a:extLst>
              <a:ext uri="{FF2B5EF4-FFF2-40B4-BE49-F238E27FC236}">
                <a16:creationId xmlns:a16="http://schemas.microsoft.com/office/drawing/2014/main" id="{9AF2F58A-08FE-6D80-0C65-53FD6329682F}"/>
              </a:ext>
            </a:extLst>
          </p:cNvPr>
          <p:cNvSpPr/>
          <p:nvPr/>
        </p:nvSpPr>
        <p:spPr>
          <a:xfrm>
            <a:off x="335520" y="5176404"/>
            <a:ext cx="1440000" cy="640474"/>
          </a:xfrm>
          <a:prstGeom prst="roundRect">
            <a:avLst/>
          </a:prstGeom>
          <a:solidFill>
            <a:srgbClr val="00999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>
              <a:buSzPct val="100000"/>
            </a:pPr>
            <a:r>
              <a:rPr lang="en-GB" sz="1400" dirty="0">
                <a:solidFill>
                  <a:prstClr val="white"/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SUPPLIER</a:t>
            </a:r>
          </a:p>
        </p:txBody>
      </p:sp>
      <p:sp>
        <p:nvSpPr>
          <p:cNvPr id="2" name="Rettangolo 1">
            <a:extLst>
              <a:ext uri="{FF2B5EF4-FFF2-40B4-BE49-F238E27FC236}">
                <a16:creationId xmlns:a16="http://schemas.microsoft.com/office/drawing/2014/main" id="{25278396-F3B4-503F-6CF9-BB58A2A477CF}"/>
              </a:ext>
            </a:extLst>
          </p:cNvPr>
          <p:cNvSpPr/>
          <p:nvPr/>
        </p:nvSpPr>
        <p:spPr>
          <a:xfrm>
            <a:off x="240166" y="1148688"/>
            <a:ext cx="11684228" cy="1106851"/>
          </a:xfrm>
          <a:prstGeom prst="rect">
            <a:avLst/>
          </a:prstGeom>
          <a:noFill/>
          <a:ln>
            <a:solidFill>
              <a:srgbClr val="449A9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dirty="0">
              <a:latin typeface="Aptos Narrow" panose="020B0004020202020204" pitchFamily="34" charset="0"/>
            </a:endParaRPr>
          </a:p>
        </p:txBody>
      </p:sp>
      <p:sp>
        <p:nvSpPr>
          <p:cNvPr id="5" name="Rettangolo 4">
            <a:extLst>
              <a:ext uri="{FF2B5EF4-FFF2-40B4-BE49-F238E27FC236}">
                <a16:creationId xmlns:a16="http://schemas.microsoft.com/office/drawing/2014/main" id="{B6CD1BD0-BA5C-E1AA-58FA-439EAB9CDB68}"/>
              </a:ext>
            </a:extLst>
          </p:cNvPr>
          <p:cNvSpPr/>
          <p:nvPr/>
        </p:nvSpPr>
        <p:spPr>
          <a:xfrm>
            <a:off x="244419" y="2310888"/>
            <a:ext cx="11684228" cy="1504178"/>
          </a:xfrm>
          <a:prstGeom prst="rect">
            <a:avLst/>
          </a:prstGeom>
          <a:noFill/>
          <a:ln>
            <a:solidFill>
              <a:srgbClr val="449A9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dirty="0">
              <a:latin typeface="Aptos Narrow" panose="020B0004020202020204" pitchFamily="34" charset="0"/>
            </a:endParaRPr>
          </a:p>
        </p:txBody>
      </p:sp>
      <p:sp>
        <p:nvSpPr>
          <p:cNvPr id="10" name="Rettangolo 9">
            <a:extLst>
              <a:ext uri="{FF2B5EF4-FFF2-40B4-BE49-F238E27FC236}">
                <a16:creationId xmlns:a16="http://schemas.microsoft.com/office/drawing/2014/main" id="{8AFED12C-2F89-C45C-4AE0-43C08CD75C91}"/>
              </a:ext>
            </a:extLst>
          </p:cNvPr>
          <p:cNvSpPr/>
          <p:nvPr/>
        </p:nvSpPr>
        <p:spPr>
          <a:xfrm>
            <a:off x="240167" y="5142399"/>
            <a:ext cx="11684228" cy="723336"/>
          </a:xfrm>
          <a:prstGeom prst="rect">
            <a:avLst/>
          </a:prstGeom>
          <a:noFill/>
          <a:ln>
            <a:solidFill>
              <a:srgbClr val="449A9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dirty="0">
              <a:latin typeface="Aptos Narrow" panose="020B0004020202020204" pitchFamily="34" charset="0"/>
            </a:endParaRPr>
          </a:p>
        </p:txBody>
      </p:sp>
      <p:sp>
        <p:nvSpPr>
          <p:cNvPr id="14" name="Rettangolo 13">
            <a:extLst>
              <a:ext uri="{FF2B5EF4-FFF2-40B4-BE49-F238E27FC236}">
                <a16:creationId xmlns:a16="http://schemas.microsoft.com/office/drawing/2014/main" id="{DC7CC9EB-3917-903F-B1FC-8DF76FE8FE1F}"/>
              </a:ext>
            </a:extLst>
          </p:cNvPr>
          <p:cNvSpPr/>
          <p:nvPr/>
        </p:nvSpPr>
        <p:spPr>
          <a:xfrm>
            <a:off x="240167" y="5923328"/>
            <a:ext cx="11684228" cy="530008"/>
          </a:xfrm>
          <a:prstGeom prst="rect">
            <a:avLst/>
          </a:prstGeom>
          <a:noFill/>
          <a:ln>
            <a:solidFill>
              <a:srgbClr val="449A9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dirty="0">
              <a:latin typeface="Aptos Narrow" panose="020B0004020202020204" pitchFamily="34" charset="0"/>
            </a:endParaRPr>
          </a:p>
        </p:txBody>
      </p:sp>
      <p:sp>
        <p:nvSpPr>
          <p:cNvPr id="21" name="Rettangolo 20">
            <a:extLst>
              <a:ext uri="{FF2B5EF4-FFF2-40B4-BE49-F238E27FC236}">
                <a16:creationId xmlns:a16="http://schemas.microsoft.com/office/drawing/2014/main" id="{12436A81-EDE4-55A2-3E4A-472A9EF30F55}"/>
              </a:ext>
            </a:extLst>
          </p:cNvPr>
          <p:cNvSpPr/>
          <p:nvPr/>
        </p:nvSpPr>
        <p:spPr>
          <a:xfrm>
            <a:off x="240167" y="4527296"/>
            <a:ext cx="11684228" cy="552291"/>
          </a:xfrm>
          <a:prstGeom prst="rect">
            <a:avLst/>
          </a:prstGeom>
          <a:noFill/>
          <a:ln>
            <a:solidFill>
              <a:srgbClr val="449A9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dirty="0">
              <a:latin typeface="Aptos Narrow" panose="020B0004020202020204" pitchFamily="34" charset="0"/>
            </a:endParaRPr>
          </a:p>
        </p:txBody>
      </p:sp>
      <p:sp>
        <p:nvSpPr>
          <p:cNvPr id="22" name="Rettangolo 21">
            <a:extLst>
              <a:ext uri="{FF2B5EF4-FFF2-40B4-BE49-F238E27FC236}">
                <a16:creationId xmlns:a16="http://schemas.microsoft.com/office/drawing/2014/main" id="{E7413517-B2C8-A146-F179-22A45B8778C0}"/>
              </a:ext>
            </a:extLst>
          </p:cNvPr>
          <p:cNvSpPr/>
          <p:nvPr/>
        </p:nvSpPr>
        <p:spPr>
          <a:xfrm>
            <a:off x="240167" y="3902843"/>
            <a:ext cx="11684228" cy="552291"/>
          </a:xfrm>
          <a:prstGeom prst="rect">
            <a:avLst/>
          </a:prstGeom>
          <a:noFill/>
          <a:ln>
            <a:solidFill>
              <a:srgbClr val="449A9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dirty="0">
              <a:latin typeface="Aptos Narrow" panose="020B0004020202020204" pitchFamily="34" charset="0"/>
            </a:endParaRP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7F791F52-25F2-992C-CD9F-52A0C0110044}"/>
              </a:ext>
            </a:extLst>
          </p:cNvPr>
          <p:cNvSpPr txBox="1"/>
          <p:nvPr/>
        </p:nvSpPr>
        <p:spPr>
          <a:xfrm>
            <a:off x="1919590" y="1147781"/>
            <a:ext cx="10004805" cy="11464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300"/>
              </a:spcAft>
            </a:pPr>
            <a:r>
              <a:rPr lang="en-GB" sz="1100" dirty="0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The strategy for the small businesses segment in the coming years is aimed at </a:t>
            </a:r>
            <a:r>
              <a:rPr lang="en-GB" sz="1100" b="1" dirty="0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increasing the distribution capacity of the segment</a:t>
            </a:r>
            <a:r>
              <a:rPr lang="en-GB" sz="1100" dirty="0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, with reference to the </a:t>
            </a:r>
            <a:r>
              <a:rPr lang="en-GB" sz="1100" b="1" dirty="0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development of partners</a:t>
            </a:r>
            <a:r>
              <a:rPr lang="en-GB" sz="1100" dirty="0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 (Vendors, </a:t>
            </a:r>
            <a:r>
              <a:rPr lang="en-GB" sz="1100" dirty="0" err="1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Confidi</a:t>
            </a:r>
            <a:r>
              <a:rPr lang="en-GB" sz="1100" dirty="0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, Credit Intermediaries). The development of a new partners’ platform will provide the Group with a </a:t>
            </a:r>
            <a:r>
              <a:rPr lang="en-GB" sz="1100" b="1" dirty="0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single interface</a:t>
            </a:r>
            <a:r>
              <a:rPr lang="en-GB" sz="1100" dirty="0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, once fully operational, </a:t>
            </a:r>
            <a:r>
              <a:rPr lang="en-GB" sz="1100" b="1" dirty="0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for offering loans and leasing</a:t>
            </a:r>
            <a:r>
              <a:rPr lang="en-GB" sz="1100" dirty="0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. </a:t>
            </a:r>
          </a:p>
          <a:p>
            <a:pPr>
              <a:spcAft>
                <a:spcPts val="300"/>
              </a:spcAft>
            </a:pPr>
            <a:r>
              <a:rPr lang="en-GB" sz="1100" dirty="0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The platform will be used to manage new applications coming mainly from prospective companies. In particular, the main objectives are to become a key player in the third-party network market with a secure, compliant platform and to manage an efficient process that saves time for all stakeholders affected and the Bank departments directly involved in the process.</a:t>
            </a:r>
            <a:endParaRPr lang="en-GB" sz="1100" kern="0" dirty="0">
              <a:solidFill>
                <a:schemeClr val="tx1">
                  <a:lumMod val="75000"/>
                </a:schemeClr>
              </a:solidFill>
              <a:latin typeface="Aptos Narrow" panose="020B0004020202020204" pitchFamily="34" charset="0"/>
              <a:ea typeface="Apex New Book" panose="02010600040501010103" pitchFamily="2" charset="0"/>
              <a:cs typeface="Arial" panose="020B0604020202020204" pitchFamily="34" charset="0"/>
            </a:endParaRPr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A6356B48-5C8E-6980-F359-3BAC5F440861}"/>
              </a:ext>
            </a:extLst>
          </p:cNvPr>
          <p:cNvSpPr txBox="1"/>
          <p:nvPr/>
        </p:nvSpPr>
        <p:spPr>
          <a:xfrm>
            <a:off x="1919590" y="5208100"/>
            <a:ext cx="10004805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300"/>
              </a:spcAft>
            </a:pPr>
            <a:r>
              <a:rPr lang="en-GB" sz="1100" b="1" dirty="0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Quid Informatica was selected as the supplier for the platform's development with its </a:t>
            </a:r>
            <a:r>
              <a:rPr lang="en-GB" sz="1100" b="1" dirty="0" err="1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Qinetic</a:t>
            </a:r>
            <a:r>
              <a:rPr lang="en-GB" sz="1100" b="1" dirty="0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 product</a:t>
            </a:r>
            <a:r>
              <a:rPr lang="en-GB" sz="1100" dirty="0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. Thanks to its modular and configurable design, it enables the process and platform to be fully implemented in line with requirements and with a short time to market. </a:t>
            </a:r>
            <a:r>
              <a:rPr lang="en-GB" sz="1100" b="1" dirty="0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Deloitte was chosen as the supplier for the Credit Scoring </a:t>
            </a:r>
            <a:r>
              <a:rPr lang="en-GB" sz="1100" dirty="0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f</a:t>
            </a:r>
            <a:r>
              <a:rPr lang="en-US" sz="1100" dirty="0">
                <a:solidFill>
                  <a:schemeClr val="tx1">
                    <a:lumMod val="75000"/>
                  </a:schemeClr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or automatic approval. This engine provides the Partner with an indicator measuring the likelihood of a positive approval of the application. </a:t>
            </a:r>
            <a:endParaRPr lang="en-GB" sz="1100" dirty="0">
              <a:solidFill>
                <a:schemeClr val="tx1">
                  <a:lumMod val="75000"/>
                </a:schemeClr>
              </a:solidFill>
              <a:latin typeface="Aptos Narrow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itolo 3">
            <a:extLst>
              <a:ext uri="{FF2B5EF4-FFF2-40B4-BE49-F238E27FC236}">
                <a16:creationId xmlns:a16="http://schemas.microsoft.com/office/drawing/2014/main" id="{F67C8EFC-05BA-D8A8-9593-C80E26C049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5934" y="211587"/>
            <a:ext cx="10799763" cy="900113"/>
          </a:xfrm>
        </p:spPr>
        <p:txBody>
          <a:bodyPr>
            <a:normAutofit/>
          </a:bodyPr>
          <a:lstStyle/>
          <a:p>
            <a:pPr lvl="0" algn="l"/>
            <a:r>
              <a:rPr lang="en-GB" dirty="0"/>
              <a:t>Third-Party Networks Platform – EXECUTIVE SUMMARY</a:t>
            </a:r>
            <a:endParaRPr lang="en-GB" sz="2200" b="0" i="1" dirty="0"/>
          </a:p>
        </p:txBody>
      </p:sp>
    </p:spTree>
    <p:extLst>
      <p:ext uri="{BB962C8B-B14F-4D97-AF65-F5344CB8AC3E}">
        <p14:creationId xmlns:p14="http://schemas.microsoft.com/office/powerpoint/2010/main" val="168208218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ccia a destra con strisce 17">
            <a:extLst>
              <a:ext uri="{FF2B5EF4-FFF2-40B4-BE49-F238E27FC236}">
                <a16:creationId xmlns:a16="http://schemas.microsoft.com/office/drawing/2014/main" id="{65943483-6DAE-5B95-EB48-082721502DA2}"/>
              </a:ext>
            </a:extLst>
          </p:cNvPr>
          <p:cNvSpPr/>
          <p:nvPr/>
        </p:nvSpPr>
        <p:spPr>
          <a:xfrm>
            <a:off x="0" y="2382773"/>
            <a:ext cx="12192000" cy="3296225"/>
          </a:xfrm>
          <a:prstGeom prst="stripedRightArrow">
            <a:avLst/>
          </a:prstGeom>
          <a:solidFill>
            <a:srgbClr val="009B9B">
              <a:alpha val="10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 Narrow" panose="020B00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3" name="Gallone 55">
            <a:extLst>
              <a:ext uri="{FF2B5EF4-FFF2-40B4-BE49-F238E27FC236}">
                <a16:creationId xmlns:a16="http://schemas.microsoft.com/office/drawing/2014/main" id="{486A2B00-01AB-01F9-D1CC-E26D733F818F}"/>
              </a:ext>
            </a:extLst>
          </p:cNvPr>
          <p:cNvSpPr/>
          <p:nvPr/>
        </p:nvSpPr>
        <p:spPr>
          <a:xfrm>
            <a:off x="529680" y="1363913"/>
            <a:ext cx="1059685" cy="390917"/>
          </a:xfrm>
          <a:prstGeom prst="chevron">
            <a:avLst>
              <a:gd name="adj" fmla="val 18553"/>
            </a:avLst>
          </a:prstGeom>
          <a:solidFill>
            <a:srgbClr val="0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Narrow" panose="020B0004020202020204" pitchFamily="34" charset="0"/>
                <a:ea typeface="ＭＳ Ｐゴシック"/>
                <a:cs typeface="Arial" panose="020B0604020202020204" pitchFamily="34" charset="0"/>
              </a:rPr>
              <a:t>Onboarding</a:t>
            </a:r>
          </a:p>
        </p:txBody>
      </p:sp>
      <p:sp>
        <p:nvSpPr>
          <p:cNvPr id="4" name="Gallone 56">
            <a:extLst>
              <a:ext uri="{FF2B5EF4-FFF2-40B4-BE49-F238E27FC236}">
                <a16:creationId xmlns:a16="http://schemas.microsoft.com/office/drawing/2014/main" id="{A35D45BA-8934-E75B-87AE-2CFF5F51812A}"/>
              </a:ext>
            </a:extLst>
          </p:cNvPr>
          <p:cNvSpPr/>
          <p:nvPr/>
        </p:nvSpPr>
        <p:spPr>
          <a:xfrm>
            <a:off x="3685128" y="1363913"/>
            <a:ext cx="2142983" cy="373433"/>
          </a:xfrm>
          <a:prstGeom prst="chevron">
            <a:avLst>
              <a:gd name="adj" fmla="val 18553"/>
            </a:avLst>
          </a:prstGeom>
          <a:solidFill>
            <a:srgbClr val="0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900" b="1" dirty="0">
                <a:solidFill>
                  <a:prstClr val="white"/>
                </a:solidFill>
                <a:latin typeface="Aptos Narrow" panose="020B0004020202020204" pitchFamily="34" charset="0"/>
                <a:ea typeface="ＭＳ Ｐゴシック"/>
                <a:cs typeface="Arial" panose="020B0604020202020204" pitchFamily="34" charset="0"/>
              </a:rPr>
              <a:t>Customer Identification, Practical Instruction and Full Information Retrieval</a:t>
            </a: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Narrow" panose="020B00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5" name="Gallone 57">
            <a:extLst>
              <a:ext uri="{FF2B5EF4-FFF2-40B4-BE49-F238E27FC236}">
                <a16:creationId xmlns:a16="http://schemas.microsoft.com/office/drawing/2014/main" id="{A14DC634-EC85-8780-C37F-80E4BEC8C0D7}"/>
              </a:ext>
            </a:extLst>
          </p:cNvPr>
          <p:cNvSpPr/>
          <p:nvPr/>
        </p:nvSpPr>
        <p:spPr>
          <a:xfrm>
            <a:off x="1567137" y="1364442"/>
            <a:ext cx="2117990" cy="383467"/>
          </a:xfrm>
          <a:prstGeom prst="chevron">
            <a:avLst>
              <a:gd name="adj" fmla="val 18553"/>
            </a:avLst>
          </a:prstGeom>
          <a:solidFill>
            <a:srgbClr val="0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Narrow" panose="020B0004020202020204" pitchFamily="34" charset="0"/>
                <a:ea typeface="ＭＳ Ｐゴシック"/>
                <a:cs typeface="Arial" panose="020B0604020202020204" pitchFamily="34" charset="0"/>
              </a:rPr>
              <a:t>Light information retrieval, Quotation and Confirmation</a:t>
            </a:r>
          </a:p>
        </p:txBody>
      </p:sp>
      <p:sp>
        <p:nvSpPr>
          <p:cNvPr id="6" name="Gallone 58">
            <a:extLst>
              <a:ext uri="{FF2B5EF4-FFF2-40B4-BE49-F238E27FC236}">
                <a16:creationId xmlns:a16="http://schemas.microsoft.com/office/drawing/2014/main" id="{36822769-E255-E3D9-35A8-2232A4A7460F}"/>
              </a:ext>
            </a:extLst>
          </p:cNvPr>
          <p:cNvSpPr/>
          <p:nvPr/>
        </p:nvSpPr>
        <p:spPr>
          <a:xfrm>
            <a:off x="5828112" y="1375777"/>
            <a:ext cx="1059685" cy="345236"/>
          </a:xfrm>
          <a:prstGeom prst="chevron">
            <a:avLst>
              <a:gd name="adj" fmla="val 18553"/>
            </a:avLst>
          </a:prstGeom>
          <a:solidFill>
            <a:srgbClr val="0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GB" sz="900" b="1" dirty="0">
                <a:solidFill>
                  <a:prstClr val="white"/>
                </a:solidFill>
                <a:latin typeface="Aptos Narrow" panose="020B0004020202020204" pitchFamily="34" charset="0"/>
                <a:ea typeface="ＭＳ Ｐゴシック"/>
                <a:cs typeface="Arial" panose="020B0604020202020204" pitchFamily="34" charset="0"/>
              </a:rPr>
              <a:t> Census and Adequate Verification</a:t>
            </a: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Narrow" panose="020B00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7" name="Gallone 95">
            <a:extLst>
              <a:ext uri="{FF2B5EF4-FFF2-40B4-BE49-F238E27FC236}">
                <a16:creationId xmlns:a16="http://schemas.microsoft.com/office/drawing/2014/main" id="{7C25DCFF-2B21-F68C-CF6C-574EFEF3EADD}"/>
              </a:ext>
            </a:extLst>
          </p:cNvPr>
          <p:cNvSpPr/>
          <p:nvPr/>
        </p:nvSpPr>
        <p:spPr>
          <a:xfrm>
            <a:off x="6887798" y="1377666"/>
            <a:ext cx="1059190" cy="348458"/>
          </a:xfrm>
          <a:prstGeom prst="chevron">
            <a:avLst>
              <a:gd name="adj" fmla="val 18553"/>
            </a:avLst>
          </a:prstGeom>
          <a:solidFill>
            <a:srgbClr val="0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Narrow" panose="020B0004020202020204" pitchFamily="34" charset="0"/>
                <a:ea typeface="ＭＳ Ｐゴシック"/>
                <a:cs typeface="Arial" panose="020B0604020202020204" pitchFamily="34" charset="0"/>
              </a:rPr>
              <a:t>Instruction and Resolution</a:t>
            </a:r>
          </a:p>
        </p:txBody>
      </p:sp>
      <p:sp>
        <p:nvSpPr>
          <p:cNvPr id="8" name="Gallone 109">
            <a:extLst>
              <a:ext uri="{FF2B5EF4-FFF2-40B4-BE49-F238E27FC236}">
                <a16:creationId xmlns:a16="http://schemas.microsoft.com/office/drawing/2014/main" id="{A3782C06-F3E0-02FD-21E9-264666DEA85F}"/>
              </a:ext>
            </a:extLst>
          </p:cNvPr>
          <p:cNvSpPr/>
          <p:nvPr/>
        </p:nvSpPr>
        <p:spPr>
          <a:xfrm>
            <a:off x="10173550" y="1360261"/>
            <a:ext cx="1513306" cy="359556"/>
          </a:xfrm>
          <a:prstGeom prst="chevron">
            <a:avLst>
              <a:gd name="adj" fmla="val 18553"/>
            </a:avLst>
          </a:prstGeom>
          <a:solidFill>
            <a:srgbClr val="0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GB" sz="900" b="1" dirty="0">
                <a:solidFill>
                  <a:prstClr val="white"/>
                </a:solidFill>
                <a:latin typeface="Aptos Narrow" panose="020B0004020202020204" pitchFamily="34" charset="0"/>
                <a:ea typeface="ＭＳ Ｐゴシック"/>
                <a:cs typeface="Arial" panose="020B0604020202020204" pitchFamily="34" charset="0"/>
              </a:rPr>
              <a:t>After sale</a:t>
            </a:r>
          </a:p>
        </p:txBody>
      </p:sp>
      <p:sp>
        <p:nvSpPr>
          <p:cNvPr id="9" name="Gallone 101">
            <a:extLst>
              <a:ext uri="{FF2B5EF4-FFF2-40B4-BE49-F238E27FC236}">
                <a16:creationId xmlns:a16="http://schemas.microsoft.com/office/drawing/2014/main" id="{C47ACE8D-1EC9-93C5-1327-8A7277F47E46}"/>
              </a:ext>
            </a:extLst>
          </p:cNvPr>
          <p:cNvSpPr/>
          <p:nvPr/>
        </p:nvSpPr>
        <p:spPr>
          <a:xfrm>
            <a:off x="7923874" y="1360261"/>
            <a:ext cx="2249675" cy="359556"/>
          </a:xfrm>
          <a:prstGeom prst="chevron">
            <a:avLst>
              <a:gd name="adj" fmla="val 18553"/>
            </a:avLst>
          </a:prstGeom>
          <a:solidFill>
            <a:srgbClr val="0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sz="900" b="1" dirty="0">
                <a:solidFill>
                  <a:prstClr val="white"/>
                </a:solidFill>
                <a:latin typeface="Aptos Narrow" panose="020B0004020202020204" pitchFamily="34" charset="0"/>
                <a:ea typeface="ＭＳ Ｐゴシック"/>
                <a:cs typeface="Arial" panose="020B0604020202020204" pitchFamily="34" charset="0"/>
              </a:rPr>
              <a:t>Signature, refinement, delivery of goods</a:t>
            </a:r>
          </a:p>
        </p:txBody>
      </p:sp>
      <p:sp>
        <p:nvSpPr>
          <p:cNvPr id="10" name="Gallone 89">
            <a:extLst>
              <a:ext uri="{FF2B5EF4-FFF2-40B4-BE49-F238E27FC236}">
                <a16:creationId xmlns:a16="http://schemas.microsoft.com/office/drawing/2014/main" id="{EBBBC68F-40E0-2D47-3D58-F80832A2C3E2}"/>
              </a:ext>
            </a:extLst>
          </p:cNvPr>
          <p:cNvSpPr/>
          <p:nvPr/>
        </p:nvSpPr>
        <p:spPr>
          <a:xfrm>
            <a:off x="529680" y="1113316"/>
            <a:ext cx="5273437" cy="217446"/>
          </a:xfrm>
          <a:prstGeom prst="chevron">
            <a:avLst>
              <a:gd name="adj" fmla="val 18553"/>
            </a:avLst>
          </a:prstGeom>
          <a:solidFill>
            <a:srgbClr val="365971"/>
          </a:solidFill>
          <a:ln w="9525" cap="rnd" cmpd="sng" algn="ctr">
            <a:solidFill>
              <a:srgbClr val="36597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 Narrow" panose="020B0004020202020204" pitchFamily="34" charset="0"/>
                <a:ea typeface="ＭＳ Ｐゴシック"/>
                <a:cs typeface="Arial" panose="020B0604020202020204" pitchFamily="34" charset="0"/>
              </a:rPr>
              <a:t>Client / Vendor –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 Narrow" panose="020B0004020202020204" pitchFamily="34" charset="0"/>
                <a:ea typeface="ＭＳ Ｐゴシック"/>
                <a:cs typeface="Arial" panose="020B0604020202020204" pitchFamily="34" charset="0"/>
              </a:rPr>
              <a:t>on-site at the vendor 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 Narrow" panose="020B0004020202020204" pitchFamily="34" charset="0"/>
                <a:ea typeface="ＭＳ Ｐゴシック"/>
                <a:cs typeface="Arial" panose="020B0604020202020204" pitchFamily="34" charset="0"/>
              </a:rPr>
              <a:t>(at a single time)</a:t>
            </a:r>
            <a:endParaRPr kumimoji="0" lang="en-GB" sz="14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 Narrow" panose="020B00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1" name="Gallone 94">
            <a:extLst>
              <a:ext uri="{FF2B5EF4-FFF2-40B4-BE49-F238E27FC236}">
                <a16:creationId xmlns:a16="http://schemas.microsoft.com/office/drawing/2014/main" id="{17ABC50D-0E9E-A82D-94C8-28621005BC68}"/>
              </a:ext>
            </a:extLst>
          </p:cNvPr>
          <p:cNvSpPr/>
          <p:nvPr/>
        </p:nvSpPr>
        <p:spPr>
          <a:xfrm>
            <a:off x="5803118" y="1114762"/>
            <a:ext cx="2142984" cy="216000"/>
          </a:xfrm>
          <a:prstGeom prst="chevron">
            <a:avLst>
              <a:gd name="adj" fmla="val 18553"/>
            </a:avLst>
          </a:prstGeom>
          <a:solidFill>
            <a:srgbClr val="365971"/>
          </a:solidFill>
          <a:ln w="9525" cap="rnd" cmpd="sng" algn="ctr">
            <a:solidFill>
              <a:srgbClr val="36597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 Narrow" panose="020B0004020202020204" pitchFamily="34" charset="0"/>
                <a:ea typeface="ＭＳ Ｐゴシック"/>
                <a:cs typeface="Arial" panose="020B0604020202020204" pitchFamily="34" charset="0"/>
              </a:rPr>
              <a:t>Unit / Credit Team</a:t>
            </a:r>
          </a:p>
        </p:txBody>
      </p:sp>
      <p:sp>
        <p:nvSpPr>
          <p:cNvPr id="12" name="Gallone 96">
            <a:extLst>
              <a:ext uri="{FF2B5EF4-FFF2-40B4-BE49-F238E27FC236}">
                <a16:creationId xmlns:a16="http://schemas.microsoft.com/office/drawing/2014/main" id="{6A58D570-F7A6-5518-0F00-8623BCC5061E}"/>
              </a:ext>
            </a:extLst>
          </p:cNvPr>
          <p:cNvSpPr/>
          <p:nvPr/>
        </p:nvSpPr>
        <p:spPr>
          <a:xfrm>
            <a:off x="7946102" y="1116208"/>
            <a:ext cx="3740753" cy="216000"/>
          </a:xfrm>
          <a:prstGeom prst="chevron">
            <a:avLst>
              <a:gd name="adj" fmla="val 18553"/>
            </a:avLst>
          </a:prstGeom>
          <a:solidFill>
            <a:srgbClr val="365971"/>
          </a:solidFill>
          <a:ln w="9525" cap="rnd" cmpd="sng" algn="ctr">
            <a:solidFill>
              <a:srgbClr val="36597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 Narrow" panose="020B0004020202020204" pitchFamily="34" charset="0"/>
                <a:ea typeface="ＭＳ Ｐゴシック"/>
                <a:cs typeface="Arial" panose="020B0604020202020204" pitchFamily="34" charset="0"/>
              </a:rPr>
              <a:t>Client / Vendor / Unit</a:t>
            </a:r>
          </a:p>
        </p:txBody>
      </p:sp>
      <p:sp>
        <p:nvSpPr>
          <p:cNvPr id="13" name="Rettangolo con angoli arrotondati in diagonale 54">
            <a:extLst>
              <a:ext uri="{FF2B5EF4-FFF2-40B4-BE49-F238E27FC236}">
                <a16:creationId xmlns:a16="http://schemas.microsoft.com/office/drawing/2014/main" id="{103F3108-A033-A9C5-5344-425007640073}"/>
              </a:ext>
            </a:extLst>
          </p:cNvPr>
          <p:cNvSpPr/>
          <p:nvPr/>
        </p:nvSpPr>
        <p:spPr>
          <a:xfrm rot="20265149">
            <a:off x="9611923" y="5050013"/>
            <a:ext cx="748399" cy="281616"/>
          </a:xfrm>
          <a:prstGeom prst="round2Diag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37373A"/>
                </a:solidFill>
                <a:effectLst/>
                <a:uLnTx/>
                <a:uFillTx/>
                <a:latin typeface="Aptos Narrow" panose="020B0004020202020204" pitchFamily="34" charset="0"/>
                <a:ea typeface="ＭＳ Ｐゴシック"/>
                <a:cs typeface="Arial" panose="020B0604020202020204" pitchFamily="34" charset="0"/>
              </a:rPr>
              <a:t>Applicativi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37373A"/>
                </a:solidFill>
                <a:effectLst/>
                <a:uLnTx/>
                <a:uFillTx/>
                <a:latin typeface="Aptos Narrow" panose="020B0004020202020204" pitchFamily="34" charset="0"/>
                <a:ea typeface="ＭＳ Ｐゴシック"/>
                <a:cs typeface="Arial" panose="020B0604020202020204" pitchFamily="34" charset="0"/>
              </a:rPr>
              <a:t> CAI</a:t>
            </a:r>
          </a:p>
        </p:txBody>
      </p:sp>
      <p:pic>
        <p:nvPicPr>
          <p:cNvPr id="14" name="Immagine 13">
            <a:extLst>
              <a:ext uri="{FF2B5EF4-FFF2-40B4-BE49-F238E27FC236}">
                <a16:creationId xmlns:a16="http://schemas.microsoft.com/office/drawing/2014/main" id="{33497EED-B979-BDDA-9C32-381A82DE17D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4132" y="3865371"/>
            <a:ext cx="432000" cy="432000"/>
          </a:xfrm>
          <a:prstGeom prst="rect">
            <a:avLst/>
          </a:prstGeom>
        </p:spPr>
      </p:pic>
      <p:pic>
        <p:nvPicPr>
          <p:cNvPr id="15" name="Immagine 14">
            <a:extLst>
              <a:ext uri="{FF2B5EF4-FFF2-40B4-BE49-F238E27FC236}">
                <a16:creationId xmlns:a16="http://schemas.microsoft.com/office/drawing/2014/main" id="{BB5A4AE6-262A-61C0-3604-6A462CBD094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137" y="3865371"/>
            <a:ext cx="432000" cy="432000"/>
          </a:xfrm>
          <a:prstGeom prst="rect">
            <a:avLst/>
          </a:prstGeom>
        </p:spPr>
      </p:pic>
      <p:pic>
        <p:nvPicPr>
          <p:cNvPr id="16" name="Immagine 15">
            <a:extLst>
              <a:ext uri="{FF2B5EF4-FFF2-40B4-BE49-F238E27FC236}">
                <a16:creationId xmlns:a16="http://schemas.microsoft.com/office/drawing/2014/main" id="{BCBD7AF9-BC47-4ED1-0FAD-5BDCB1670B4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3127" y="3865371"/>
            <a:ext cx="432000" cy="432000"/>
          </a:xfrm>
          <a:prstGeom prst="rect">
            <a:avLst/>
          </a:prstGeom>
        </p:spPr>
      </p:pic>
      <p:pic>
        <p:nvPicPr>
          <p:cNvPr id="17" name="Immagine 16">
            <a:extLst>
              <a:ext uri="{FF2B5EF4-FFF2-40B4-BE49-F238E27FC236}">
                <a16:creationId xmlns:a16="http://schemas.microsoft.com/office/drawing/2014/main" id="{43469B88-9CC0-CDDA-5E0F-48B58AFEAC0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2122" y="3865371"/>
            <a:ext cx="432000" cy="432000"/>
          </a:xfrm>
          <a:prstGeom prst="rect">
            <a:avLst/>
          </a:prstGeom>
        </p:spPr>
      </p:pic>
      <p:pic>
        <p:nvPicPr>
          <p:cNvPr id="18" name="Immagine 17">
            <a:extLst>
              <a:ext uri="{FF2B5EF4-FFF2-40B4-BE49-F238E27FC236}">
                <a16:creationId xmlns:a16="http://schemas.microsoft.com/office/drawing/2014/main" id="{F294FB0B-0B7F-0BA3-9938-8F093042F32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1117" y="3865371"/>
            <a:ext cx="432000" cy="432000"/>
          </a:xfrm>
          <a:prstGeom prst="rect">
            <a:avLst/>
          </a:prstGeom>
        </p:spPr>
      </p:pic>
      <p:pic>
        <p:nvPicPr>
          <p:cNvPr id="19" name="Immagine 18">
            <a:extLst>
              <a:ext uri="{FF2B5EF4-FFF2-40B4-BE49-F238E27FC236}">
                <a16:creationId xmlns:a16="http://schemas.microsoft.com/office/drawing/2014/main" id="{8D1DAC1A-2344-0943-B828-1EB1A2255B3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0112" y="3865371"/>
            <a:ext cx="432000" cy="432000"/>
          </a:xfrm>
          <a:prstGeom prst="rect">
            <a:avLst/>
          </a:prstGeom>
        </p:spPr>
      </p:pic>
      <p:pic>
        <p:nvPicPr>
          <p:cNvPr id="20" name="Immagine 19">
            <a:extLst>
              <a:ext uri="{FF2B5EF4-FFF2-40B4-BE49-F238E27FC236}">
                <a16:creationId xmlns:a16="http://schemas.microsoft.com/office/drawing/2014/main" id="{590A7F38-65E2-0403-7545-E85CE1C3F0F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3674" y="3609589"/>
            <a:ext cx="432000" cy="432000"/>
          </a:xfrm>
          <a:prstGeom prst="rect">
            <a:avLst/>
          </a:prstGeom>
        </p:spPr>
      </p:pic>
      <p:pic>
        <p:nvPicPr>
          <p:cNvPr id="21" name="Immagine 20">
            <a:extLst>
              <a:ext uri="{FF2B5EF4-FFF2-40B4-BE49-F238E27FC236}">
                <a16:creationId xmlns:a16="http://schemas.microsoft.com/office/drawing/2014/main" id="{1429F607-F3EE-FB1F-5FDC-FBDC0345C69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2788" y="3830965"/>
            <a:ext cx="432000" cy="432000"/>
          </a:xfrm>
          <a:prstGeom prst="rect">
            <a:avLst/>
          </a:prstGeom>
        </p:spPr>
      </p:pic>
      <p:pic>
        <p:nvPicPr>
          <p:cNvPr id="22" name="Immagine 21">
            <a:extLst>
              <a:ext uri="{FF2B5EF4-FFF2-40B4-BE49-F238E27FC236}">
                <a16:creationId xmlns:a16="http://schemas.microsoft.com/office/drawing/2014/main" id="{0E348B7D-1130-5681-2C7A-3CA47882F1C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8102" y="3865371"/>
            <a:ext cx="432000" cy="432000"/>
          </a:xfrm>
          <a:prstGeom prst="rect">
            <a:avLst/>
          </a:prstGeom>
        </p:spPr>
      </p:pic>
      <p:pic>
        <p:nvPicPr>
          <p:cNvPr id="23" name="Immagine 22">
            <a:extLst>
              <a:ext uri="{FF2B5EF4-FFF2-40B4-BE49-F238E27FC236}">
                <a16:creationId xmlns:a16="http://schemas.microsoft.com/office/drawing/2014/main" id="{F30A5BDE-075D-90FB-6CD0-82A967451B6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7097" y="3865371"/>
            <a:ext cx="432000" cy="432000"/>
          </a:xfrm>
          <a:prstGeom prst="rect">
            <a:avLst/>
          </a:prstGeom>
        </p:spPr>
      </p:pic>
      <p:pic>
        <p:nvPicPr>
          <p:cNvPr id="24" name="Immagine 23">
            <a:extLst>
              <a:ext uri="{FF2B5EF4-FFF2-40B4-BE49-F238E27FC236}">
                <a16:creationId xmlns:a16="http://schemas.microsoft.com/office/drawing/2014/main" id="{C809FE38-3EE2-1F90-D0C5-9DA4C4DE4BC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6092" y="3865371"/>
            <a:ext cx="432000" cy="432000"/>
          </a:xfrm>
          <a:prstGeom prst="rect">
            <a:avLst/>
          </a:prstGeom>
        </p:spPr>
      </p:pic>
      <p:grpSp>
        <p:nvGrpSpPr>
          <p:cNvPr id="25" name="Gruppo 24">
            <a:extLst>
              <a:ext uri="{FF2B5EF4-FFF2-40B4-BE49-F238E27FC236}">
                <a16:creationId xmlns:a16="http://schemas.microsoft.com/office/drawing/2014/main" id="{7C51AEEE-D4A9-831F-35A4-6DFF68604311}"/>
              </a:ext>
            </a:extLst>
          </p:cNvPr>
          <p:cNvGrpSpPr/>
          <p:nvPr/>
        </p:nvGrpSpPr>
        <p:grpSpPr>
          <a:xfrm>
            <a:off x="529681" y="4414245"/>
            <a:ext cx="1620000" cy="1942930"/>
            <a:chOff x="529681" y="4331120"/>
            <a:chExt cx="1620000" cy="1942930"/>
          </a:xfrm>
        </p:grpSpPr>
        <p:sp>
          <p:nvSpPr>
            <p:cNvPr id="26" name="Unità di visualizzazione grafica 25">
              <a:extLst>
                <a:ext uri="{FF2B5EF4-FFF2-40B4-BE49-F238E27FC236}">
                  <a16:creationId xmlns:a16="http://schemas.microsoft.com/office/drawing/2014/main" id="{9549B442-D591-287C-2168-75442A26503A}"/>
                </a:ext>
              </a:extLst>
            </p:cNvPr>
            <p:cNvSpPr/>
            <p:nvPr/>
          </p:nvSpPr>
          <p:spPr>
            <a:xfrm rot="5400000">
              <a:off x="439681" y="4564050"/>
              <a:ext cx="1800000" cy="1620000"/>
            </a:xfrm>
            <a:prstGeom prst="flowChartDisplay">
              <a:avLst/>
            </a:prstGeom>
            <a:solidFill>
              <a:schemeClr val="bg1"/>
            </a:solidFill>
            <a:ln w="19050" cap="rnd" cmpd="sng" algn="ctr">
              <a:solidFill>
                <a:srgbClr val="009B9B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ptos Narrow" panose="020B0004020202020204" pitchFamily="34" charset="0"/>
                  <a:ea typeface="ＭＳ Ｐゴシック"/>
                  <a:cs typeface="Arial" panose="020B0604020202020204" pitchFamily="34" charset="0"/>
                </a:rPr>
                <a:t>The </a:t>
              </a:r>
              <a:r>
                <a: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ptos Narrow" panose="020B0004020202020204" pitchFamily="34" charset="0"/>
                  <a:ea typeface="ＭＳ Ｐゴシック"/>
                  <a:cs typeface="Arial" panose="020B0604020202020204" pitchFamily="34" charset="0"/>
                </a:rPr>
                <a:t>Agri-Agro</a:t>
              </a: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ptos Narrow" panose="020B0004020202020204" pitchFamily="34" charset="0"/>
                  <a:ea typeface="ＭＳ Ｐゴシック"/>
                  <a:cs typeface="Arial" panose="020B0604020202020204" pitchFamily="34" charset="0"/>
                </a:rPr>
                <a:t> Customer goes to the </a:t>
              </a:r>
              <a:r>
                <a: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ptos Narrow" panose="020B0004020202020204" pitchFamily="34" charset="0"/>
                  <a:ea typeface="ＭＳ Ｐゴシック"/>
                  <a:cs typeface="Arial" panose="020B0604020202020204" pitchFamily="34" charset="0"/>
                </a:rPr>
                <a:t>Vendor</a:t>
              </a: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ptos Narrow" panose="020B0004020202020204" pitchFamily="34" charset="0"/>
                  <a:ea typeface="ＭＳ Ｐゴシック"/>
                  <a:cs typeface="Arial" panose="020B0604020202020204" pitchFamily="34" charset="0"/>
                </a:rPr>
                <a:t>’s office in search of a good (Machinery, etc)</a:t>
              </a:r>
            </a:p>
          </p:txBody>
        </p:sp>
        <p:sp>
          <p:nvSpPr>
            <p:cNvPr id="27" name="Ovale 26">
              <a:extLst>
                <a:ext uri="{FF2B5EF4-FFF2-40B4-BE49-F238E27FC236}">
                  <a16:creationId xmlns:a16="http://schemas.microsoft.com/office/drawing/2014/main" id="{A20E86F0-5DB2-4FC2-8EB2-3CC07A28E371}"/>
                </a:ext>
              </a:extLst>
            </p:cNvPr>
            <p:cNvSpPr/>
            <p:nvPr/>
          </p:nvSpPr>
          <p:spPr>
            <a:xfrm>
              <a:off x="1188851" y="4331120"/>
              <a:ext cx="288000" cy="288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009999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000" b="1" dirty="0">
                  <a:solidFill>
                    <a:srgbClr val="009999"/>
                  </a:solidFill>
                  <a:latin typeface="Aptos Narrow" panose="020B0004020202020204" pitchFamily="34" charset="0"/>
                  <a:cs typeface="Arial" panose="020B0604020202020204" pitchFamily="34" charset="0"/>
                </a:rPr>
                <a:t>1</a:t>
              </a:r>
              <a:endParaRPr lang="en-GB" b="1" dirty="0">
                <a:solidFill>
                  <a:srgbClr val="009999"/>
                </a:solidFill>
                <a:latin typeface="Aptos Narrow" panose="020B00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8" name="Gruppo 27">
            <a:extLst>
              <a:ext uri="{FF2B5EF4-FFF2-40B4-BE49-F238E27FC236}">
                <a16:creationId xmlns:a16="http://schemas.microsoft.com/office/drawing/2014/main" id="{0E23E9A4-5641-8827-0231-B2CE828E011E}"/>
              </a:ext>
            </a:extLst>
          </p:cNvPr>
          <p:cNvGrpSpPr/>
          <p:nvPr/>
        </p:nvGrpSpPr>
        <p:grpSpPr>
          <a:xfrm>
            <a:off x="1589367" y="1807131"/>
            <a:ext cx="1620000" cy="1945644"/>
            <a:chOff x="1305877" y="1464475"/>
            <a:chExt cx="1620000" cy="1945644"/>
          </a:xfrm>
        </p:grpSpPr>
        <p:sp>
          <p:nvSpPr>
            <p:cNvPr id="29" name="Unità di visualizzazione grafica 28">
              <a:extLst>
                <a:ext uri="{FF2B5EF4-FFF2-40B4-BE49-F238E27FC236}">
                  <a16:creationId xmlns:a16="http://schemas.microsoft.com/office/drawing/2014/main" id="{FED06FE9-7660-E849-23D4-1E6F9188861E}"/>
                </a:ext>
              </a:extLst>
            </p:cNvPr>
            <p:cNvSpPr/>
            <p:nvPr/>
          </p:nvSpPr>
          <p:spPr>
            <a:xfrm rot="16200000">
              <a:off x="1197877" y="1572475"/>
              <a:ext cx="1836000" cy="1620000"/>
            </a:xfrm>
            <a:prstGeom prst="flowChartDisplay">
              <a:avLst/>
            </a:prstGeom>
            <a:solidFill>
              <a:schemeClr val="bg1"/>
            </a:solidFill>
            <a:ln w="19050" cap="rnd" cmpd="sng" algn="ctr">
              <a:solidFill>
                <a:srgbClr val="009B9B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defRPr/>
              </a:pPr>
              <a:r>
                <a:rPr lang="en-US" sz="1000" dirty="0">
                  <a:solidFill>
                    <a:srgbClr val="595959"/>
                  </a:solidFill>
                  <a:latin typeface="Aptos Narrow" panose="020B0004020202020204" pitchFamily="34" charset="0"/>
                  <a:ea typeface="ＭＳ Ｐゴシック"/>
                  <a:cs typeface="Arial" panose="020B0604020202020204" pitchFamily="34" charset="0"/>
                </a:rPr>
                <a:t>The Vendor describes the </a:t>
              </a:r>
              <a:r>
                <a:rPr lang="en-US" sz="1000" b="1" dirty="0">
                  <a:solidFill>
                    <a:srgbClr val="595959"/>
                  </a:solidFill>
                  <a:latin typeface="Aptos Narrow" panose="020B0004020202020204" pitchFamily="34" charset="0"/>
                  <a:ea typeface="ＭＳ Ｐゴシック"/>
                  <a:cs typeface="Arial" panose="020B0604020202020204" pitchFamily="34" charset="0"/>
                </a:rPr>
                <a:t>Crédit Agricole solution to finance the purchase</a:t>
              </a:r>
              <a:r>
                <a:rPr lang="en-US" sz="1000" dirty="0">
                  <a:solidFill>
                    <a:srgbClr val="595959"/>
                  </a:solidFill>
                  <a:latin typeface="Aptos Narrow" panose="020B0004020202020204" pitchFamily="34" charset="0"/>
                  <a:ea typeface="ＭＳ Ｐゴシック"/>
                  <a:cs typeface="Arial" panose="020B0604020202020204" pitchFamily="34" charset="0"/>
                </a:rPr>
                <a:t>, and after collecting little information (P.IVA / CF) </a:t>
              </a:r>
              <a:r>
                <a:rPr lang="en-US" sz="1000" b="1" dirty="0">
                  <a:solidFill>
                    <a:srgbClr val="595959"/>
                  </a:solidFill>
                  <a:latin typeface="Aptos Narrow" panose="020B0004020202020204" pitchFamily="34" charset="0"/>
                  <a:ea typeface="ＭＳ Ｐゴシック"/>
                  <a:cs typeface="Arial" panose="020B0604020202020204" pitchFamily="34" charset="0"/>
                </a:rPr>
                <a:t>proposes a quote</a:t>
              </a:r>
            </a:p>
            <a:p>
              <a:pPr lvl="0" algn="ctr">
                <a:defRPr/>
              </a:pPr>
              <a:endParaRPr lang="en-GB" sz="1000" b="1" dirty="0">
                <a:solidFill>
                  <a:srgbClr val="595959"/>
                </a:solidFill>
                <a:latin typeface="Aptos Narrow" panose="020B0004020202020204" pitchFamily="34" charset="0"/>
                <a:ea typeface="ＭＳ Ｐゴシック"/>
                <a:cs typeface="Arial" panose="020B0604020202020204" pitchFamily="34" charset="0"/>
              </a:endParaRPr>
            </a:p>
            <a:p>
              <a:pPr lvl="0" algn="ctr">
                <a:defRPr/>
              </a:pPr>
              <a:endParaRPr lang="en-GB" sz="1000" b="1" dirty="0">
                <a:solidFill>
                  <a:srgbClr val="595959"/>
                </a:solidFill>
                <a:latin typeface="Aptos Narrow" panose="020B00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sp>
          <p:nvSpPr>
            <p:cNvPr id="30" name="Ovale 29">
              <a:extLst>
                <a:ext uri="{FF2B5EF4-FFF2-40B4-BE49-F238E27FC236}">
                  <a16:creationId xmlns:a16="http://schemas.microsoft.com/office/drawing/2014/main" id="{A9346314-FFDE-1C8A-7E02-21C51287A9D5}"/>
                </a:ext>
              </a:extLst>
            </p:cNvPr>
            <p:cNvSpPr/>
            <p:nvPr/>
          </p:nvSpPr>
          <p:spPr>
            <a:xfrm>
              <a:off x="1965632" y="3122119"/>
              <a:ext cx="288000" cy="288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009999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000" b="1" dirty="0">
                  <a:solidFill>
                    <a:srgbClr val="009999"/>
                  </a:solidFill>
                  <a:latin typeface="Aptos Narrow" panose="020B00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</p:grpSp>
      <p:grpSp>
        <p:nvGrpSpPr>
          <p:cNvPr id="31" name="Gruppo 30">
            <a:extLst>
              <a:ext uri="{FF2B5EF4-FFF2-40B4-BE49-F238E27FC236}">
                <a16:creationId xmlns:a16="http://schemas.microsoft.com/office/drawing/2014/main" id="{A0C82FD8-7392-3E46-421C-E4C85CE3E8FB}"/>
              </a:ext>
            </a:extLst>
          </p:cNvPr>
          <p:cNvGrpSpPr/>
          <p:nvPr/>
        </p:nvGrpSpPr>
        <p:grpSpPr>
          <a:xfrm>
            <a:off x="3708739" y="1807131"/>
            <a:ext cx="1620000" cy="1973014"/>
            <a:chOff x="3616438" y="1435243"/>
            <a:chExt cx="1620000" cy="1973014"/>
          </a:xfrm>
        </p:grpSpPr>
        <p:sp>
          <p:nvSpPr>
            <p:cNvPr id="32" name="Unità di visualizzazione grafica 31">
              <a:extLst>
                <a:ext uri="{FF2B5EF4-FFF2-40B4-BE49-F238E27FC236}">
                  <a16:creationId xmlns:a16="http://schemas.microsoft.com/office/drawing/2014/main" id="{02684BF0-BE98-F02F-06F6-82B178AC3905}"/>
                </a:ext>
              </a:extLst>
            </p:cNvPr>
            <p:cNvSpPr/>
            <p:nvPr/>
          </p:nvSpPr>
          <p:spPr>
            <a:xfrm rot="16200000">
              <a:off x="3508438" y="1543243"/>
              <a:ext cx="1836000" cy="1620000"/>
            </a:xfrm>
            <a:prstGeom prst="flowChartDisplay">
              <a:avLst/>
            </a:prstGeom>
            <a:solidFill>
              <a:schemeClr val="bg1"/>
            </a:solidFill>
            <a:ln w="19050" cap="rnd" cmpd="sng" algn="ctr">
              <a:solidFill>
                <a:srgbClr val="009B9B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defRPr/>
              </a:pPr>
              <a:r>
                <a:rPr lang="en-US" sz="1000" dirty="0">
                  <a:solidFill>
                    <a:srgbClr val="595959"/>
                  </a:solidFill>
                  <a:latin typeface="Aptos Narrow" panose="020B0004020202020204" pitchFamily="34" charset="0"/>
                  <a:ea typeface="ＭＳ Ｐゴシック"/>
                  <a:cs typeface="Arial" panose="020B0604020202020204" pitchFamily="34" charset="0"/>
                </a:rPr>
                <a:t>Customer identification </a:t>
              </a:r>
            </a:p>
            <a:p>
              <a:pPr lvl="0" algn="ctr">
                <a:defRPr/>
              </a:pPr>
              <a:r>
                <a:rPr lang="en-US" sz="1000" dirty="0">
                  <a:solidFill>
                    <a:srgbClr val="595959"/>
                  </a:solidFill>
                  <a:latin typeface="Aptos Narrow" panose="020B0004020202020204" pitchFamily="34" charset="0"/>
                  <a:ea typeface="ＭＳ Ｐゴシック"/>
                  <a:cs typeface="Arial" panose="020B0604020202020204" pitchFamily="34" charset="0"/>
                </a:rPr>
                <a:t>with SPID/CIE, the </a:t>
              </a:r>
              <a:r>
                <a:rPr lang="en-US" sz="1000" b="1" dirty="0">
                  <a:solidFill>
                    <a:srgbClr val="595959"/>
                  </a:solidFill>
                  <a:latin typeface="Aptos Narrow" panose="020B0004020202020204" pitchFamily="34" charset="0"/>
                  <a:ea typeface="ＭＳ Ｐゴシック"/>
                  <a:cs typeface="Arial" panose="020B0604020202020204" pitchFamily="34" charset="0"/>
                </a:rPr>
                <a:t>vendor</a:t>
              </a:r>
              <a:r>
                <a:rPr lang="en-US" sz="1000" dirty="0">
                  <a:solidFill>
                    <a:srgbClr val="595959"/>
                  </a:solidFill>
                  <a:latin typeface="Aptos Narrow" panose="020B0004020202020204" pitchFamily="34" charset="0"/>
                  <a:ea typeface="ＭＳ Ｐゴシック"/>
                  <a:cs typeface="Arial" panose="020B0604020202020204" pitchFamily="34" charset="0"/>
                </a:rPr>
                <a:t> </a:t>
              </a:r>
              <a:r>
                <a:rPr lang="en-US" sz="1000" b="1" dirty="0">
                  <a:solidFill>
                    <a:srgbClr val="595959"/>
                  </a:solidFill>
                  <a:latin typeface="Aptos Narrow" panose="020B0004020202020204" pitchFamily="34" charset="0"/>
                  <a:ea typeface="ＭＳ Ｐゴシック"/>
                  <a:cs typeface="Arial" panose="020B0604020202020204" pitchFamily="34" charset="0"/>
                </a:rPr>
                <a:t>uploads all the information </a:t>
              </a:r>
              <a:r>
                <a:rPr lang="en-US" sz="1000" dirty="0">
                  <a:solidFill>
                    <a:srgbClr val="595959"/>
                  </a:solidFill>
                  <a:latin typeface="Aptos Narrow" panose="020B0004020202020204" pitchFamily="34" charset="0"/>
                  <a:ea typeface="ＭＳ Ｐゴシック"/>
                  <a:cs typeface="Arial" panose="020B0604020202020204" pitchFamily="34" charset="0"/>
                </a:rPr>
                <a:t>to complete the process to the platform. After signing (pre-contractual agreement and KYC and Country Ques information), the package is </a:t>
              </a:r>
              <a:r>
                <a:rPr lang="en-US" sz="1000" b="1" dirty="0">
                  <a:solidFill>
                    <a:srgbClr val="595959"/>
                  </a:solidFill>
                  <a:latin typeface="Aptos Narrow" panose="020B0004020202020204" pitchFamily="34" charset="0"/>
                  <a:ea typeface="ＭＳ Ｐゴシック"/>
                  <a:cs typeface="Arial" panose="020B0604020202020204" pitchFamily="34" charset="0"/>
                </a:rPr>
                <a:t>sent to the Bank Unit.</a:t>
              </a:r>
              <a:endParaRPr lang="en-GB" sz="1000" dirty="0">
                <a:solidFill>
                  <a:srgbClr val="595959"/>
                </a:solidFill>
                <a:latin typeface="Aptos Narrow" panose="020B00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sp>
          <p:nvSpPr>
            <p:cNvPr id="33" name="Ovale 32">
              <a:extLst>
                <a:ext uri="{FF2B5EF4-FFF2-40B4-BE49-F238E27FC236}">
                  <a16:creationId xmlns:a16="http://schemas.microsoft.com/office/drawing/2014/main" id="{C64CB615-2F45-348E-D7CD-8CD522136084}"/>
                </a:ext>
              </a:extLst>
            </p:cNvPr>
            <p:cNvSpPr/>
            <p:nvPr/>
          </p:nvSpPr>
          <p:spPr>
            <a:xfrm>
              <a:off x="4291438" y="3120257"/>
              <a:ext cx="288000" cy="288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009999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000" b="1" dirty="0">
                  <a:solidFill>
                    <a:srgbClr val="009999"/>
                  </a:solidFill>
                  <a:latin typeface="Aptos Narrow" panose="020B0004020202020204" pitchFamily="34" charset="0"/>
                  <a:cs typeface="Arial" panose="020B0604020202020204" pitchFamily="34" charset="0"/>
                </a:rPr>
                <a:t>4</a:t>
              </a:r>
            </a:p>
          </p:txBody>
        </p:sp>
      </p:grpSp>
      <p:grpSp>
        <p:nvGrpSpPr>
          <p:cNvPr id="34" name="Gruppo 33">
            <a:extLst>
              <a:ext uri="{FF2B5EF4-FFF2-40B4-BE49-F238E27FC236}">
                <a16:creationId xmlns:a16="http://schemas.microsoft.com/office/drawing/2014/main" id="{6561AC37-2606-7C76-4D30-1F876C197F00}"/>
              </a:ext>
            </a:extLst>
          </p:cNvPr>
          <p:cNvGrpSpPr/>
          <p:nvPr/>
        </p:nvGrpSpPr>
        <p:grpSpPr>
          <a:xfrm>
            <a:off x="5828111" y="1807131"/>
            <a:ext cx="1620000" cy="1966053"/>
            <a:chOff x="5926999" y="1450153"/>
            <a:chExt cx="1620000" cy="1966053"/>
          </a:xfrm>
        </p:grpSpPr>
        <p:sp>
          <p:nvSpPr>
            <p:cNvPr id="35" name="Unità di visualizzazione grafica 34">
              <a:extLst>
                <a:ext uri="{FF2B5EF4-FFF2-40B4-BE49-F238E27FC236}">
                  <a16:creationId xmlns:a16="http://schemas.microsoft.com/office/drawing/2014/main" id="{91370744-4E49-AFFD-A16F-2D6A1BC2FA1E}"/>
                </a:ext>
              </a:extLst>
            </p:cNvPr>
            <p:cNvSpPr/>
            <p:nvPr/>
          </p:nvSpPr>
          <p:spPr>
            <a:xfrm rot="16200000">
              <a:off x="5818999" y="1558153"/>
              <a:ext cx="1836000" cy="1620000"/>
            </a:xfrm>
            <a:prstGeom prst="flowChartDisplay">
              <a:avLst/>
            </a:prstGeom>
            <a:solidFill>
              <a:schemeClr val="bg1"/>
            </a:solidFill>
            <a:ln w="19050" cap="rnd" cmpd="sng" algn="ctr">
              <a:solidFill>
                <a:srgbClr val="009B9B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defRPr/>
              </a:pPr>
              <a:r>
                <a:rPr lang="en-US" sz="1000" dirty="0">
                  <a:solidFill>
                    <a:srgbClr val="595959"/>
                  </a:solidFill>
                  <a:latin typeface="Aptos Narrow" panose="020B0004020202020204" pitchFamily="34" charset="0"/>
                  <a:ea typeface="ＭＳ Ｐゴシック"/>
                  <a:cs typeface="Arial" panose="020B0604020202020204" pitchFamily="34" charset="0"/>
                </a:rPr>
                <a:t>The Bank Unit takes charge of the application, </a:t>
              </a:r>
              <a:r>
                <a:rPr lang="en-US" sz="1000" b="1" dirty="0">
                  <a:solidFill>
                    <a:srgbClr val="595959"/>
                  </a:solidFill>
                  <a:latin typeface="Aptos Narrow" panose="020B0004020202020204" pitchFamily="34" charset="0"/>
                  <a:ea typeface="ＭＳ Ｐゴシック"/>
                  <a:cs typeface="Arial" panose="020B0604020202020204" pitchFamily="34" charset="0"/>
                </a:rPr>
                <a:t>verifies and confirms the data</a:t>
              </a:r>
              <a:r>
                <a:rPr lang="en-US" sz="1000" dirty="0">
                  <a:solidFill>
                    <a:srgbClr val="595959"/>
                  </a:solidFill>
                  <a:latin typeface="Aptos Narrow" panose="020B0004020202020204" pitchFamily="34" charset="0"/>
                  <a:ea typeface="ＭＳ Ｐゴシック"/>
                  <a:cs typeface="Arial" panose="020B0604020202020204" pitchFamily="34" charset="0"/>
                </a:rPr>
                <a:t> to register the customer, and performs a negative check. The Unit calculates the risk profile; if it is low/irrelevant, the next step is taken</a:t>
              </a:r>
            </a:p>
          </p:txBody>
        </p:sp>
        <p:sp>
          <p:nvSpPr>
            <p:cNvPr id="36" name="Ovale 35">
              <a:extLst>
                <a:ext uri="{FF2B5EF4-FFF2-40B4-BE49-F238E27FC236}">
                  <a16:creationId xmlns:a16="http://schemas.microsoft.com/office/drawing/2014/main" id="{97398A5D-27F3-85DE-D000-C1E1B665ABE5}"/>
                </a:ext>
              </a:extLst>
            </p:cNvPr>
            <p:cNvSpPr/>
            <p:nvPr/>
          </p:nvSpPr>
          <p:spPr>
            <a:xfrm>
              <a:off x="6592999" y="3128206"/>
              <a:ext cx="288000" cy="288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009999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000" b="1" dirty="0">
                  <a:solidFill>
                    <a:srgbClr val="009999"/>
                  </a:solidFill>
                  <a:latin typeface="Aptos Narrow" panose="020B0004020202020204" pitchFamily="34" charset="0"/>
                  <a:cs typeface="Arial" panose="020B0604020202020204" pitchFamily="34" charset="0"/>
                </a:rPr>
                <a:t>6</a:t>
              </a:r>
            </a:p>
          </p:txBody>
        </p:sp>
      </p:grpSp>
      <p:grpSp>
        <p:nvGrpSpPr>
          <p:cNvPr id="37" name="Gruppo 36">
            <a:extLst>
              <a:ext uri="{FF2B5EF4-FFF2-40B4-BE49-F238E27FC236}">
                <a16:creationId xmlns:a16="http://schemas.microsoft.com/office/drawing/2014/main" id="{1C89E415-3393-9849-F794-5D62837E43C0}"/>
              </a:ext>
            </a:extLst>
          </p:cNvPr>
          <p:cNvGrpSpPr/>
          <p:nvPr/>
        </p:nvGrpSpPr>
        <p:grpSpPr>
          <a:xfrm>
            <a:off x="7947483" y="1807131"/>
            <a:ext cx="1620000" cy="1978726"/>
            <a:chOff x="8237560" y="1435238"/>
            <a:chExt cx="1620000" cy="1978726"/>
          </a:xfrm>
        </p:grpSpPr>
        <p:sp>
          <p:nvSpPr>
            <p:cNvPr id="38" name="Unità di visualizzazione grafica 37">
              <a:extLst>
                <a:ext uri="{FF2B5EF4-FFF2-40B4-BE49-F238E27FC236}">
                  <a16:creationId xmlns:a16="http://schemas.microsoft.com/office/drawing/2014/main" id="{9C69C514-AF72-FEB6-F397-3C5145BB8E86}"/>
                </a:ext>
              </a:extLst>
            </p:cNvPr>
            <p:cNvSpPr/>
            <p:nvPr/>
          </p:nvSpPr>
          <p:spPr>
            <a:xfrm rot="16200000">
              <a:off x="8129560" y="1543238"/>
              <a:ext cx="1836000" cy="1620000"/>
            </a:xfrm>
            <a:prstGeom prst="flowChartDisplay">
              <a:avLst/>
            </a:prstGeom>
            <a:solidFill>
              <a:schemeClr val="bg1"/>
            </a:solidFill>
            <a:ln w="19050" cap="rnd" cmpd="sng" algn="ctr">
              <a:solidFill>
                <a:srgbClr val="009B9B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defRPr/>
              </a:pPr>
              <a:r>
                <a:rPr lang="en-US" sz="1000" dirty="0">
                  <a:solidFill>
                    <a:srgbClr val="595959"/>
                  </a:solidFill>
                  <a:latin typeface="Aptos Narrow" panose="020B0004020202020204" pitchFamily="34" charset="0"/>
                  <a:ea typeface="ＭＳ Ｐゴシック"/>
                  <a:cs typeface="Arial" panose="020B0604020202020204" pitchFamily="34" charset="0"/>
                </a:rPr>
                <a:t>The customer </a:t>
              </a:r>
              <a:r>
                <a:rPr lang="en-US" sz="1000" b="1" dirty="0">
                  <a:solidFill>
                    <a:srgbClr val="595959"/>
                  </a:solidFill>
                  <a:latin typeface="Aptos Narrow" panose="020B0004020202020204" pitchFamily="34" charset="0"/>
                  <a:ea typeface="ＭＳ Ｐゴシック"/>
                  <a:cs typeface="Arial" panose="020B0604020202020204" pitchFamily="34" charset="0"/>
                </a:rPr>
                <a:t>accepts the proposed resolution</a:t>
              </a:r>
              <a:r>
                <a:rPr lang="en-US" sz="1000" dirty="0">
                  <a:solidFill>
                    <a:srgbClr val="595959"/>
                  </a:solidFill>
                  <a:latin typeface="Aptos Narrow" panose="020B0004020202020204" pitchFamily="34" charset="0"/>
                  <a:ea typeface="ＭＳ Ｐゴシック"/>
                  <a:cs typeface="Arial" panose="020B0604020202020204" pitchFamily="34" charset="0"/>
                </a:rPr>
                <a:t>. The vendor confirms the delivery date. The customer signs the contract and the KYC via OTP.</a:t>
              </a:r>
              <a:endParaRPr lang="en-GB" sz="1000" dirty="0">
                <a:solidFill>
                  <a:srgbClr val="595959"/>
                </a:solidFill>
                <a:latin typeface="Aptos Narrow" panose="020B0004020202020204" pitchFamily="34" charset="0"/>
                <a:ea typeface="ＭＳ Ｐゴシック"/>
                <a:cs typeface="Arial" panose="020B0604020202020204" pitchFamily="34" charset="0"/>
              </a:endParaRPr>
            </a:p>
            <a:p>
              <a:pPr lvl="0" algn="ctr">
                <a:defRPr/>
              </a:pPr>
              <a:endParaRPr lang="en-GB" sz="1000" dirty="0">
                <a:solidFill>
                  <a:srgbClr val="595959"/>
                </a:solidFill>
                <a:latin typeface="Aptos Narrow" panose="020B0004020202020204" pitchFamily="34" charset="0"/>
                <a:ea typeface="ＭＳ Ｐゴシック"/>
                <a:cs typeface="Arial" panose="020B0604020202020204" pitchFamily="34" charset="0"/>
              </a:endParaRPr>
            </a:p>
            <a:p>
              <a:pPr lvl="0" algn="ctr">
                <a:defRPr/>
              </a:pPr>
              <a:endParaRPr lang="en-GB" sz="1000" dirty="0">
                <a:solidFill>
                  <a:srgbClr val="595959"/>
                </a:solidFill>
                <a:latin typeface="Aptos Narrow" panose="020B0004020202020204" pitchFamily="34" charset="0"/>
                <a:ea typeface="ＭＳ Ｐゴシック"/>
                <a:cs typeface="Arial" panose="020B0604020202020204" pitchFamily="34" charset="0"/>
              </a:endParaRPr>
            </a:p>
            <a:p>
              <a:pPr lvl="0" algn="ctr">
                <a:defRPr/>
              </a:pPr>
              <a:endParaRPr lang="en-GB" sz="1000" dirty="0">
                <a:solidFill>
                  <a:srgbClr val="595959"/>
                </a:solidFill>
                <a:latin typeface="Aptos Narrow" panose="020B00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sp>
          <p:nvSpPr>
            <p:cNvPr id="39" name="Ovale 38">
              <a:extLst>
                <a:ext uri="{FF2B5EF4-FFF2-40B4-BE49-F238E27FC236}">
                  <a16:creationId xmlns:a16="http://schemas.microsoft.com/office/drawing/2014/main" id="{87230557-6361-693F-CB24-4155846EDAF0}"/>
                </a:ext>
              </a:extLst>
            </p:cNvPr>
            <p:cNvSpPr/>
            <p:nvPr/>
          </p:nvSpPr>
          <p:spPr>
            <a:xfrm>
              <a:off x="8903560" y="3125964"/>
              <a:ext cx="288000" cy="288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009999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000" b="1" dirty="0">
                  <a:solidFill>
                    <a:srgbClr val="009999"/>
                  </a:solidFill>
                  <a:latin typeface="Aptos Narrow" panose="020B0004020202020204" pitchFamily="34" charset="0"/>
                  <a:cs typeface="Arial" panose="020B0604020202020204" pitchFamily="34" charset="0"/>
                </a:rPr>
                <a:t>8</a:t>
              </a:r>
            </a:p>
          </p:txBody>
        </p:sp>
      </p:grpSp>
      <p:grpSp>
        <p:nvGrpSpPr>
          <p:cNvPr id="40" name="Gruppo 39">
            <a:extLst>
              <a:ext uri="{FF2B5EF4-FFF2-40B4-BE49-F238E27FC236}">
                <a16:creationId xmlns:a16="http://schemas.microsoft.com/office/drawing/2014/main" id="{EDD5C683-6407-29E1-6972-31AF007182A9}"/>
              </a:ext>
            </a:extLst>
          </p:cNvPr>
          <p:cNvGrpSpPr/>
          <p:nvPr/>
        </p:nvGrpSpPr>
        <p:grpSpPr>
          <a:xfrm>
            <a:off x="10066855" y="1807131"/>
            <a:ext cx="1620000" cy="1955708"/>
            <a:chOff x="10066855" y="1453131"/>
            <a:chExt cx="1620000" cy="1955708"/>
          </a:xfrm>
        </p:grpSpPr>
        <p:sp>
          <p:nvSpPr>
            <p:cNvPr id="41" name="Unità di visualizzazione grafica 40">
              <a:extLst>
                <a:ext uri="{FF2B5EF4-FFF2-40B4-BE49-F238E27FC236}">
                  <a16:creationId xmlns:a16="http://schemas.microsoft.com/office/drawing/2014/main" id="{730D4A6C-F3AF-46D0-333A-61C3319222C7}"/>
                </a:ext>
              </a:extLst>
            </p:cNvPr>
            <p:cNvSpPr/>
            <p:nvPr/>
          </p:nvSpPr>
          <p:spPr>
            <a:xfrm rot="16200000">
              <a:off x="9958855" y="1561131"/>
              <a:ext cx="1836000" cy="1620000"/>
            </a:xfrm>
            <a:prstGeom prst="flowChartDisplay">
              <a:avLst/>
            </a:prstGeom>
            <a:solidFill>
              <a:schemeClr val="bg1"/>
            </a:solidFill>
            <a:ln w="19050" cap="rnd" cmpd="sng" algn="ctr">
              <a:solidFill>
                <a:srgbClr val="009B9B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defRPr/>
              </a:pPr>
              <a:r>
                <a:rPr lang="en-US" sz="1000" b="1" dirty="0">
                  <a:solidFill>
                    <a:srgbClr val="595959"/>
                  </a:solidFill>
                  <a:latin typeface="Aptos Narrow" panose="020B0004020202020204" pitchFamily="34" charset="0"/>
                  <a:ea typeface="ＭＳ Ｐゴシック"/>
                  <a:cs typeface="Arial" panose="020B0604020202020204" pitchFamily="34" charset="0"/>
                </a:rPr>
                <a:t>Branch / Hub / Unit / Vendor</a:t>
              </a:r>
            </a:p>
            <a:p>
              <a:pPr lvl="0" algn="ctr">
                <a:defRPr/>
              </a:pPr>
              <a:r>
                <a:rPr lang="en-US" sz="1000" b="1" dirty="0">
                  <a:solidFill>
                    <a:srgbClr val="595959"/>
                  </a:solidFill>
                  <a:latin typeface="Aptos Narrow" panose="020B0004020202020204" pitchFamily="34" charset="0"/>
                  <a:ea typeface="ＭＳ Ｐゴシック"/>
                  <a:cs typeface="Arial" panose="020B0604020202020204" pitchFamily="34" charset="0"/>
                </a:rPr>
                <a:t>Management of post-sales requests</a:t>
              </a:r>
              <a:r>
                <a:rPr lang="en-US" sz="1000" dirty="0">
                  <a:solidFill>
                    <a:srgbClr val="595959"/>
                  </a:solidFill>
                  <a:latin typeface="Aptos Narrow" panose="020B0004020202020204" pitchFamily="34" charset="0"/>
                  <a:ea typeface="ＭＳ Ｐゴシック"/>
                  <a:cs typeface="Arial" panose="020B0604020202020204" pitchFamily="34" charset="0"/>
                </a:rPr>
                <a:t>: Printing of Amortization Plan, Repayment of Advance, Change of IBAN, Deduction, etc.</a:t>
              </a:r>
            </a:p>
            <a:p>
              <a:pPr lvl="0" algn="ctr">
                <a:defRPr/>
              </a:pPr>
              <a:endParaRPr lang="en-US" sz="1000" dirty="0">
                <a:solidFill>
                  <a:srgbClr val="595959"/>
                </a:solidFill>
                <a:latin typeface="Aptos Narrow" panose="020B0004020202020204" pitchFamily="34" charset="0"/>
                <a:ea typeface="ＭＳ Ｐゴシック"/>
                <a:cs typeface="Arial" panose="020B0604020202020204" pitchFamily="34" charset="0"/>
              </a:endParaRPr>
            </a:p>
            <a:p>
              <a:pPr lvl="0" algn="ctr">
                <a:defRPr/>
              </a:pPr>
              <a:endParaRPr lang="en-GB" sz="1000" dirty="0">
                <a:solidFill>
                  <a:srgbClr val="595959"/>
                </a:solidFill>
                <a:latin typeface="Aptos Narrow" panose="020B00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sp>
          <p:nvSpPr>
            <p:cNvPr id="42" name="Ovale 41">
              <a:extLst>
                <a:ext uri="{FF2B5EF4-FFF2-40B4-BE49-F238E27FC236}">
                  <a16:creationId xmlns:a16="http://schemas.microsoft.com/office/drawing/2014/main" id="{E3B8EB37-0DA4-D25D-8097-ED3AEF4EF7CF}"/>
                </a:ext>
              </a:extLst>
            </p:cNvPr>
            <p:cNvSpPr/>
            <p:nvPr/>
          </p:nvSpPr>
          <p:spPr>
            <a:xfrm>
              <a:off x="10734196" y="3120839"/>
              <a:ext cx="288000" cy="288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009999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00" b="1" dirty="0">
                <a:solidFill>
                  <a:srgbClr val="009999"/>
                </a:solidFill>
                <a:latin typeface="Aptos Narrow" panose="020B00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3" name="Gruppo 42">
            <a:extLst>
              <a:ext uri="{FF2B5EF4-FFF2-40B4-BE49-F238E27FC236}">
                <a16:creationId xmlns:a16="http://schemas.microsoft.com/office/drawing/2014/main" id="{060AF49A-854E-D7F2-BD16-9E901BF909A0}"/>
              </a:ext>
            </a:extLst>
          </p:cNvPr>
          <p:cNvGrpSpPr/>
          <p:nvPr/>
        </p:nvGrpSpPr>
        <p:grpSpPr>
          <a:xfrm>
            <a:off x="2649053" y="4403810"/>
            <a:ext cx="1620000" cy="1953365"/>
            <a:chOff x="2484552" y="4320685"/>
            <a:chExt cx="1620000" cy="1953365"/>
          </a:xfrm>
        </p:grpSpPr>
        <p:sp>
          <p:nvSpPr>
            <p:cNvPr id="44" name="Unità di visualizzazione grafica 43">
              <a:extLst>
                <a:ext uri="{FF2B5EF4-FFF2-40B4-BE49-F238E27FC236}">
                  <a16:creationId xmlns:a16="http://schemas.microsoft.com/office/drawing/2014/main" id="{9455E29B-427E-9F41-0A33-B051FF293E30}"/>
                </a:ext>
              </a:extLst>
            </p:cNvPr>
            <p:cNvSpPr/>
            <p:nvPr/>
          </p:nvSpPr>
          <p:spPr>
            <a:xfrm rot="5400000">
              <a:off x="2394552" y="4564050"/>
              <a:ext cx="1800000" cy="1620000"/>
            </a:xfrm>
            <a:prstGeom prst="flowChartDisplay">
              <a:avLst/>
            </a:prstGeom>
            <a:solidFill>
              <a:schemeClr val="bg1"/>
            </a:solidFill>
            <a:ln w="19050" cap="rnd" cmpd="sng" algn="ctr">
              <a:solidFill>
                <a:srgbClr val="009B9B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ptos Narrow" panose="020B0004020202020204" pitchFamily="34" charset="0"/>
                  <a:ea typeface="ＭＳ Ｐゴシック"/>
                  <a:cs typeface="Arial" panose="020B0604020202020204" pitchFamily="34" charset="0"/>
                </a:rPr>
                <a:t>The customer accepts the offer </a:t>
              </a:r>
              <a:r>
                <a:rPr kumimoji="0" lang="en-US" sz="100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ptos Narrow" panose="020B0004020202020204" pitchFamily="34" charset="0"/>
                  <a:ea typeface="ＭＳ Ｐゴシック"/>
                  <a:cs typeface="Arial" panose="020B0604020202020204" pitchFamily="34" charset="0"/>
                </a:rPr>
                <a:t>and confirms the branches/poles (on which to base the relationship) automatically proposed according to the proximity to the registered office</a:t>
              </a:r>
              <a:endParaRPr kumimoji="0" lang="en-GB" sz="100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ptos Narrow" panose="020B00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sp>
          <p:nvSpPr>
            <p:cNvPr id="45" name="Ovale 44">
              <a:extLst>
                <a:ext uri="{FF2B5EF4-FFF2-40B4-BE49-F238E27FC236}">
                  <a16:creationId xmlns:a16="http://schemas.microsoft.com/office/drawing/2014/main" id="{F8C224C2-989E-5F2A-C65B-959156E8074E}"/>
                </a:ext>
              </a:extLst>
            </p:cNvPr>
            <p:cNvSpPr/>
            <p:nvPr/>
          </p:nvSpPr>
          <p:spPr>
            <a:xfrm>
              <a:off x="3150552" y="4320685"/>
              <a:ext cx="288000" cy="288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009999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000" b="1" dirty="0">
                  <a:solidFill>
                    <a:srgbClr val="009999"/>
                  </a:solidFill>
                  <a:latin typeface="Aptos Narrow" panose="020B00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</p:grpSp>
      <p:grpSp>
        <p:nvGrpSpPr>
          <p:cNvPr id="46" name="Gruppo 45">
            <a:extLst>
              <a:ext uri="{FF2B5EF4-FFF2-40B4-BE49-F238E27FC236}">
                <a16:creationId xmlns:a16="http://schemas.microsoft.com/office/drawing/2014/main" id="{EE5F4BF2-E79F-A2D8-4C2A-F554C49177CE}"/>
              </a:ext>
            </a:extLst>
          </p:cNvPr>
          <p:cNvGrpSpPr/>
          <p:nvPr/>
        </p:nvGrpSpPr>
        <p:grpSpPr>
          <a:xfrm>
            <a:off x="4775289" y="4401948"/>
            <a:ext cx="1620000" cy="1955227"/>
            <a:chOff x="4812415" y="4318823"/>
            <a:chExt cx="1620000" cy="1955227"/>
          </a:xfrm>
        </p:grpSpPr>
        <p:sp>
          <p:nvSpPr>
            <p:cNvPr id="47" name="Unità di visualizzazione grafica 46">
              <a:extLst>
                <a:ext uri="{FF2B5EF4-FFF2-40B4-BE49-F238E27FC236}">
                  <a16:creationId xmlns:a16="http://schemas.microsoft.com/office/drawing/2014/main" id="{C2DF21D1-07F2-4870-B29A-527CAC02017A}"/>
                </a:ext>
              </a:extLst>
            </p:cNvPr>
            <p:cNvSpPr/>
            <p:nvPr/>
          </p:nvSpPr>
          <p:spPr>
            <a:xfrm rot="5400000">
              <a:off x="4722415" y="4564050"/>
              <a:ext cx="1800000" cy="1620000"/>
            </a:xfrm>
            <a:prstGeom prst="flowChartDisplay">
              <a:avLst/>
            </a:prstGeom>
            <a:solidFill>
              <a:schemeClr val="bg1"/>
            </a:solidFill>
            <a:ln w="19050" cap="rnd" cmpd="sng" algn="ctr">
              <a:solidFill>
                <a:srgbClr val="009B9B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ptos Narrow" panose="020B0004020202020204" pitchFamily="34" charset="0"/>
                  <a:ea typeface="ＭＳ Ｐゴシック"/>
                  <a:cs typeface="Arial" panose="020B0604020202020204" pitchFamily="34" charset="0"/>
                </a:rPr>
                <a:t>Credit assessment through </a:t>
              </a: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ptos Narrow" panose="020B0004020202020204" pitchFamily="34" charset="0"/>
                  <a:ea typeface="ＭＳ Ｐゴシック"/>
                  <a:cs typeface="Arial" panose="020B0604020202020204" pitchFamily="34" charset="0"/>
                </a:rPr>
                <a:t>credit scoring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ptos Narrow" panose="020B0004020202020204" pitchFamily="34" charset="0"/>
                  <a:ea typeface="ＭＳ Ｐゴシック"/>
                  <a:cs typeface="Arial" panose="020B0604020202020204" pitchFamily="34" charset="0"/>
                </a:rPr>
                <a:t>. The result is shown to the vendor and communicated to the customer.</a:t>
              </a: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ptos Narrow" panose="020B00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sp>
          <p:nvSpPr>
            <p:cNvPr id="48" name="Ovale 47">
              <a:extLst>
                <a:ext uri="{FF2B5EF4-FFF2-40B4-BE49-F238E27FC236}">
                  <a16:creationId xmlns:a16="http://schemas.microsoft.com/office/drawing/2014/main" id="{B71B6562-2850-33A8-B242-E9BB5133F4B4}"/>
                </a:ext>
              </a:extLst>
            </p:cNvPr>
            <p:cNvSpPr/>
            <p:nvPr/>
          </p:nvSpPr>
          <p:spPr>
            <a:xfrm>
              <a:off x="5478415" y="4318823"/>
              <a:ext cx="288000" cy="288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009999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000" b="1" dirty="0">
                  <a:solidFill>
                    <a:srgbClr val="009999"/>
                  </a:solidFill>
                  <a:latin typeface="Aptos Narrow" panose="020B0004020202020204" pitchFamily="34" charset="0"/>
                  <a:cs typeface="Arial" panose="020B0604020202020204" pitchFamily="34" charset="0"/>
                </a:rPr>
                <a:t>5</a:t>
              </a:r>
            </a:p>
          </p:txBody>
        </p:sp>
      </p:grpSp>
      <p:grpSp>
        <p:nvGrpSpPr>
          <p:cNvPr id="49" name="Gruppo 48">
            <a:extLst>
              <a:ext uri="{FF2B5EF4-FFF2-40B4-BE49-F238E27FC236}">
                <a16:creationId xmlns:a16="http://schemas.microsoft.com/office/drawing/2014/main" id="{F2074878-02CA-58A8-3F5A-235F11F831AB}"/>
              </a:ext>
            </a:extLst>
          </p:cNvPr>
          <p:cNvGrpSpPr/>
          <p:nvPr/>
        </p:nvGrpSpPr>
        <p:grpSpPr>
          <a:xfrm>
            <a:off x="6887797" y="4409897"/>
            <a:ext cx="1620000" cy="1947278"/>
            <a:chOff x="7140278" y="4326772"/>
            <a:chExt cx="1620000" cy="1947278"/>
          </a:xfrm>
        </p:grpSpPr>
        <p:sp>
          <p:nvSpPr>
            <p:cNvPr id="50" name="Unità di visualizzazione grafica 49">
              <a:extLst>
                <a:ext uri="{FF2B5EF4-FFF2-40B4-BE49-F238E27FC236}">
                  <a16:creationId xmlns:a16="http://schemas.microsoft.com/office/drawing/2014/main" id="{07FC9C24-696B-49ED-FA2A-2787A42DCB87}"/>
                </a:ext>
              </a:extLst>
            </p:cNvPr>
            <p:cNvSpPr/>
            <p:nvPr/>
          </p:nvSpPr>
          <p:spPr>
            <a:xfrm rot="5400000">
              <a:off x="7050278" y="4564050"/>
              <a:ext cx="1800000" cy="1620000"/>
            </a:xfrm>
            <a:prstGeom prst="flowChartDisplay">
              <a:avLst/>
            </a:prstGeom>
            <a:solidFill>
              <a:schemeClr val="bg1"/>
            </a:solidFill>
            <a:ln w="19050" cap="rnd" cmpd="sng" algn="ctr">
              <a:solidFill>
                <a:srgbClr val="009B9B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ptos Narrow" panose="020B0004020202020204" pitchFamily="34" charset="0"/>
                  <a:ea typeface="ＭＳ Ｐゴシック"/>
                  <a:cs typeface="Arial" panose="020B0604020202020204" pitchFamily="34" charset="0"/>
                </a:rPr>
                <a:t>The Unit prepares the PEF (pre-filled PEF). The rating is calculated. If the position is confirmed as valid, an automatic approval is granted (24 hours), otherwise a standard credit process is initiated (2-day SLA).</a:t>
              </a: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ptos Narrow" panose="020B0004020202020204" pitchFamily="34" charset="0"/>
                <a:ea typeface="ＭＳ Ｐゴシック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1" name="Ovale 50">
              <a:extLst>
                <a:ext uri="{FF2B5EF4-FFF2-40B4-BE49-F238E27FC236}">
                  <a16:creationId xmlns:a16="http://schemas.microsoft.com/office/drawing/2014/main" id="{10D59E93-1709-2387-64FF-F0577D9A5037}"/>
                </a:ext>
              </a:extLst>
            </p:cNvPr>
            <p:cNvSpPr/>
            <p:nvPr/>
          </p:nvSpPr>
          <p:spPr>
            <a:xfrm>
              <a:off x="7806278" y="4326772"/>
              <a:ext cx="288000" cy="288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009999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000" b="1" dirty="0">
                  <a:solidFill>
                    <a:srgbClr val="009999"/>
                  </a:solidFill>
                  <a:latin typeface="Aptos Narrow" panose="020B0004020202020204" pitchFamily="34" charset="0"/>
                  <a:cs typeface="Arial" panose="020B0604020202020204" pitchFamily="34" charset="0"/>
                </a:rPr>
                <a:t>7</a:t>
              </a:r>
            </a:p>
          </p:txBody>
        </p:sp>
      </p:grpSp>
      <p:grpSp>
        <p:nvGrpSpPr>
          <p:cNvPr id="52" name="Gruppo 51">
            <a:extLst>
              <a:ext uri="{FF2B5EF4-FFF2-40B4-BE49-F238E27FC236}">
                <a16:creationId xmlns:a16="http://schemas.microsoft.com/office/drawing/2014/main" id="{4D98E490-54C4-7D14-D515-86301815CB9F}"/>
              </a:ext>
            </a:extLst>
          </p:cNvPr>
          <p:cNvGrpSpPr/>
          <p:nvPr/>
        </p:nvGrpSpPr>
        <p:grpSpPr>
          <a:xfrm>
            <a:off x="9007169" y="4386767"/>
            <a:ext cx="1620000" cy="1970408"/>
            <a:chOff x="9420013" y="4303642"/>
            <a:chExt cx="1620000" cy="1970408"/>
          </a:xfrm>
        </p:grpSpPr>
        <p:sp>
          <p:nvSpPr>
            <p:cNvPr id="53" name="Unità di visualizzazione grafica 52">
              <a:extLst>
                <a:ext uri="{FF2B5EF4-FFF2-40B4-BE49-F238E27FC236}">
                  <a16:creationId xmlns:a16="http://schemas.microsoft.com/office/drawing/2014/main" id="{5026F3EA-A92F-140E-CE95-1CE2F99D354E}"/>
                </a:ext>
              </a:extLst>
            </p:cNvPr>
            <p:cNvSpPr/>
            <p:nvPr/>
          </p:nvSpPr>
          <p:spPr>
            <a:xfrm rot="5400000">
              <a:off x="9330013" y="4564050"/>
              <a:ext cx="1800000" cy="1620000"/>
            </a:xfrm>
            <a:prstGeom prst="flowChartDisplay">
              <a:avLst/>
            </a:prstGeom>
            <a:solidFill>
              <a:schemeClr val="bg1"/>
            </a:solidFill>
            <a:ln w="19050" cap="rnd" cmpd="sng" algn="ctr">
              <a:solidFill>
                <a:srgbClr val="009B9B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ptos Narrow" panose="020B0004020202020204" pitchFamily="34" charset="0"/>
                  <a:ea typeface="ＭＳ Ｐゴシック"/>
                  <a:cs typeface="Arial" panose="020B0604020202020204" pitchFamily="34" charset="0"/>
                </a:rPr>
                <a:t>The Unit issues the credit. The goods are delivered </a:t>
              </a:r>
              <a:r>
                <a:rPr kumimoji="0" lang="en-US" sz="100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ptos Narrow" panose="020B0004020202020204" pitchFamily="34" charset="0"/>
                  <a:ea typeface="ＭＳ Ｐゴシック"/>
                  <a:cs typeface="Arial" panose="020B0604020202020204" pitchFamily="34" charset="0"/>
                </a:rPr>
                <a:t>to the Customer.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ptos Narrow" panose="020B0004020202020204" pitchFamily="34" charset="0"/>
                  <a:ea typeface="ＭＳ Ｐゴシック"/>
                  <a:cs typeface="Arial" panose="020B0604020202020204" pitchFamily="34" charset="0"/>
                </a:rPr>
                <a:t>The Vendor receives the FEE.</a:t>
              </a:r>
              <a:endParaRPr kumimoji="0" lang="en-GB" sz="100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ptos Narrow" panose="020B00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sp>
          <p:nvSpPr>
            <p:cNvPr id="54" name="Ovale 53">
              <a:extLst>
                <a:ext uri="{FF2B5EF4-FFF2-40B4-BE49-F238E27FC236}">
                  <a16:creationId xmlns:a16="http://schemas.microsoft.com/office/drawing/2014/main" id="{2891D622-A752-C207-CAD0-E3D819C4F4CC}"/>
                </a:ext>
              </a:extLst>
            </p:cNvPr>
            <p:cNvSpPr/>
            <p:nvPr/>
          </p:nvSpPr>
          <p:spPr>
            <a:xfrm>
              <a:off x="10086013" y="4303642"/>
              <a:ext cx="288000" cy="288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009999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000" b="1" dirty="0">
                  <a:solidFill>
                    <a:srgbClr val="009999"/>
                  </a:solidFill>
                  <a:latin typeface="Aptos Narrow" panose="020B0004020202020204" pitchFamily="34" charset="0"/>
                  <a:cs typeface="Arial" panose="020B0604020202020204" pitchFamily="34" charset="0"/>
                </a:rPr>
                <a:t>9</a:t>
              </a:r>
            </a:p>
          </p:txBody>
        </p:sp>
      </p:grpSp>
      <p:sp>
        <p:nvSpPr>
          <p:cNvPr id="55" name="Ovale 54">
            <a:extLst>
              <a:ext uri="{FF2B5EF4-FFF2-40B4-BE49-F238E27FC236}">
                <a16:creationId xmlns:a16="http://schemas.microsoft.com/office/drawing/2014/main" id="{51764930-00DE-C6BC-E8BE-3730D156FCA2}"/>
              </a:ext>
            </a:extLst>
          </p:cNvPr>
          <p:cNvSpPr/>
          <p:nvPr/>
        </p:nvSpPr>
        <p:spPr>
          <a:xfrm>
            <a:off x="10641803" y="3479024"/>
            <a:ext cx="468000" cy="288000"/>
          </a:xfrm>
          <a:prstGeom prst="ellipse">
            <a:avLst/>
          </a:prstGeom>
          <a:noFill/>
          <a:ln w="285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b="1" dirty="0">
                <a:solidFill>
                  <a:srgbClr val="009999"/>
                </a:solidFill>
                <a:latin typeface="Aptos Narrow" panose="020B0004020202020204" pitchFamily="34" charset="0"/>
                <a:cs typeface="Arial" panose="020B0604020202020204" pitchFamily="34" charset="0"/>
              </a:rPr>
              <a:t>10</a:t>
            </a:r>
          </a:p>
        </p:txBody>
      </p:sp>
      <p:sp>
        <p:nvSpPr>
          <p:cNvPr id="56" name="Rettangolo con angoli arrotondati in diagonale 88">
            <a:extLst>
              <a:ext uri="{FF2B5EF4-FFF2-40B4-BE49-F238E27FC236}">
                <a16:creationId xmlns:a16="http://schemas.microsoft.com/office/drawing/2014/main" id="{4920EDB6-AEDD-5ECD-F6E0-D6177B85756E}"/>
              </a:ext>
            </a:extLst>
          </p:cNvPr>
          <p:cNvSpPr/>
          <p:nvPr/>
        </p:nvSpPr>
        <p:spPr>
          <a:xfrm>
            <a:off x="4757289" y="5906417"/>
            <a:ext cx="1656000" cy="168389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dirty="0">
                <a:solidFill>
                  <a:srgbClr val="37373A"/>
                </a:solidFill>
                <a:latin typeface="Aptos Narrow" panose="020B0004020202020204" pitchFamily="34" charset="0"/>
                <a:ea typeface="ＭＳ Ｐゴシック"/>
                <a:cs typeface="Arial" panose="020B0604020202020204" pitchFamily="34" charset="0"/>
              </a:rPr>
              <a:t>FROM PHASE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37373A"/>
                </a:solidFill>
                <a:effectLst/>
                <a:uLnTx/>
                <a:uFillTx/>
                <a:latin typeface="Aptos Narrow" panose="020B0004020202020204" pitchFamily="34" charset="0"/>
                <a:ea typeface="ＭＳ Ｐゴシック"/>
                <a:cs typeface="Arial" panose="020B0604020202020204" pitchFamily="34" charset="0"/>
              </a:rPr>
              <a:t>2</a:t>
            </a:r>
          </a:p>
        </p:txBody>
      </p:sp>
      <p:sp>
        <p:nvSpPr>
          <p:cNvPr id="57" name="Ovale 56">
            <a:extLst>
              <a:ext uri="{FF2B5EF4-FFF2-40B4-BE49-F238E27FC236}">
                <a16:creationId xmlns:a16="http://schemas.microsoft.com/office/drawing/2014/main" id="{08A3CC99-14F1-CBF7-41E7-58727E2C72E0}"/>
              </a:ext>
            </a:extLst>
          </p:cNvPr>
          <p:cNvSpPr/>
          <p:nvPr/>
        </p:nvSpPr>
        <p:spPr>
          <a:xfrm>
            <a:off x="2327367" y="3268641"/>
            <a:ext cx="144000" cy="144000"/>
          </a:xfrm>
          <a:prstGeom prst="ellipse">
            <a:avLst/>
          </a:prstGeom>
          <a:solidFill>
            <a:srgbClr val="00B0F0"/>
          </a:solidFill>
          <a:ln w="285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600" b="1" dirty="0">
              <a:solidFill>
                <a:srgbClr val="009999"/>
              </a:solidFill>
              <a:latin typeface="Aptos Narrow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Ovale 57">
            <a:extLst>
              <a:ext uri="{FF2B5EF4-FFF2-40B4-BE49-F238E27FC236}">
                <a16:creationId xmlns:a16="http://schemas.microsoft.com/office/drawing/2014/main" id="{129CF3C2-08FC-3C2E-68CB-F278B982B917}"/>
              </a:ext>
            </a:extLst>
          </p:cNvPr>
          <p:cNvSpPr/>
          <p:nvPr/>
        </p:nvSpPr>
        <p:spPr>
          <a:xfrm>
            <a:off x="3387053" y="4751153"/>
            <a:ext cx="144000" cy="144000"/>
          </a:xfrm>
          <a:prstGeom prst="ellipse">
            <a:avLst/>
          </a:prstGeom>
          <a:solidFill>
            <a:srgbClr val="00B0F0"/>
          </a:solidFill>
          <a:ln w="285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600" b="1" dirty="0">
              <a:solidFill>
                <a:srgbClr val="009999"/>
              </a:solidFill>
              <a:latin typeface="Aptos Narrow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Ovale 58">
            <a:extLst>
              <a:ext uri="{FF2B5EF4-FFF2-40B4-BE49-F238E27FC236}">
                <a16:creationId xmlns:a16="http://schemas.microsoft.com/office/drawing/2014/main" id="{9DF9C56E-ACC9-E7F1-EA06-7CBFD01DB8B8}"/>
              </a:ext>
            </a:extLst>
          </p:cNvPr>
          <p:cNvSpPr/>
          <p:nvPr/>
        </p:nvSpPr>
        <p:spPr>
          <a:xfrm>
            <a:off x="5506425" y="4760228"/>
            <a:ext cx="144000" cy="144000"/>
          </a:xfrm>
          <a:prstGeom prst="ellipse">
            <a:avLst/>
          </a:prstGeom>
          <a:solidFill>
            <a:srgbClr val="00B0F0"/>
          </a:solidFill>
          <a:ln w="285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600" b="1" dirty="0">
              <a:solidFill>
                <a:srgbClr val="009999"/>
              </a:solidFill>
              <a:latin typeface="Aptos Narrow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Ovale 59">
            <a:extLst>
              <a:ext uri="{FF2B5EF4-FFF2-40B4-BE49-F238E27FC236}">
                <a16:creationId xmlns:a16="http://schemas.microsoft.com/office/drawing/2014/main" id="{632E954C-5528-5A64-CBFF-94A4D99FBBEA}"/>
              </a:ext>
            </a:extLst>
          </p:cNvPr>
          <p:cNvSpPr/>
          <p:nvPr/>
        </p:nvSpPr>
        <p:spPr>
          <a:xfrm>
            <a:off x="7625797" y="4751153"/>
            <a:ext cx="144000" cy="144000"/>
          </a:xfrm>
          <a:prstGeom prst="ellipse">
            <a:avLst/>
          </a:prstGeom>
          <a:solidFill>
            <a:srgbClr val="7030A0"/>
          </a:solidFill>
          <a:ln w="285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600" b="1" dirty="0">
              <a:solidFill>
                <a:srgbClr val="009999"/>
              </a:solidFill>
              <a:latin typeface="Aptos Narrow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Ovale 60">
            <a:extLst>
              <a:ext uri="{FF2B5EF4-FFF2-40B4-BE49-F238E27FC236}">
                <a16:creationId xmlns:a16="http://schemas.microsoft.com/office/drawing/2014/main" id="{B3FBDFFD-F68E-EB02-0C6D-628C085035F3}"/>
              </a:ext>
            </a:extLst>
          </p:cNvPr>
          <p:cNvSpPr/>
          <p:nvPr/>
        </p:nvSpPr>
        <p:spPr>
          <a:xfrm>
            <a:off x="6478527" y="3268641"/>
            <a:ext cx="144000" cy="144000"/>
          </a:xfrm>
          <a:prstGeom prst="ellipse">
            <a:avLst/>
          </a:prstGeom>
          <a:solidFill>
            <a:srgbClr val="00B0F0"/>
          </a:solidFill>
          <a:ln w="285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600" b="1" dirty="0">
              <a:solidFill>
                <a:srgbClr val="009999"/>
              </a:solidFill>
              <a:latin typeface="Aptos Narrow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Ovale 61">
            <a:extLst>
              <a:ext uri="{FF2B5EF4-FFF2-40B4-BE49-F238E27FC236}">
                <a16:creationId xmlns:a16="http://schemas.microsoft.com/office/drawing/2014/main" id="{3DB68330-9228-4541-24D3-E2FACF487F36}"/>
              </a:ext>
            </a:extLst>
          </p:cNvPr>
          <p:cNvSpPr/>
          <p:nvPr/>
        </p:nvSpPr>
        <p:spPr>
          <a:xfrm>
            <a:off x="6692873" y="3268641"/>
            <a:ext cx="144000" cy="144000"/>
          </a:xfrm>
          <a:prstGeom prst="ellipse">
            <a:avLst/>
          </a:prstGeom>
          <a:solidFill>
            <a:srgbClr val="7030A0"/>
          </a:solidFill>
          <a:ln w="285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600" b="1" dirty="0">
              <a:solidFill>
                <a:srgbClr val="009999"/>
              </a:solidFill>
              <a:latin typeface="Aptos Narrow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Ovale 62">
            <a:extLst>
              <a:ext uri="{FF2B5EF4-FFF2-40B4-BE49-F238E27FC236}">
                <a16:creationId xmlns:a16="http://schemas.microsoft.com/office/drawing/2014/main" id="{24A2783D-537A-49FF-C2CE-57FDC36ED26D}"/>
              </a:ext>
            </a:extLst>
          </p:cNvPr>
          <p:cNvSpPr/>
          <p:nvPr/>
        </p:nvSpPr>
        <p:spPr>
          <a:xfrm>
            <a:off x="8577961" y="3268641"/>
            <a:ext cx="144000" cy="144000"/>
          </a:xfrm>
          <a:prstGeom prst="ellipse">
            <a:avLst/>
          </a:prstGeom>
          <a:solidFill>
            <a:srgbClr val="00B0F0"/>
          </a:solidFill>
          <a:ln w="285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600" b="1" dirty="0">
              <a:solidFill>
                <a:srgbClr val="009999"/>
              </a:solidFill>
              <a:latin typeface="Aptos Narrow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Ovale 63">
            <a:extLst>
              <a:ext uri="{FF2B5EF4-FFF2-40B4-BE49-F238E27FC236}">
                <a16:creationId xmlns:a16="http://schemas.microsoft.com/office/drawing/2014/main" id="{5F038292-D55B-CBCC-8481-27AE87EDF6CB}"/>
              </a:ext>
            </a:extLst>
          </p:cNvPr>
          <p:cNvSpPr/>
          <p:nvPr/>
        </p:nvSpPr>
        <p:spPr>
          <a:xfrm>
            <a:off x="8792307" y="3268641"/>
            <a:ext cx="144000" cy="144000"/>
          </a:xfrm>
          <a:prstGeom prst="ellipse">
            <a:avLst/>
          </a:prstGeom>
          <a:solidFill>
            <a:srgbClr val="7030A0"/>
          </a:solidFill>
          <a:ln w="285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600" b="1" dirty="0">
              <a:solidFill>
                <a:srgbClr val="009999"/>
              </a:solidFill>
              <a:latin typeface="Aptos Narrow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Ovale 64">
            <a:extLst>
              <a:ext uri="{FF2B5EF4-FFF2-40B4-BE49-F238E27FC236}">
                <a16:creationId xmlns:a16="http://schemas.microsoft.com/office/drawing/2014/main" id="{0E5503B3-FC35-9E8E-4074-4ED1C29CB909}"/>
              </a:ext>
            </a:extLst>
          </p:cNvPr>
          <p:cNvSpPr/>
          <p:nvPr/>
        </p:nvSpPr>
        <p:spPr>
          <a:xfrm>
            <a:off x="158062" y="2134447"/>
            <a:ext cx="144000" cy="144000"/>
          </a:xfrm>
          <a:prstGeom prst="ellipse">
            <a:avLst/>
          </a:prstGeom>
          <a:solidFill>
            <a:srgbClr val="00B0F0"/>
          </a:solidFill>
          <a:ln w="285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600" b="1" dirty="0">
              <a:solidFill>
                <a:srgbClr val="009999"/>
              </a:solidFill>
              <a:latin typeface="Aptos Narrow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Ovale 65">
            <a:extLst>
              <a:ext uri="{FF2B5EF4-FFF2-40B4-BE49-F238E27FC236}">
                <a16:creationId xmlns:a16="http://schemas.microsoft.com/office/drawing/2014/main" id="{46B551A8-9B6C-23DE-9BF5-2ACAA2383450}"/>
              </a:ext>
            </a:extLst>
          </p:cNvPr>
          <p:cNvSpPr/>
          <p:nvPr/>
        </p:nvSpPr>
        <p:spPr>
          <a:xfrm>
            <a:off x="158062" y="2347129"/>
            <a:ext cx="144000" cy="144000"/>
          </a:xfrm>
          <a:prstGeom prst="ellipse">
            <a:avLst/>
          </a:prstGeom>
          <a:solidFill>
            <a:srgbClr val="7030A0"/>
          </a:solidFill>
          <a:ln w="285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600" b="1" dirty="0">
              <a:solidFill>
                <a:srgbClr val="009999"/>
              </a:solidFill>
              <a:latin typeface="Aptos Narrow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Rettangolo con angoli arrotondati in diagonale 112">
            <a:extLst>
              <a:ext uri="{FF2B5EF4-FFF2-40B4-BE49-F238E27FC236}">
                <a16:creationId xmlns:a16="http://schemas.microsoft.com/office/drawing/2014/main" id="{0FD91B42-36EB-FFC8-8BEB-000B1DD25119}"/>
              </a:ext>
            </a:extLst>
          </p:cNvPr>
          <p:cNvSpPr/>
          <p:nvPr/>
        </p:nvSpPr>
        <p:spPr>
          <a:xfrm>
            <a:off x="256076" y="2120955"/>
            <a:ext cx="972000" cy="180000"/>
          </a:xfrm>
          <a:prstGeom prst="round2Diag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i="0" u="none" strike="noStrike" kern="1200" cap="none" spc="0" normalizeH="0" baseline="0" noProof="0" dirty="0">
                <a:ln>
                  <a:noFill/>
                </a:ln>
                <a:solidFill>
                  <a:srgbClr val="37373A"/>
                </a:solidFill>
                <a:effectLst/>
                <a:uLnTx/>
                <a:uFillTx/>
                <a:latin typeface="Aptos Narrow" panose="020B0004020202020204" pitchFamily="34" charset="0"/>
                <a:ea typeface="ＭＳ Ｐゴシック"/>
                <a:cs typeface="Arial" panose="020B0604020202020204" pitchFamily="34" charset="0"/>
              </a:rPr>
              <a:t>New Platform</a:t>
            </a:r>
          </a:p>
        </p:txBody>
      </p:sp>
      <p:sp>
        <p:nvSpPr>
          <p:cNvPr id="68" name="Rettangolo con angoli arrotondati in diagonale 112">
            <a:extLst>
              <a:ext uri="{FF2B5EF4-FFF2-40B4-BE49-F238E27FC236}">
                <a16:creationId xmlns:a16="http://schemas.microsoft.com/office/drawing/2014/main" id="{85874146-A21B-895A-73E5-CB4FD4D730B8}"/>
              </a:ext>
            </a:extLst>
          </p:cNvPr>
          <p:cNvSpPr/>
          <p:nvPr/>
        </p:nvSpPr>
        <p:spPr>
          <a:xfrm>
            <a:off x="252902" y="2338544"/>
            <a:ext cx="972000" cy="180000"/>
          </a:xfrm>
          <a:prstGeom prst="round2Diag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i="0" u="none" strike="noStrike" kern="1200" cap="none" spc="0" normalizeH="0" baseline="0" noProof="0" dirty="0">
                <a:ln>
                  <a:noFill/>
                </a:ln>
                <a:solidFill>
                  <a:srgbClr val="37373A"/>
                </a:solidFill>
                <a:effectLst/>
                <a:uLnTx/>
                <a:uFillTx/>
                <a:latin typeface="Aptos Narrow" panose="020B0004020202020204" pitchFamily="34" charset="0"/>
                <a:ea typeface="ＭＳ Ｐゴシック"/>
                <a:cs typeface="Arial" panose="020B0604020202020204" pitchFamily="34" charset="0"/>
              </a:rPr>
              <a:t>CAI applications</a:t>
            </a:r>
          </a:p>
        </p:txBody>
      </p:sp>
      <p:sp>
        <p:nvSpPr>
          <p:cNvPr id="69" name="Ovale 68">
            <a:extLst>
              <a:ext uri="{FF2B5EF4-FFF2-40B4-BE49-F238E27FC236}">
                <a16:creationId xmlns:a16="http://schemas.microsoft.com/office/drawing/2014/main" id="{B637EAB9-EF29-1200-53DC-E17CBC7608CE}"/>
              </a:ext>
            </a:extLst>
          </p:cNvPr>
          <p:cNvSpPr/>
          <p:nvPr/>
        </p:nvSpPr>
        <p:spPr>
          <a:xfrm>
            <a:off x="9655773" y="4747205"/>
            <a:ext cx="144000" cy="144000"/>
          </a:xfrm>
          <a:prstGeom prst="ellipse">
            <a:avLst/>
          </a:prstGeom>
          <a:solidFill>
            <a:srgbClr val="00B0F0"/>
          </a:solidFill>
          <a:ln w="285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600" b="1" dirty="0">
              <a:solidFill>
                <a:srgbClr val="009999"/>
              </a:solidFill>
              <a:latin typeface="Aptos Narrow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Ovale 69">
            <a:extLst>
              <a:ext uri="{FF2B5EF4-FFF2-40B4-BE49-F238E27FC236}">
                <a16:creationId xmlns:a16="http://schemas.microsoft.com/office/drawing/2014/main" id="{BD0076AB-08C5-553A-EE2C-53F99C0A6657}"/>
              </a:ext>
            </a:extLst>
          </p:cNvPr>
          <p:cNvSpPr/>
          <p:nvPr/>
        </p:nvSpPr>
        <p:spPr>
          <a:xfrm>
            <a:off x="9870119" y="4747205"/>
            <a:ext cx="144000" cy="144000"/>
          </a:xfrm>
          <a:prstGeom prst="ellipse">
            <a:avLst/>
          </a:prstGeom>
          <a:solidFill>
            <a:srgbClr val="7030A0"/>
          </a:solidFill>
          <a:ln w="285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600" b="1" dirty="0">
              <a:solidFill>
                <a:srgbClr val="009999"/>
              </a:solidFill>
              <a:latin typeface="Aptos Narrow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Ovale 70">
            <a:extLst>
              <a:ext uri="{FF2B5EF4-FFF2-40B4-BE49-F238E27FC236}">
                <a16:creationId xmlns:a16="http://schemas.microsoft.com/office/drawing/2014/main" id="{9EF7A7A2-7BBB-E2E7-02F4-D3E3BB109282}"/>
              </a:ext>
            </a:extLst>
          </p:cNvPr>
          <p:cNvSpPr/>
          <p:nvPr/>
        </p:nvSpPr>
        <p:spPr>
          <a:xfrm>
            <a:off x="10784469" y="3268641"/>
            <a:ext cx="144000" cy="144000"/>
          </a:xfrm>
          <a:prstGeom prst="ellipse">
            <a:avLst/>
          </a:prstGeom>
          <a:solidFill>
            <a:srgbClr val="7030A0"/>
          </a:solidFill>
          <a:ln w="285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600" b="1" dirty="0">
              <a:solidFill>
                <a:srgbClr val="009999"/>
              </a:solidFill>
              <a:latin typeface="Aptos Narrow" panose="020B00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2" name="Connettore diritto 71">
            <a:extLst>
              <a:ext uri="{FF2B5EF4-FFF2-40B4-BE49-F238E27FC236}">
                <a16:creationId xmlns:a16="http://schemas.microsoft.com/office/drawing/2014/main" id="{953B4C22-FAE4-2E07-B8C3-053B67460B3D}"/>
              </a:ext>
            </a:extLst>
          </p:cNvPr>
          <p:cNvCxnSpPr>
            <a:cxnSpLocks/>
          </p:cNvCxnSpPr>
          <p:nvPr/>
        </p:nvCxnSpPr>
        <p:spPr>
          <a:xfrm rot="8100000" flipV="1">
            <a:off x="7332428" y="3946215"/>
            <a:ext cx="720000" cy="0"/>
          </a:xfrm>
          <a:prstGeom prst="line">
            <a:avLst/>
          </a:prstGeom>
          <a:ln w="28575">
            <a:solidFill>
              <a:srgbClr val="6666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Ovale 73">
            <a:extLst>
              <a:ext uri="{FF2B5EF4-FFF2-40B4-BE49-F238E27FC236}">
                <a16:creationId xmlns:a16="http://schemas.microsoft.com/office/drawing/2014/main" id="{4427BE76-BD35-2317-20FA-5469BAB99B1D}"/>
              </a:ext>
            </a:extLst>
          </p:cNvPr>
          <p:cNvSpPr/>
          <p:nvPr/>
        </p:nvSpPr>
        <p:spPr>
          <a:xfrm>
            <a:off x="4455739" y="3268641"/>
            <a:ext cx="144000" cy="144000"/>
          </a:xfrm>
          <a:prstGeom prst="ellipse">
            <a:avLst/>
          </a:prstGeom>
          <a:solidFill>
            <a:srgbClr val="00B0F0"/>
          </a:solidFill>
          <a:ln w="285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600" b="1" dirty="0">
              <a:solidFill>
                <a:srgbClr val="009999"/>
              </a:solidFill>
              <a:latin typeface="Aptos Narrow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Titolo 3">
            <a:extLst>
              <a:ext uri="{FF2B5EF4-FFF2-40B4-BE49-F238E27FC236}">
                <a16:creationId xmlns:a16="http://schemas.microsoft.com/office/drawing/2014/main" id="{52E5E492-C687-DC2F-AE7E-999CD590DCAF}"/>
              </a:ext>
            </a:extLst>
          </p:cNvPr>
          <p:cNvSpPr txBox="1">
            <a:spLocks/>
          </p:cNvSpPr>
          <p:nvPr/>
        </p:nvSpPr>
        <p:spPr>
          <a:xfrm>
            <a:off x="150370" y="176413"/>
            <a:ext cx="10515600" cy="475068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000" b="1" kern="1200" cap="all" baseline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700" dirty="0"/>
              <a:t>Proposed solution – The process</a:t>
            </a:r>
          </a:p>
        </p:txBody>
      </p:sp>
    </p:spTree>
    <p:extLst>
      <p:ext uri="{BB962C8B-B14F-4D97-AF65-F5344CB8AC3E}">
        <p14:creationId xmlns:p14="http://schemas.microsoft.com/office/powerpoint/2010/main" val="25918163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5A587B-5814-4D9B-9598-FE9CB954CB01}" type="slidenum">
              <a:rPr kumimoji="0" lang="fr-FR" sz="1000" b="1" i="0" u="none" strike="noStrike" kern="1200" cap="none" spc="0" normalizeH="0" baseline="0" noProof="0" smtClean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fr-FR" sz="1000" b="1" i="0" u="none" strike="noStrike" kern="1200" cap="none" spc="0" normalizeH="0" baseline="0" noProof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itre 2">
            <a:extLst>
              <a:ext uri="{FF2B5EF4-FFF2-40B4-BE49-F238E27FC236}">
                <a16:creationId xmlns:a16="http://schemas.microsoft.com/office/drawing/2014/main" id="{0ADDDDFC-D620-8A2D-7779-5107214ED0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317" y="380368"/>
            <a:ext cx="11539365" cy="519267"/>
          </a:xfrm>
        </p:spPr>
        <p:txBody>
          <a:bodyPr>
            <a:noAutofit/>
          </a:bodyPr>
          <a:lstStyle/>
          <a:p>
            <a:pPr algn="ctr" defTabSz="180000">
              <a:defRPr/>
            </a:pPr>
            <a:r>
              <a:rPr lang="en-GB" sz="2400" b="0" dirty="0">
                <a:solidFill>
                  <a:srgbClr val="009597"/>
                </a:solidFill>
                <a:latin typeface="Arial Black" panose="020B0A04020102020204" pitchFamily="34" charset="0"/>
                <a:cs typeface="Arial"/>
              </a:rPr>
              <a:t>AGENDA  </a:t>
            </a:r>
            <a:br>
              <a:rPr lang="fr-FR" sz="1600" b="0" dirty="0">
                <a:solidFill>
                  <a:srgbClr val="009597"/>
                </a:solidFill>
                <a:latin typeface="+mn-lt"/>
              </a:rPr>
            </a:br>
            <a:endParaRPr lang="fr-FR" sz="1600" b="0" dirty="0">
              <a:solidFill>
                <a:srgbClr val="009597"/>
              </a:solidFill>
              <a:latin typeface="+mn-lt"/>
              <a:cs typeface="Arial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331126B1-9B54-DD26-82E5-CF68EE6C7F62}"/>
              </a:ext>
            </a:extLst>
          </p:cNvPr>
          <p:cNvSpPr txBox="1"/>
          <p:nvPr/>
        </p:nvSpPr>
        <p:spPr>
          <a:xfrm>
            <a:off x="398236" y="1213757"/>
            <a:ext cx="11082418" cy="5539978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all" spc="0" normalizeH="0" baseline="0" noProof="0" dirty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/>
              <a:sym typeface="Wingdings" panose="05000000000000000000" pitchFamily="2" charset="2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all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  <a:sym typeface="Wingdings" panose="05000000000000000000" pitchFamily="2" charset="2"/>
              </a:rPr>
              <a:t>4  )  Improvement proposals for 2026 </a:t>
            </a: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all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  <a:sym typeface="Wingdings" panose="05000000000000000000" pitchFamily="2" charset="2"/>
              </a:rPr>
              <a:t> </a:t>
            </a: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</a:t>
            </a:r>
            <a:r>
              <a:rPr kumimoji="0" lang="en-GB" sz="1200" b="0" i="0" u="none" strike="noStrike" kern="1200" cap="all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  <a:sym typeface="Wingdings" panose="05000000000000000000" pitchFamily="2" charset="2"/>
              </a:rPr>
              <a:t></a:t>
            </a:r>
            <a:r>
              <a:rPr kumimoji="0" lang="en-GB" sz="1800" b="0" i="0" u="none" strike="noStrike" kern="1200" cap="all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  <a:sym typeface="Wingdings" panose="05000000000000000000" pitchFamily="2" charset="2"/>
              </a:rPr>
              <a:t> </a:t>
            </a:r>
            <a:r>
              <a:rPr kumimoji="0" lang="en-GB" sz="1600" b="0" i="0" u="none" strike="noStrike" kern="1200" cap="all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  <a:sym typeface="Wingdings" panose="05000000000000000000" pitchFamily="2" charset="2"/>
              </a:rPr>
              <a:t>2 or 3 issues </a:t>
            </a:r>
            <a:r>
              <a:rPr lang="en-GB" sz="1600" cap="all" dirty="0">
                <a:solidFill>
                  <a:srgbClr val="009597"/>
                </a:solidFill>
                <a:latin typeface="Arial Black" panose="020B0A04020102020204" pitchFamily="34" charset="0"/>
                <a:cs typeface="Arial"/>
                <a:sym typeface="Wingdings" panose="05000000000000000000" pitchFamily="2" charset="2"/>
              </a:rPr>
              <a:t>with </a:t>
            </a:r>
            <a:r>
              <a:rPr kumimoji="0" lang="en-GB" sz="1600" b="0" i="0" u="none" strike="noStrike" kern="1200" cap="all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  <a:sym typeface="Wingdings" panose="05000000000000000000" pitchFamily="2" charset="2"/>
              </a:rPr>
              <a:t>proposed solutions to improve new clients acquisition</a:t>
            </a: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</a:t>
            </a:r>
            <a:endParaRPr lang="en-GB" cap="all" dirty="0">
              <a:solidFill>
                <a:srgbClr val="009597"/>
              </a:solidFill>
              <a:latin typeface="Arial Black" panose="020B0A04020102020204" pitchFamily="34" charset="0"/>
              <a:cs typeface="Arial"/>
              <a:sym typeface="Wingdings" panose="05000000000000000000" pitchFamily="2" charset="2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all" spc="0" normalizeH="0" baseline="0" noProof="0" dirty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/>
              <a:sym typeface="Wingdings" panose="05000000000000000000" pitchFamily="2" charset="2"/>
            </a:endParaRPr>
          </a:p>
          <a:p>
            <a:pPr marL="342900" marR="0" lvl="0" indent="-34290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lain" startAt="5"/>
              <a:tabLst/>
              <a:defRPr/>
            </a:pPr>
            <a:r>
              <a:rPr kumimoji="0" lang="en-GB" sz="1800" b="0" i="0" u="none" strike="noStrike" kern="1200" cap="all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</a:rPr>
              <a:t>)  2026 ambitions and acquisition plan</a:t>
            </a:r>
          </a:p>
          <a:p>
            <a:pPr marR="0" lvl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GB" sz="1800" b="0" i="0" u="none" strike="noStrike" kern="1200" cap="all" spc="0" normalizeH="0" baseline="0" noProof="0" dirty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0" i="0" u="none" strike="noStrike" kern="1200" cap="all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  <a:sym typeface="Wingdings" panose="05000000000000000000" pitchFamily="2" charset="2"/>
              </a:rPr>
              <a:t>     </a:t>
            </a:r>
            <a:r>
              <a:rPr kumimoji="0" lang="en-GB" sz="1200" b="0" i="0" u="none" strike="noStrike" kern="1200" cap="all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  <a:sym typeface="Wingdings" panose="05000000000000000000" pitchFamily="2" charset="2"/>
              </a:rPr>
              <a:t></a:t>
            </a:r>
            <a:r>
              <a:rPr kumimoji="0" lang="en-GB" sz="1600" b="0" i="0" u="none" strike="noStrike" kern="1200" cap="all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  <a:sym typeface="Wingdings" panose="05000000000000000000" pitchFamily="2" charset="2"/>
              </a:rPr>
              <a:t> 2026 targets and actions plan</a:t>
            </a: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all" spc="0" normalizeH="0" baseline="0" noProof="0" dirty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all" spc="0" normalizeH="0" baseline="0" noProof="0" dirty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all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</a:rPr>
              <a:t>6  )  2026 innovations within the BPIs</a:t>
            </a: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all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  <a:sym typeface="Wingdings" panose="05000000000000000000" pitchFamily="2" charset="2"/>
              </a:rPr>
              <a:t>       </a:t>
            </a:r>
            <a:r>
              <a:rPr kumimoji="0" lang="en-GB" sz="1400" b="0" i="0" u="none" strike="noStrike" kern="1200" cap="all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  <a:sym typeface="Wingdings" panose="05000000000000000000" pitchFamily="2" charset="2"/>
              </a:rPr>
              <a:t>  </a:t>
            </a:r>
            <a:r>
              <a:rPr lang="en-GB" sz="1400" cap="all" dirty="0">
                <a:solidFill>
                  <a:srgbClr val="009597"/>
                </a:solidFill>
                <a:latin typeface="Arial Black" panose="020B0A04020102020204" pitchFamily="34" charset="0"/>
                <a:cs typeface="Arial"/>
                <a:sym typeface="Wingdings" panose="05000000000000000000" pitchFamily="2" charset="2"/>
              </a:rPr>
              <a:t>CAI acquisition synergy (Pro &amp; financial advisors)</a:t>
            </a: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cap="all" dirty="0">
                <a:solidFill>
                  <a:srgbClr val="009597"/>
                </a:solidFill>
                <a:latin typeface="Arial Black" panose="020B0A04020102020204" pitchFamily="34" charset="0"/>
                <a:cs typeface="Arial"/>
                <a:sym typeface="Wingdings" panose="05000000000000000000" pitchFamily="2" charset="2"/>
              </a:rPr>
              <a:t>            </a:t>
            </a:r>
            <a:r>
              <a:rPr lang="en-GB" sz="1400" cap="all" dirty="0" err="1">
                <a:solidFill>
                  <a:srgbClr val="009597"/>
                </a:solidFill>
                <a:latin typeface="Arial Black" panose="020B0A04020102020204" pitchFamily="34" charset="0"/>
                <a:cs typeface="Arial"/>
                <a:sym typeface="Wingdings" panose="05000000000000000000" pitchFamily="2" charset="2"/>
              </a:rPr>
              <a:t>Affari</a:t>
            </a:r>
            <a:r>
              <a:rPr lang="en-GB" sz="1400" cap="all" dirty="0">
                <a:solidFill>
                  <a:srgbClr val="009597"/>
                </a:solidFill>
                <a:latin typeface="Arial Black" panose="020B0A04020102020204" pitchFamily="34" charset="0"/>
                <a:cs typeface="Arial"/>
                <a:sym typeface="Wingdings" panose="05000000000000000000" pitchFamily="2" charset="2"/>
              </a:rPr>
              <a:t> platform </a:t>
            </a: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cap="all" dirty="0">
                <a:solidFill>
                  <a:srgbClr val="009597"/>
                </a:solidFill>
                <a:latin typeface="Arial Black" panose="020B0A04020102020204" pitchFamily="34" charset="0"/>
                <a:cs typeface="Arial"/>
                <a:sym typeface="Wingdings" panose="05000000000000000000" pitchFamily="2" charset="2"/>
              </a:rPr>
              <a:t>            New liberal </a:t>
            </a:r>
            <a:r>
              <a:rPr kumimoji="0" lang="en-GB" sz="1400" b="0" i="0" u="none" strike="noStrike" kern="1200" cap="all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  <a:sym typeface="Wingdings" panose="05000000000000000000" pitchFamily="2" charset="2"/>
              </a:rPr>
              <a:t>professions offers</a:t>
            </a: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all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  <a:sym typeface="Wingdings" panose="05000000000000000000" pitchFamily="2" charset="2"/>
              </a:rPr>
              <a:t>            Partnership</a:t>
            </a: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all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  <a:sym typeface="Wingdings" panose="05000000000000000000" pitchFamily="2" charset="2"/>
              </a:rPr>
              <a:t>            Digital Ecosystem (SB)</a:t>
            </a: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all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  <a:sym typeface="Wingdings" panose="05000000000000000000" pitchFamily="2" charset="2"/>
              </a:rPr>
              <a:t>            Digital acquisition / leads transformation …</a:t>
            </a: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400" cap="all" dirty="0">
              <a:solidFill>
                <a:srgbClr val="009597"/>
              </a:solidFill>
              <a:latin typeface="Arial Black" panose="020B0A04020102020204" pitchFamily="34" charset="0"/>
              <a:cs typeface="Arial"/>
              <a:sym typeface="Wingdings" panose="05000000000000000000" pitchFamily="2" charset="2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all" spc="0" normalizeH="0" baseline="0" noProof="0" dirty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/>
              <a:sym typeface="Wingdings" panose="05000000000000000000" pitchFamily="2" charset="2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all" spc="0" normalizeH="0" baseline="0" noProof="0" dirty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/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23545902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5A587B-5814-4D9B-9598-FE9CB954CB01}" type="slidenum">
              <a:rPr kumimoji="0" lang="fr-FR" sz="1000" b="1" i="0" u="none" strike="noStrike" kern="1200" cap="none" spc="0" normalizeH="0" baseline="0" noProof="0" smtClean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fr-FR" sz="1000" b="1" i="0" u="none" strike="noStrike" kern="1200" cap="none" spc="0" normalizeH="0" baseline="0" noProof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72BC54F7-9011-4AF9-83D4-4E85DC9DCEE2}"/>
              </a:ext>
            </a:extLst>
          </p:cNvPr>
          <p:cNvSpPr txBox="1"/>
          <p:nvPr/>
        </p:nvSpPr>
        <p:spPr>
          <a:xfrm>
            <a:off x="160871" y="1933903"/>
            <a:ext cx="12031129" cy="1495097"/>
          </a:xfrm>
          <a:prstGeom prst="rect">
            <a:avLst/>
          </a:prstGeom>
          <a:noFill/>
          <a:ln>
            <a:solidFill>
              <a:srgbClr val="007C8E"/>
            </a:solidFill>
            <a:prstDash val="sysDash"/>
          </a:ln>
        </p:spPr>
        <p:txBody>
          <a:bodyPr wrap="square" lIns="91440" tIns="45720" rIns="91440" bIns="45720" rtlCol="0" anchor="t">
            <a:noAutofit/>
          </a:bodyPr>
          <a:lstStyle/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all" spc="0" normalizeH="0" baseline="0" noProof="0" dirty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/>
              <a:sym typeface="Wingdings" panose="05000000000000000000" pitchFamily="2" charset="2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cap="all" dirty="0">
              <a:solidFill>
                <a:srgbClr val="009597"/>
              </a:solidFill>
              <a:latin typeface="Arial Black" panose="020B0A04020102020204" pitchFamily="34" charset="0"/>
              <a:cs typeface="Arial"/>
              <a:sym typeface="Wingdings" panose="05000000000000000000" pitchFamily="2" charset="2"/>
            </a:endParaRPr>
          </a:p>
          <a:p>
            <a:pPr marL="0" marR="0" lvl="0" indent="0" algn="ctr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400" cap="all" dirty="0">
                <a:solidFill>
                  <a:srgbClr val="009597"/>
                </a:solidFill>
                <a:latin typeface="Arial Black" panose="020B0A04020102020204" pitchFamily="34" charset="0"/>
                <a:ea typeface="+mj-ea"/>
                <a:cs typeface="Arial"/>
              </a:rPr>
              <a:t>1) </a:t>
            </a:r>
            <a:r>
              <a:rPr kumimoji="0" lang="en-GB" sz="2400" b="0" i="0" u="none" strike="noStrike" kern="1200" cap="all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</a:rPr>
              <a:t>2025 final acquisition results in each BPI</a:t>
            </a:r>
            <a:endParaRPr kumimoji="0" lang="en-GB" sz="2400" b="0" i="0" u="none" strike="noStrike" kern="1200" cap="all" spc="0" normalizeH="0" baseline="0" noProof="0" dirty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/>
              <a:sym typeface="Wingdings" panose="05000000000000000000" pitchFamily="2" charset="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all" spc="0" normalizeH="0" baseline="0" noProof="0" dirty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/>
              <a:sym typeface="Wingdings" panose="05000000000000000000" pitchFamily="2" charset="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all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  <a:sym typeface="Wingdings" panose="05000000000000000000" pitchFamily="2" charset="2"/>
              </a:rPr>
              <a:t>           </a:t>
            </a:r>
            <a:r>
              <a:rPr kumimoji="0" lang="en-US" sz="2800" b="0" i="0" u="none" strike="noStrike" kern="1200" cap="all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</a:rPr>
              <a:t> </a:t>
            </a:r>
            <a:endParaRPr kumimoji="0" lang="fr-FR" sz="2800" b="0" i="0" u="none" strike="noStrike" kern="1200" cap="all" spc="0" normalizeH="0" baseline="0" noProof="0" dirty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</a:t>
            </a: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-FR" sz="11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62661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ttangolo arrotondato 41"/>
          <p:cNvSpPr/>
          <p:nvPr/>
        </p:nvSpPr>
        <p:spPr>
          <a:xfrm>
            <a:off x="141363" y="2794930"/>
            <a:ext cx="1125221" cy="1605600"/>
          </a:xfrm>
          <a:prstGeom prst="roundRect">
            <a:avLst>
              <a:gd name="adj" fmla="val 1879"/>
            </a:avLst>
          </a:prstGeom>
          <a:solidFill>
            <a:schemeClr val="bg1">
              <a:lumMod val="95000"/>
            </a:schemeClr>
          </a:solidFill>
          <a:ln w="9525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numCol="1" rtlCol="0" anchor="ctr"/>
          <a:lstStyle/>
          <a:p>
            <a:pPr marL="0" marR="0" lvl="0" indent="0" algn="ctr" defTabSz="468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1" u="none" strike="noStrike" kern="1200" cap="none" spc="0" normalizeH="0" baseline="0" noProof="0" dirty="0">
                <a:ln>
                  <a:noFill/>
                </a:ln>
                <a:solidFill>
                  <a:srgbClr val="46474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quisition</a:t>
            </a:r>
          </a:p>
        </p:txBody>
      </p:sp>
      <p:sp>
        <p:nvSpPr>
          <p:cNvPr id="26" name="Rettangolo arrotondato 25"/>
          <p:cNvSpPr/>
          <p:nvPr/>
        </p:nvSpPr>
        <p:spPr>
          <a:xfrm>
            <a:off x="141363" y="4573528"/>
            <a:ext cx="1125221" cy="1605600"/>
          </a:xfrm>
          <a:prstGeom prst="roundRect">
            <a:avLst>
              <a:gd name="adj" fmla="val 1879"/>
            </a:avLst>
          </a:prstGeom>
          <a:solidFill>
            <a:schemeClr val="bg1">
              <a:lumMod val="95000"/>
            </a:schemeClr>
          </a:solidFill>
          <a:ln w="9525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numCol="1" rtlCol="0" anchor="ctr"/>
          <a:lstStyle/>
          <a:p>
            <a:pPr marL="0" marR="0" lvl="0" indent="0" algn="ctr" defTabSz="468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1" u="none" strike="noStrike" kern="1200" cap="none" spc="0" normalizeH="0" baseline="0" noProof="0" dirty="0">
                <a:ln>
                  <a:noFill/>
                </a:ln>
                <a:solidFill>
                  <a:srgbClr val="46474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oss</a:t>
            </a:r>
          </a:p>
        </p:txBody>
      </p:sp>
      <p:sp>
        <p:nvSpPr>
          <p:cNvPr id="36" name="Rettangolo arrotondato 35"/>
          <p:cNvSpPr/>
          <p:nvPr/>
        </p:nvSpPr>
        <p:spPr>
          <a:xfrm>
            <a:off x="141363" y="1016841"/>
            <a:ext cx="1125221" cy="1605600"/>
          </a:xfrm>
          <a:prstGeom prst="roundRect">
            <a:avLst>
              <a:gd name="adj" fmla="val 1879"/>
            </a:avLst>
          </a:prstGeom>
          <a:solidFill>
            <a:schemeClr val="bg1">
              <a:lumMod val="95000"/>
            </a:schemeClr>
          </a:solidFill>
          <a:ln w="9525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numCol="1" rtlCol="0" anchor="ctr"/>
          <a:lstStyle/>
          <a:p>
            <a:pPr marL="0" marR="0" lvl="0" indent="0" algn="ctr" defTabSz="468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1" u="none" strike="noStrike" kern="1200" cap="none" spc="0" normalizeH="0" baseline="0" noProof="0" dirty="0">
                <a:ln>
                  <a:noFill/>
                </a:ln>
                <a:solidFill>
                  <a:srgbClr val="46474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t balance</a:t>
            </a:r>
          </a:p>
        </p:txBody>
      </p:sp>
      <p:sp>
        <p:nvSpPr>
          <p:cNvPr id="39" name="Rettangolo arrotondato 38"/>
          <p:cNvSpPr/>
          <p:nvPr/>
        </p:nvSpPr>
        <p:spPr>
          <a:xfrm>
            <a:off x="1245491" y="496796"/>
            <a:ext cx="4283242" cy="242489"/>
          </a:xfrm>
          <a:prstGeom prst="roundRect">
            <a:avLst>
              <a:gd name="adj" fmla="val 1879"/>
            </a:avLst>
          </a:prstGeom>
          <a:noFill/>
          <a:ln w="9525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numCol="1" rtlCol="0" anchor="ctr"/>
          <a:lstStyle/>
          <a:p>
            <a:pPr marL="0" marR="0" lvl="0" indent="0" algn="ctr" defTabSz="468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600" b="1" i="1" dirty="0">
                <a:solidFill>
                  <a:srgbClr val="707173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GB" sz="1600" b="1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24 full year</a:t>
            </a:r>
          </a:p>
        </p:txBody>
      </p:sp>
      <p:sp>
        <p:nvSpPr>
          <p:cNvPr id="41" name="Rettangolo arrotondato 40"/>
          <p:cNvSpPr/>
          <p:nvPr/>
        </p:nvSpPr>
        <p:spPr>
          <a:xfrm>
            <a:off x="5401135" y="475003"/>
            <a:ext cx="4283242" cy="242489"/>
          </a:xfrm>
          <a:prstGeom prst="roundRect">
            <a:avLst>
              <a:gd name="adj" fmla="val 1879"/>
            </a:avLst>
          </a:prstGeom>
          <a:noFill/>
          <a:ln w="9525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numCol="1" rtlCol="0" anchor="ctr"/>
          <a:lstStyle/>
          <a:p>
            <a:pPr marL="0" marR="0" lvl="0" indent="0" algn="ctr" defTabSz="468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2025 full year</a:t>
            </a:r>
          </a:p>
        </p:txBody>
      </p:sp>
      <p:sp>
        <p:nvSpPr>
          <p:cNvPr id="43" name="Rettangolo 42"/>
          <p:cNvSpPr/>
          <p:nvPr/>
        </p:nvSpPr>
        <p:spPr>
          <a:xfrm>
            <a:off x="9471025" y="583109"/>
            <a:ext cx="2560388" cy="5625125"/>
          </a:xfrm>
          <a:prstGeom prst="rect">
            <a:avLst/>
          </a:prstGeom>
          <a:solidFill>
            <a:srgbClr val="F2F2F2">
              <a:alpha val="69804"/>
            </a:srgbClr>
          </a:solidFill>
          <a:ln w="9525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numCol="1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rgbClr val="008B8D"/>
              </a:buClr>
              <a:buSzTx/>
              <a:buFontTx/>
              <a:buNone/>
              <a:tabLst/>
              <a:defRPr/>
            </a:pPr>
            <a:endParaRPr kumimoji="0" lang="en-US" sz="1150" b="1" i="0" u="none" strike="noStrike" kern="1200" cap="none" spc="0" normalizeH="0" baseline="0" noProof="0" dirty="0">
              <a:ln>
                <a:noFill/>
              </a:ln>
              <a:solidFill>
                <a:srgbClr val="009597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rgbClr val="008B8D"/>
              </a:buClr>
              <a:buSzTx/>
              <a:buFontTx/>
              <a:buNone/>
              <a:tabLst/>
              <a:defRPr/>
            </a:pPr>
            <a:r>
              <a:rPr lang="en-US" sz="115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ents</a:t>
            </a:r>
            <a:endParaRPr kumimoji="0" lang="en-US" sz="115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>
              <a:spcAft>
                <a:spcPts val="100"/>
              </a:spcAft>
              <a:buClr>
                <a:srgbClr val="008B8D"/>
              </a:buClr>
              <a:defRPr/>
            </a:pPr>
            <a:r>
              <a:rPr lang="en-US" sz="1150" b="1" dirty="0">
                <a:solidFill>
                  <a:srgbClr val="009597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4 vs 2025</a:t>
            </a:r>
          </a:p>
          <a:p>
            <a:pPr lvl="0">
              <a:spcAft>
                <a:spcPts val="600"/>
              </a:spcAft>
              <a:buClr>
                <a:srgbClr val="008B8D"/>
              </a:buClr>
              <a:defRPr/>
            </a:pPr>
            <a:r>
              <a:rPr lang="en-US" sz="1150" dirty="0">
                <a:solidFill>
                  <a:srgbClr val="707173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sz="1150" b="1" dirty="0">
                <a:solidFill>
                  <a:srgbClr val="707173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balance </a:t>
            </a:r>
            <a:r>
              <a:rPr lang="en-US" sz="1150" dirty="0">
                <a:solidFill>
                  <a:srgbClr val="707173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2025 is</a:t>
            </a:r>
            <a:r>
              <a:rPr lang="en-US" sz="1150" b="1" dirty="0">
                <a:solidFill>
                  <a:srgbClr val="707173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4981, higher </a:t>
            </a:r>
            <a:r>
              <a:rPr lang="en-US" sz="1150" dirty="0">
                <a:solidFill>
                  <a:srgbClr val="707173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 the previous year (3428 clients) because of the </a:t>
            </a:r>
            <a:r>
              <a:rPr lang="en-US" sz="1150" b="1" dirty="0">
                <a:solidFill>
                  <a:srgbClr val="707173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</a:t>
            </a:r>
            <a:r>
              <a:rPr lang="en-US" sz="1150" dirty="0">
                <a:solidFill>
                  <a:srgbClr val="707173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 Acquisition in 2025 and the decrease of lost clients.</a:t>
            </a:r>
          </a:p>
          <a:p>
            <a:pPr lvl="0">
              <a:spcBef>
                <a:spcPts val="450"/>
              </a:spcBef>
              <a:spcAft>
                <a:spcPts val="100"/>
              </a:spcAft>
              <a:buClr>
                <a:srgbClr val="008B8D"/>
              </a:buClr>
              <a:defRPr/>
            </a:pPr>
            <a:r>
              <a:rPr lang="en-US" sz="1150" b="1" dirty="0">
                <a:solidFill>
                  <a:srgbClr val="009597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4 2025</a:t>
            </a:r>
            <a:endParaRPr lang="en-US" sz="1150" dirty="0">
              <a:solidFill>
                <a:srgbClr val="707173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spcAft>
                <a:spcPts val="600"/>
              </a:spcAft>
              <a:buClr>
                <a:srgbClr val="008B8D"/>
              </a:buClr>
              <a:defRPr/>
            </a:pPr>
            <a:r>
              <a:rPr lang="en-US" sz="1150" dirty="0">
                <a:solidFill>
                  <a:srgbClr val="707173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sz="1150" b="1" dirty="0" err="1">
                <a:solidFill>
                  <a:srgbClr val="707173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quistion</a:t>
            </a:r>
            <a:r>
              <a:rPr lang="en-US" sz="1150" b="1" dirty="0">
                <a:solidFill>
                  <a:srgbClr val="707173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rend in the past 3 months </a:t>
            </a:r>
            <a:r>
              <a:rPr lang="en-US" sz="1150" dirty="0">
                <a:solidFill>
                  <a:srgbClr val="707173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ains positive</a:t>
            </a:r>
            <a:r>
              <a:rPr lang="en-US" sz="1150" b="1" dirty="0">
                <a:solidFill>
                  <a:srgbClr val="707173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en-US" sz="1150" dirty="0">
              <a:solidFill>
                <a:srgbClr val="707173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spcAft>
                <a:spcPts val="600"/>
              </a:spcAft>
              <a:buClr>
                <a:srgbClr val="008B8D"/>
              </a:buClr>
              <a:buFont typeface="Arial" panose="020B0604020202020204" pitchFamily="34" charset="0"/>
              <a:buChar char="•"/>
              <a:defRPr/>
            </a:pPr>
            <a:r>
              <a:rPr lang="en-US" sz="1150" b="1" dirty="0">
                <a:solidFill>
                  <a:srgbClr val="009597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+ 5.563 </a:t>
            </a:r>
            <a:r>
              <a:rPr lang="en-US" sz="1150" b="1" dirty="0">
                <a:solidFill>
                  <a:srgbClr val="00949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quired</a:t>
            </a:r>
            <a:r>
              <a:rPr lang="en-US" sz="1150" dirty="0">
                <a:solidFill>
                  <a:srgbClr val="707173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ents between October and December, more than the acquired clients in the same period of 2024 (5.497)</a:t>
            </a:r>
          </a:p>
          <a:p>
            <a:pPr marL="171450" indent="-171450">
              <a:spcAft>
                <a:spcPts val="600"/>
              </a:spcAft>
              <a:buClr>
                <a:srgbClr val="008B8D"/>
              </a:buClr>
              <a:buFont typeface="Arial" panose="020B0604020202020204" pitchFamily="34" charset="0"/>
              <a:buChar char="•"/>
              <a:defRPr/>
            </a:pPr>
            <a:r>
              <a:rPr lang="en-US" sz="1150" dirty="0">
                <a:solidFill>
                  <a:srgbClr val="707173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e whole year 2025, Poli </a:t>
            </a:r>
            <a:r>
              <a:rPr lang="en-US" sz="1150" dirty="0" err="1">
                <a:solidFill>
                  <a:srgbClr val="707173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fari</a:t>
            </a:r>
            <a:r>
              <a:rPr lang="en-US" sz="1150" dirty="0">
                <a:solidFill>
                  <a:srgbClr val="707173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ave acquired 385 more clients than 2024 and Branches have acquired 946 more clients than 2024</a:t>
            </a:r>
          </a:p>
          <a:p>
            <a:pPr>
              <a:spcAft>
                <a:spcPts val="600"/>
              </a:spcAft>
              <a:buClr>
                <a:srgbClr val="008B8D"/>
              </a:buClr>
              <a:defRPr/>
            </a:pPr>
            <a:r>
              <a:rPr lang="en-US" sz="115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en-US" sz="1150" b="1" dirty="0">
                <a:solidFill>
                  <a:srgbClr val="00949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5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end of lost clients is also  more positive in 2025 </a:t>
            </a:r>
            <a:r>
              <a:rPr lang="en-US" sz="115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 in the same period of 2024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100"/>
              </a:spcAft>
              <a:buClr>
                <a:srgbClr val="008B8D"/>
              </a:buClr>
              <a:buSzTx/>
              <a:buFontTx/>
              <a:buNone/>
              <a:tabLst/>
              <a:defRPr/>
            </a:pPr>
            <a:endParaRPr kumimoji="0" lang="en-US" sz="115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Titre 2">
            <a:extLst>
              <a:ext uri="{FF2B5EF4-FFF2-40B4-BE49-F238E27FC236}">
                <a16:creationId xmlns:a16="http://schemas.microsoft.com/office/drawing/2014/main" id="{0ADDDDFC-D620-8A2D-7779-5107214ED0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249" y="72315"/>
            <a:ext cx="11918385" cy="519267"/>
          </a:xfrm>
        </p:spPr>
        <p:txBody>
          <a:bodyPr>
            <a:noAutofit/>
          </a:bodyPr>
          <a:lstStyle/>
          <a:p>
            <a:pPr defTabSz="180000">
              <a:defRPr/>
            </a:pPr>
            <a:r>
              <a:rPr lang="en-US" sz="2400" b="0" dirty="0">
                <a:latin typeface="Arial Black" panose="020B0A04020102020204" pitchFamily="34" charset="0"/>
                <a:cs typeface="Arial"/>
              </a:rPr>
              <a:t>Key figures acquisition / 2025 full year</a:t>
            </a:r>
            <a:endParaRPr lang="en-GB" sz="2400" b="0" dirty="0">
              <a:solidFill>
                <a:srgbClr val="009597"/>
              </a:solidFill>
              <a:latin typeface="+mn-lt"/>
              <a:cs typeface="Arial"/>
            </a:endParaRPr>
          </a:p>
        </p:txBody>
      </p:sp>
      <p:cxnSp>
        <p:nvCxnSpPr>
          <p:cNvPr id="6" name="Connettore diritto 5"/>
          <p:cNvCxnSpPr/>
          <p:nvPr/>
        </p:nvCxnSpPr>
        <p:spPr>
          <a:xfrm>
            <a:off x="215249" y="2715809"/>
            <a:ext cx="8891960" cy="0"/>
          </a:xfrm>
          <a:prstGeom prst="line">
            <a:avLst/>
          </a:prstGeom>
          <a:ln w="3175">
            <a:solidFill>
              <a:schemeClr val="tx1">
                <a:lumMod val="60000"/>
                <a:lumOff val="4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ttangolo 60"/>
          <p:cNvSpPr/>
          <p:nvPr/>
        </p:nvSpPr>
        <p:spPr>
          <a:xfrm>
            <a:off x="1367558" y="2742192"/>
            <a:ext cx="4016407" cy="1606618"/>
          </a:xfrm>
          <a:prstGeom prst="rect">
            <a:avLst/>
          </a:prstGeom>
          <a:noFill/>
          <a:ln w="3175">
            <a:solidFill>
              <a:srgbClr val="E6E6E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9" name="Rettangolo 68"/>
          <p:cNvSpPr/>
          <p:nvPr/>
        </p:nvSpPr>
        <p:spPr>
          <a:xfrm>
            <a:off x="1378909" y="4566859"/>
            <a:ext cx="4016407" cy="1606618"/>
          </a:xfrm>
          <a:prstGeom prst="rect">
            <a:avLst/>
          </a:prstGeom>
          <a:noFill/>
          <a:ln w="3175">
            <a:solidFill>
              <a:srgbClr val="E6E6E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1" name="Rettangolo 80"/>
          <p:cNvSpPr/>
          <p:nvPr/>
        </p:nvSpPr>
        <p:spPr>
          <a:xfrm>
            <a:off x="5462328" y="2406551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Jan</a:t>
            </a:r>
            <a:endParaRPr kumimoji="0" lang="en-GB" sz="16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2" name="Rettangolo 81"/>
          <p:cNvSpPr/>
          <p:nvPr/>
        </p:nvSpPr>
        <p:spPr>
          <a:xfrm>
            <a:off x="5788088" y="2406551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eb</a:t>
            </a:r>
            <a:endParaRPr kumimoji="0" lang="en-GB" sz="16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3" name="Rettangolo 82"/>
          <p:cNvSpPr/>
          <p:nvPr/>
        </p:nvSpPr>
        <p:spPr>
          <a:xfrm>
            <a:off x="6113699" y="2406551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r</a:t>
            </a:r>
            <a:endParaRPr kumimoji="0" lang="en-GB" sz="16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4" name="Rettangolo 83"/>
          <p:cNvSpPr/>
          <p:nvPr/>
        </p:nvSpPr>
        <p:spPr>
          <a:xfrm>
            <a:off x="6406707" y="2406551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r</a:t>
            </a:r>
            <a:endParaRPr kumimoji="0" lang="en-GB" sz="16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5" name="Rettangolo 84"/>
          <p:cNvSpPr/>
          <p:nvPr/>
        </p:nvSpPr>
        <p:spPr>
          <a:xfrm>
            <a:off x="6749141" y="2406551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y</a:t>
            </a:r>
            <a:endParaRPr kumimoji="0" lang="en-GB" sz="16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6" name="Rettangolo 85"/>
          <p:cNvSpPr/>
          <p:nvPr/>
        </p:nvSpPr>
        <p:spPr>
          <a:xfrm>
            <a:off x="7005080" y="2406551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Jun</a:t>
            </a:r>
            <a:endParaRPr kumimoji="0" lang="en-GB" sz="16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8" name="Rettangolo 87"/>
          <p:cNvSpPr/>
          <p:nvPr/>
        </p:nvSpPr>
        <p:spPr>
          <a:xfrm>
            <a:off x="5473842" y="2791209"/>
            <a:ext cx="4016407" cy="1606619"/>
          </a:xfrm>
          <a:prstGeom prst="rect">
            <a:avLst/>
          </a:prstGeom>
          <a:noFill/>
          <a:ln w="3175">
            <a:solidFill>
              <a:srgbClr val="E6E6E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6" name="Rettangolo 95"/>
          <p:cNvSpPr/>
          <p:nvPr/>
        </p:nvSpPr>
        <p:spPr>
          <a:xfrm>
            <a:off x="5473842" y="4566859"/>
            <a:ext cx="4016407" cy="1606618"/>
          </a:xfrm>
          <a:prstGeom prst="rect">
            <a:avLst/>
          </a:prstGeom>
          <a:noFill/>
          <a:ln w="3175">
            <a:solidFill>
              <a:srgbClr val="E6E6E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6" name="Rettangolo 105"/>
          <p:cNvSpPr/>
          <p:nvPr/>
        </p:nvSpPr>
        <p:spPr>
          <a:xfrm>
            <a:off x="1378909" y="1018770"/>
            <a:ext cx="4016407" cy="1606618"/>
          </a:xfrm>
          <a:prstGeom prst="rect">
            <a:avLst/>
          </a:prstGeom>
          <a:noFill/>
          <a:ln w="3175">
            <a:solidFill>
              <a:srgbClr val="E6E6E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Rettangolo 3">
            <a:extLst>
              <a:ext uri="{FF2B5EF4-FFF2-40B4-BE49-F238E27FC236}">
                <a16:creationId xmlns:a16="http://schemas.microsoft.com/office/drawing/2014/main" id="{A9E87582-AA75-64CE-68AA-605428E3DC97}"/>
              </a:ext>
            </a:extLst>
          </p:cNvPr>
          <p:cNvSpPr/>
          <p:nvPr/>
        </p:nvSpPr>
        <p:spPr>
          <a:xfrm>
            <a:off x="7298088" y="2406551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Jul</a:t>
            </a:r>
          </a:p>
        </p:txBody>
      </p:sp>
      <p:sp>
        <p:nvSpPr>
          <p:cNvPr id="5" name="Rettangolo 4">
            <a:extLst>
              <a:ext uri="{FF2B5EF4-FFF2-40B4-BE49-F238E27FC236}">
                <a16:creationId xmlns:a16="http://schemas.microsoft.com/office/drawing/2014/main" id="{D668DC7D-03D3-B2AD-C95F-A5E321E704E2}"/>
              </a:ext>
            </a:extLst>
          </p:cNvPr>
          <p:cNvSpPr/>
          <p:nvPr/>
        </p:nvSpPr>
        <p:spPr>
          <a:xfrm>
            <a:off x="7652878" y="2406551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ug</a:t>
            </a:r>
          </a:p>
        </p:txBody>
      </p:sp>
      <p:sp>
        <p:nvSpPr>
          <p:cNvPr id="8" name="Rettangolo 7">
            <a:extLst>
              <a:ext uri="{FF2B5EF4-FFF2-40B4-BE49-F238E27FC236}">
                <a16:creationId xmlns:a16="http://schemas.microsoft.com/office/drawing/2014/main" id="{250D149C-BC7A-1B7C-4696-2FEBB5DF2708}"/>
              </a:ext>
            </a:extLst>
          </p:cNvPr>
          <p:cNvSpPr/>
          <p:nvPr/>
        </p:nvSpPr>
        <p:spPr>
          <a:xfrm>
            <a:off x="7921179" y="2406551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p</a:t>
            </a:r>
          </a:p>
        </p:txBody>
      </p:sp>
      <p:cxnSp>
        <p:nvCxnSpPr>
          <p:cNvPr id="9" name="Connettore 2 8">
            <a:extLst>
              <a:ext uri="{FF2B5EF4-FFF2-40B4-BE49-F238E27FC236}">
                <a16:creationId xmlns:a16="http://schemas.microsoft.com/office/drawing/2014/main" id="{CE4EEF64-9CAA-6096-52DD-6EBC1FE5710A}"/>
              </a:ext>
            </a:extLst>
          </p:cNvPr>
          <p:cNvCxnSpPr>
            <a:cxnSpLocks/>
          </p:cNvCxnSpPr>
          <p:nvPr/>
        </p:nvCxnSpPr>
        <p:spPr>
          <a:xfrm>
            <a:off x="5573455" y="2318751"/>
            <a:ext cx="3672000" cy="0"/>
          </a:xfrm>
          <a:prstGeom prst="straightConnector1">
            <a:avLst/>
          </a:prstGeom>
          <a:ln w="3175">
            <a:solidFill>
              <a:schemeClr val="tx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ttore 2 19">
            <a:extLst>
              <a:ext uri="{FF2B5EF4-FFF2-40B4-BE49-F238E27FC236}">
                <a16:creationId xmlns:a16="http://schemas.microsoft.com/office/drawing/2014/main" id="{5FD4EC77-38C7-436D-A027-A4065E86F2C7}"/>
              </a:ext>
            </a:extLst>
          </p:cNvPr>
          <p:cNvCxnSpPr>
            <a:cxnSpLocks/>
          </p:cNvCxnSpPr>
          <p:nvPr/>
        </p:nvCxnSpPr>
        <p:spPr>
          <a:xfrm>
            <a:off x="5573455" y="4073546"/>
            <a:ext cx="3740899" cy="0"/>
          </a:xfrm>
          <a:prstGeom prst="straightConnector1">
            <a:avLst/>
          </a:prstGeom>
          <a:ln w="3175">
            <a:solidFill>
              <a:schemeClr val="tx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ttangolo 36">
            <a:extLst>
              <a:ext uri="{FF2B5EF4-FFF2-40B4-BE49-F238E27FC236}">
                <a16:creationId xmlns:a16="http://schemas.microsoft.com/office/drawing/2014/main" id="{24F839B5-81EA-A47B-67A6-A838A3909BDC}"/>
              </a:ext>
            </a:extLst>
          </p:cNvPr>
          <p:cNvSpPr/>
          <p:nvPr/>
        </p:nvSpPr>
        <p:spPr>
          <a:xfrm>
            <a:off x="5460365" y="1018770"/>
            <a:ext cx="4016407" cy="1606618"/>
          </a:xfrm>
          <a:prstGeom prst="rect">
            <a:avLst/>
          </a:prstGeom>
          <a:noFill/>
          <a:ln w="3175">
            <a:solidFill>
              <a:srgbClr val="E6E6E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Rettangolo 2">
            <a:extLst>
              <a:ext uri="{FF2B5EF4-FFF2-40B4-BE49-F238E27FC236}">
                <a16:creationId xmlns:a16="http://schemas.microsoft.com/office/drawing/2014/main" id="{6C71BE8A-679F-FD13-893F-81193CA27792}"/>
              </a:ext>
            </a:extLst>
          </p:cNvPr>
          <p:cNvSpPr/>
          <p:nvPr/>
        </p:nvSpPr>
        <p:spPr>
          <a:xfrm>
            <a:off x="8257273" y="2406551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 err="1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ctt</a:t>
            </a:r>
            <a:endParaRPr kumimoji="0" lang="en-GB" sz="9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Rettangolo 6">
            <a:extLst>
              <a:ext uri="{FF2B5EF4-FFF2-40B4-BE49-F238E27FC236}">
                <a16:creationId xmlns:a16="http://schemas.microsoft.com/office/drawing/2014/main" id="{A55C2E9E-E83F-D488-E075-9C2F829A26A4}"/>
              </a:ext>
            </a:extLst>
          </p:cNvPr>
          <p:cNvSpPr/>
          <p:nvPr/>
        </p:nvSpPr>
        <p:spPr>
          <a:xfrm>
            <a:off x="8541627" y="2406551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i="1" dirty="0">
                <a:solidFill>
                  <a:srgbClr val="707173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v</a:t>
            </a:r>
            <a:endParaRPr kumimoji="0" lang="en-GB" sz="9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" name="Rettangolo 32">
            <a:extLst>
              <a:ext uri="{FF2B5EF4-FFF2-40B4-BE49-F238E27FC236}">
                <a16:creationId xmlns:a16="http://schemas.microsoft.com/office/drawing/2014/main" id="{E2FAD645-8222-2F71-CCCB-603DF797C379}"/>
              </a:ext>
            </a:extLst>
          </p:cNvPr>
          <p:cNvSpPr/>
          <p:nvPr/>
        </p:nvSpPr>
        <p:spPr>
          <a:xfrm>
            <a:off x="8875417" y="2406551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i="1" dirty="0">
                <a:solidFill>
                  <a:srgbClr val="707173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</a:t>
            </a:r>
            <a:endParaRPr kumimoji="0" lang="en-GB" sz="9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8" name="Rettangolo 37">
            <a:extLst>
              <a:ext uri="{FF2B5EF4-FFF2-40B4-BE49-F238E27FC236}">
                <a16:creationId xmlns:a16="http://schemas.microsoft.com/office/drawing/2014/main" id="{02F1BC6F-B777-8BCB-53BE-B3A208E9BCB3}"/>
              </a:ext>
            </a:extLst>
          </p:cNvPr>
          <p:cNvSpPr/>
          <p:nvPr/>
        </p:nvSpPr>
        <p:spPr>
          <a:xfrm>
            <a:off x="5482138" y="4164476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Jan</a:t>
            </a:r>
            <a:endParaRPr kumimoji="0" lang="en-GB" sz="16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0" name="Rettangolo 39">
            <a:extLst>
              <a:ext uri="{FF2B5EF4-FFF2-40B4-BE49-F238E27FC236}">
                <a16:creationId xmlns:a16="http://schemas.microsoft.com/office/drawing/2014/main" id="{CE850999-9645-5E59-403D-BF4289901FBD}"/>
              </a:ext>
            </a:extLst>
          </p:cNvPr>
          <p:cNvSpPr/>
          <p:nvPr/>
        </p:nvSpPr>
        <p:spPr>
          <a:xfrm>
            <a:off x="5807898" y="4164476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eb</a:t>
            </a:r>
            <a:endParaRPr kumimoji="0" lang="en-GB" sz="16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4" name="Rettangolo 43">
            <a:extLst>
              <a:ext uri="{FF2B5EF4-FFF2-40B4-BE49-F238E27FC236}">
                <a16:creationId xmlns:a16="http://schemas.microsoft.com/office/drawing/2014/main" id="{685DA487-9252-B014-2774-0AA49AF39BB4}"/>
              </a:ext>
            </a:extLst>
          </p:cNvPr>
          <p:cNvSpPr/>
          <p:nvPr/>
        </p:nvSpPr>
        <p:spPr>
          <a:xfrm>
            <a:off x="6133509" y="4164476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r</a:t>
            </a:r>
            <a:endParaRPr kumimoji="0" lang="en-GB" sz="16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5" name="Rettangolo 44">
            <a:extLst>
              <a:ext uri="{FF2B5EF4-FFF2-40B4-BE49-F238E27FC236}">
                <a16:creationId xmlns:a16="http://schemas.microsoft.com/office/drawing/2014/main" id="{6AF72DA8-19E2-400D-C7BA-33A74070FA3B}"/>
              </a:ext>
            </a:extLst>
          </p:cNvPr>
          <p:cNvSpPr/>
          <p:nvPr/>
        </p:nvSpPr>
        <p:spPr>
          <a:xfrm>
            <a:off x="6426517" y="4164476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r</a:t>
            </a:r>
            <a:endParaRPr kumimoji="0" lang="en-GB" sz="16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6" name="Rettangolo 45">
            <a:extLst>
              <a:ext uri="{FF2B5EF4-FFF2-40B4-BE49-F238E27FC236}">
                <a16:creationId xmlns:a16="http://schemas.microsoft.com/office/drawing/2014/main" id="{9359D060-6E1F-7902-F1FA-32BBF9258CBF}"/>
              </a:ext>
            </a:extLst>
          </p:cNvPr>
          <p:cNvSpPr/>
          <p:nvPr/>
        </p:nvSpPr>
        <p:spPr>
          <a:xfrm>
            <a:off x="6768951" y="4164476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y</a:t>
            </a:r>
            <a:endParaRPr kumimoji="0" lang="en-GB" sz="16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7" name="Rettangolo 46">
            <a:extLst>
              <a:ext uri="{FF2B5EF4-FFF2-40B4-BE49-F238E27FC236}">
                <a16:creationId xmlns:a16="http://schemas.microsoft.com/office/drawing/2014/main" id="{9D3056D0-E419-CA5A-6D58-0DC266A08380}"/>
              </a:ext>
            </a:extLst>
          </p:cNvPr>
          <p:cNvSpPr/>
          <p:nvPr/>
        </p:nvSpPr>
        <p:spPr>
          <a:xfrm>
            <a:off x="7024890" y="4164476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Jun</a:t>
            </a:r>
            <a:endParaRPr kumimoji="0" lang="en-GB" sz="16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8" name="Rettangolo 47">
            <a:extLst>
              <a:ext uri="{FF2B5EF4-FFF2-40B4-BE49-F238E27FC236}">
                <a16:creationId xmlns:a16="http://schemas.microsoft.com/office/drawing/2014/main" id="{4E556CCD-979E-E767-9CEF-2EBECA2E5C8F}"/>
              </a:ext>
            </a:extLst>
          </p:cNvPr>
          <p:cNvSpPr/>
          <p:nvPr/>
        </p:nvSpPr>
        <p:spPr>
          <a:xfrm>
            <a:off x="7317898" y="4164476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Jul</a:t>
            </a:r>
          </a:p>
        </p:txBody>
      </p:sp>
      <p:sp>
        <p:nvSpPr>
          <p:cNvPr id="49" name="Rettangolo 48">
            <a:extLst>
              <a:ext uri="{FF2B5EF4-FFF2-40B4-BE49-F238E27FC236}">
                <a16:creationId xmlns:a16="http://schemas.microsoft.com/office/drawing/2014/main" id="{57BCFB12-1DB8-162F-4943-905D5280774C}"/>
              </a:ext>
            </a:extLst>
          </p:cNvPr>
          <p:cNvSpPr/>
          <p:nvPr/>
        </p:nvSpPr>
        <p:spPr>
          <a:xfrm>
            <a:off x="7672688" y="4164476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ug</a:t>
            </a:r>
          </a:p>
        </p:txBody>
      </p:sp>
      <p:sp>
        <p:nvSpPr>
          <p:cNvPr id="50" name="Rettangolo 49">
            <a:extLst>
              <a:ext uri="{FF2B5EF4-FFF2-40B4-BE49-F238E27FC236}">
                <a16:creationId xmlns:a16="http://schemas.microsoft.com/office/drawing/2014/main" id="{ED0C264C-50ED-B285-35AC-F0983552560C}"/>
              </a:ext>
            </a:extLst>
          </p:cNvPr>
          <p:cNvSpPr/>
          <p:nvPr/>
        </p:nvSpPr>
        <p:spPr>
          <a:xfrm>
            <a:off x="7940989" y="4164476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p</a:t>
            </a:r>
          </a:p>
        </p:txBody>
      </p:sp>
      <p:sp>
        <p:nvSpPr>
          <p:cNvPr id="51" name="Rettangolo 50">
            <a:extLst>
              <a:ext uri="{FF2B5EF4-FFF2-40B4-BE49-F238E27FC236}">
                <a16:creationId xmlns:a16="http://schemas.microsoft.com/office/drawing/2014/main" id="{86516ED8-D7E0-F6B1-0274-EA801AA81BBF}"/>
              </a:ext>
            </a:extLst>
          </p:cNvPr>
          <p:cNvSpPr/>
          <p:nvPr/>
        </p:nvSpPr>
        <p:spPr>
          <a:xfrm>
            <a:off x="8277083" y="4164476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 err="1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ctt</a:t>
            </a:r>
            <a:endParaRPr kumimoji="0" lang="en-GB" sz="9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2" name="Rettangolo 51">
            <a:extLst>
              <a:ext uri="{FF2B5EF4-FFF2-40B4-BE49-F238E27FC236}">
                <a16:creationId xmlns:a16="http://schemas.microsoft.com/office/drawing/2014/main" id="{72B7FAAE-621D-BCDB-A553-DCA374FE3530}"/>
              </a:ext>
            </a:extLst>
          </p:cNvPr>
          <p:cNvSpPr/>
          <p:nvPr/>
        </p:nvSpPr>
        <p:spPr>
          <a:xfrm>
            <a:off x="8561437" y="4164476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i="1" dirty="0">
                <a:solidFill>
                  <a:srgbClr val="707173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v</a:t>
            </a:r>
            <a:endParaRPr kumimoji="0" lang="en-GB" sz="9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3" name="Rettangolo 52">
            <a:extLst>
              <a:ext uri="{FF2B5EF4-FFF2-40B4-BE49-F238E27FC236}">
                <a16:creationId xmlns:a16="http://schemas.microsoft.com/office/drawing/2014/main" id="{A7B1A48C-3835-1C00-027C-42E7F3690166}"/>
              </a:ext>
            </a:extLst>
          </p:cNvPr>
          <p:cNvSpPr/>
          <p:nvPr/>
        </p:nvSpPr>
        <p:spPr>
          <a:xfrm>
            <a:off x="8895227" y="4164476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i="1" dirty="0">
                <a:solidFill>
                  <a:srgbClr val="707173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</a:t>
            </a:r>
            <a:endParaRPr kumimoji="0" lang="en-GB" sz="9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8" name="Rettangolo 57">
            <a:extLst>
              <a:ext uri="{FF2B5EF4-FFF2-40B4-BE49-F238E27FC236}">
                <a16:creationId xmlns:a16="http://schemas.microsoft.com/office/drawing/2014/main" id="{2D83478E-39DF-0FD6-5BCB-188E44837587}"/>
              </a:ext>
            </a:extLst>
          </p:cNvPr>
          <p:cNvSpPr/>
          <p:nvPr/>
        </p:nvSpPr>
        <p:spPr>
          <a:xfrm>
            <a:off x="5482138" y="5956245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Jan</a:t>
            </a:r>
            <a:endParaRPr kumimoji="0" lang="en-GB" sz="16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2" name="Rettangolo 61">
            <a:extLst>
              <a:ext uri="{FF2B5EF4-FFF2-40B4-BE49-F238E27FC236}">
                <a16:creationId xmlns:a16="http://schemas.microsoft.com/office/drawing/2014/main" id="{A40F80B7-CC70-F91B-CC3F-9166B3D037E6}"/>
              </a:ext>
            </a:extLst>
          </p:cNvPr>
          <p:cNvSpPr/>
          <p:nvPr/>
        </p:nvSpPr>
        <p:spPr>
          <a:xfrm>
            <a:off x="5807898" y="5956245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eb</a:t>
            </a:r>
            <a:endParaRPr kumimoji="0" lang="en-GB" sz="16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3" name="Rettangolo 62">
            <a:extLst>
              <a:ext uri="{FF2B5EF4-FFF2-40B4-BE49-F238E27FC236}">
                <a16:creationId xmlns:a16="http://schemas.microsoft.com/office/drawing/2014/main" id="{EAA01E63-8316-313D-9282-CAE49F5D32C3}"/>
              </a:ext>
            </a:extLst>
          </p:cNvPr>
          <p:cNvSpPr/>
          <p:nvPr/>
        </p:nvSpPr>
        <p:spPr>
          <a:xfrm>
            <a:off x="6133509" y="5956245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r</a:t>
            </a:r>
            <a:endParaRPr kumimoji="0" lang="en-GB" sz="16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4" name="Rettangolo 63">
            <a:extLst>
              <a:ext uri="{FF2B5EF4-FFF2-40B4-BE49-F238E27FC236}">
                <a16:creationId xmlns:a16="http://schemas.microsoft.com/office/drawing/2014/main" id="{48932E54-0831-C6F2-E55A-D31249BA3B97}"/>
              </a:ext>
            </a:extLst>
          </p:cNvPr>
          <p:cNvSpPr/>
          <p:nvPr/>
        </p:nvSpPr>
        <p:spPr>
          <a:xfrm>
            <a:off x="6426517" y="5956245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r</a:t>
            </a:r>
            <a:endParaRPr kumimoji="0" lang="en-GB" sz="16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5" name="Rettangolo 64">
            <a:extLst>
              <a:ext uri="{FF2B5EF4-FFF2-40B4-BE49-F238E27FC236}">
                <a16:creationId xmlns:a16="http://schemas.microsoft.com/office/drawing/2014/main" id="{12B0E989-8A16-E170-6D30-A2257056F663}"/>
              </a:ext>
            </a:extLst>
          </p:cNvPr>
          <p:cNvSpPr/>
          <p:nvPr/>
        </p:nvSpPr>
        <p:spPr>
          <a:xfrm>
            <a:off x="6768951" y="5956245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y</a:t>
            </a:r>
            <a:endParaRPr kumimoji="0" lang="en-GB" sz="16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6" name="Rettangolo 65">
            <a:extLst>
              <a:ext uri="{FF2B5EF4-FFF2-40B4-BE49-F238E27FC236}">
                <a16:creationId xmlns:a16="http://schemas.microsoft.com/office/drawing/2014/main" id="{B351FA3D-837A-451B-C31C-0403AFC044DD}"/>
              </a:ext>
            </a:extLst>
          </p:cNvPr>
          <p:cNvSpPr/>
          <p:nvPr/>
        </p:nvSpPr>
        <p:spPr>
          <a:xfrm>
            <a:off x="7024890" y="5956245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Jun</a:t>
            </a:r>
            <a:endParaRPr kumimoji="0" lang="en-GB" sz="16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7" name="Rettangolo 66">
            <a:extLst>
              <a:ext uri="{FF2B5EF4-FFF2-40B4-BE49-F238E27FC236}">
                <a16:creationId xmlns:a16="http://schemas.microsoft.com/office/drawing/2014/main" id="{101EBDF3-3E91-531F-F032-CBD3A7017F7F}"/>
              </a:ext>
            </a:extLst>
          </p:cNvPr>
          <p:cNvSpPr/>
          <p:nvPr/>
        </p:nvSpPr>
        <p:spPr>
          <a:xfrm>
            <a:off x="7317898" y="5956245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Jul</a:t>
            </a:r>
          </a:p>
        </p:txBody>
      </p:sp>
      <p:sp>
        <p:nvSpPr>
          <p:cNvPr id="68" name="Rettangolo 67">
            <a:extLst>
              <a:ext uri="{FF2B5EF4-FFF2-40B4-BE49-F238E27FC236}">
                <a16:creationId xmlns:a16="http://schemas.microsoft.com/office/drawing/2014/main" id="{923E39B7-C005-EF4F-8C53-E86DBEAAEC8F}"/>
              </a:ext>
            </a:extLst>
          </p:cNvPr>
          <p:cNvSpPr/>
          <p:nvPr/>
        </p:nvSpPr>
        <p:spPr>
          <a:xfrm>
            <a:off x="7672688" y="5956245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ug</a:t>
            </a:r>
          </a:p>
        </p:txBody>
      </p:sp>
      <p:sp>
        <p:nvSpPr>
          <p:cNvPr id="70" name="Rettangolo 69">
            <a:extLst>
              <a:ext uri="{FF2B5EF4-FFF2-40B4-BE49-F238E27FC236}">
                <a16:creationId xmlns:a16="http://schemas.microsoft.com/office/drawing/2014/main" id="{C981C1E6-A864-C5B6-F5FA-9D7241AB3FBA}"/>
              </a:ext>
            </a:extLst>
          </p:cNvPr>
          <p:cNvSpPr/>
          <p:nvPr/>
        </p:nvSpPr>
        <p:spPr>
          <a:xfrm>
            <a:off x="7940989" y="5956245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p</a:t>
            </a:r>
          </a:p>
        </p:txBody>
      </p:sp>
      <p:sp>
        <p:nvSpPr>
          <p:cNvPr id="71" name="Rettangolo 70">
            <a:extLst>
              <a:ext uri="{FF2B5EF4-FFF2-40B4-BE49-F238E27FC236}">
                <a16:creationId xmlns:a16="http://schemas.microsoft.com/office/drawing/2014/main" id="{D6541908-A25E-1931-86E6-B7E463093097}"/>
              </a:ext>
            </a:extLst>
          </p:cNvPr>
          <p:cNvSpPr/>
          <p:nvPr/>
        </p:nvSpPr>
        <p:spPr>
          <a:xfrm>
            <a:off x="8277083" y="5956245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 err="1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ctt</a:t>
            </a:r>
            <a:endParaRPr kumimoji="0" lang="en-GB" sz="9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2" name="Rettangolo 71">
            <a:extLst>
              <a:ext uri="{FF2B5EF4-FFF2-40B4-BE49-F238E27FC236}">
                <a16:creationId xmlns:a16="http://schemas.microsoft.com/office/drawing/2014/main" id="{5FED2BA7-7148-23E2-D3BE-A09A24A1656B}"/>
              </a:ext>
            </a:extLst>
          </p:cNvPr>
          <p:cNvSpPr/>
          <p:nvPr/>
        </p:nvSpPr>
        <p:spPr>
          <a:xfrm>
            <a:off x="8561437" y="5956245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i="1" dirty="0">
                <a:solidFill>
                  <a:srgbClr val="707173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v</a:t>
            </a:r>
            <a:endParaRPr kumimoji="0" lang="en-GB" sz="9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3" name="Rettangolo 72">
            <a:extLst>
              <a:ext uri="{FF2B5EF4-FFF2-40B4-BE49-F238E27FC236}">
                <a16:creationId xmlns:a16="http://schemas.microsoft.com/office/drawing/2014/main" id="{020D0565-C8E4-2990-6982-7C3541E37A5D}"/>
              </a:ext>
            </a:extLst>
          </p:cNvPr>
          <p:cNvSpPr/>
          <p:nvPr/>
        </p:nvSpPr>
        <p:spPr>
          <a:xfrm>
            <a:off x="8895227" y="5956245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i="1" dirty="0">
                <a:solidFill>
                  <a:srgbClr val="707173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</a:t>
            </a:r>
            <a:endParaRPr kumimoji="0" lang="en-GB" sz="9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74" name="Connettore 2 73">
            <a:extLst>
              <a:ext uri="{FF2B5EF4-FFF2-40B4-BE49-F238E27FC236}">
                <a16:creationId xmlns:a16="http://schemas.microsoft.com/office/drawing/2014/main" id="{CEF9536A-129D-EBCF-74E5-4A7DC66DF57D}"/>
              </a:ext>
            </a:extLst>
          </p:cNvPr>
          <p:cNvCxnSpPr>
            <a:cxnSpLocks/>
          </p:cNvCxnSpPr>
          <p:nvPr/>
        </p:nvCxnSpPr>
        <p:spPr>
          <a:xfrm>
            <a:off x="5573455" y="5922136"/>
            <a:ext cx="3740899" cy="0"/>
          </a:xfrm>
          <a:prstGeom prst="straightConnector1">
            <a:avLst/>
          </a:prstGeom>
          <a:ln w="3175">
            <a:solidFill>
              <a:schemeClr val="tx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Grafico 9">
            <a:extLst>
              <a:ext uri="{FF2B5EF4-FFF2-40B4-BE49-F238E27FC236}">
                <a16:creationId xmlns:a16="http://schemas.microsoft.com/office/drawing/2014/main" id="{00000000-0008-0000-0100-000004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54318367"/>
              </p:ext>
            </p:extLst>
          </p:nvPr>
        </p:nvGraphicFramePr>
        <p:xfrm>
          <a:off x="1236075" y="4692334"/>
          <a:ext cx="4520923" cy="12298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6" name="Grafico 115">
            <a:extLst>
              <a:ext uri="{FF2B5EF4-FFF2-40B4-BE49-F238E27FC236}">
                <a16:creationId xmlns:a16="http://schemas.microsoft.com/office/drawing/2014/main" id="{00000000-0008-0000-0100-000003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85779365"/>
              </p:ext>
            </p:extLst>
          </p:nvPr>
        </p:nvGraphicFramePr>
        <p:xfrm>
          <a:off x="1323633" y="2841285"/>
          <a:ext cx="4377020" cy="13472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76" name="Rettangolo 175">
            <a:extLst>
              <a:ext uri="{FF2B5EF4-FFF2-40B4-BE49-F238E27FC236}">
                <a16:creationId xmlns:a16="http://schemas.microsoft.com/office/drawing/2014/main" id="{D3B740B7-9587-3EA1-EB8E-E9E668E30A27}"/>
              </a:ext>
            </a:extLst>
          </p:cNvPr>
          <p:cNvSpPr/>
          <p:nvPr/>
        </p:nvSpPr>
        <p:spPr>
          <a:xfrm>
            <a:off x="1550218" y="2366156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Jan</a:t>
            </a:r>
            <a:endParaRPr kumimoji="0" lang="en-GB" sz="16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7" name="Rettangolo 176">
            <a:extLst>
              <a:ext uri="{FF2B5EF4-FFF2-40B4-BE49-F238E27FC236}">
                <a16:creationId xmlns:a16="http://schemas.microsoft.com/office/drawing/2014/main" id="{A7664A01-0ABD-CFC3-0B61-4EF88B074112}"/>
              </a:ext>
            </a:extLst>
          </p:cNvPr>
          <p:cNvSpPr/>
          <p:nvPr/>
        </p:nvSpPr>
        <p:spPr>
          <a:xfrm>
            <a:off x="1875978" y="2366156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eb</a:t>
            </a:r>
            <a:endParaRPr kumimoji="0" lang="en-GB" sz="16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8" name="Rettangolo 177">
            <a:extLst>
              <a:ext uri="{FF2B5EF4-FFF2-40B4-BE49-F238E27FC236}">
                <a16:creationId xmlns:a16="http://schemas.microsoft.com/office/drawing/2014/main" id="{808AEAE8-30D2-4867-E70D-9FF07F4B1FAC}"/>
              </a:ext>
            </a:extLst>
          </p:cNvPr>
          <p:cNvSpPr/>
          <p:nvPr/>
        </p:nvSpPr>
        <p:spPr>
          <a:xfrm>
            <a:off x="2201589" y="2366156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r</a:t>
            </a:r>
            <a:endParaRPr kumimoji="0" lang="en-GB" sz="16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9" name="Rettangolo 178">
            <a:extLst>
              <a:ext uri="{FF2B5EF4-FFF2-40B4-BE49-F238E27FC236}">
                <a16:creationId xmlns:a16="http://schemas.microsoft.com/office/drawing/2014/main" id="{A83C08F5-CFCC-03D1-C065-405ACFF49E20}"/>
              </a:ext>
            </a:extLst>
          </p:cNvPr>
          <p:cNvSpPr/>
          <p:nvPr/>
        </p:nvSpPr>
        <p:spPr>
          <a:xfrm>
            <a:off x="2494597" y="2366156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r</a:t>
            </a:r>
            <a:endParaRPr kumimoji="0" lang="en-GB" sz="16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0" name="Rettangolo 179">
            <a:extLst>
              <a:ext uri="{FF2B5EF4-FFF2-40B4-BE49-F238E27FC236}">
                <a16:creationId xmlns:a16="http://schemas.microsoft.com/office/drawing/2014/main" id="{481A75AC-4D7D-CC1F-97CA-F50770E94605}"/>
              </a:ext>
            </a:extLst>
          </p:cNvPr>
          <p:cNvSpPr/>
          <p:nvPr/>
        </p:nvSpPr>
        <p:spPr>
          <a:xfrm>
            <a:off x="2837031" y="2366156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y</a:t>
            </a:r>
            <a:endParaRPr kumimoji="0" lang="en-GB" sz="16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1" name="Rettangolo 180">
            <a:extLst>
              <a:ext uri="{FF2B5EF4-FFF2-40B4-BE49-F238E27FC236}">
                <a16:creationId xmlns:a16="http://schemas.microsoft.com/office/drawing/2014/main" id="{1E6A5EE4-1949-1801-45D2-000FB1ADE167}"/>
              </a:ext>
            </a:extLst>
          </p:cNvPr>
          <p:cNvSpPr/>
          <p:nvPr/>
        </p:nvSpPr>
        <p:spPr>
          <a:xfrm>
            <a:off x="3092970" y="2366156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Jun</a:t>
            </a:r>
            <a:endParaRPr kumimoji="0" lang="en-GB" sz="16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2" name="Rettangolo 181">
            <a:extLst>
              <a:ext uri="{FF2B5EF4-FFF2-40B4-BE49-F238E27FC236}">
                <a16:creationId xmlns:a16="http://schemas.microsoft.com/office/drawing/2014/main" id="{22855B5D-45D2-9D8A-2DBE-85508D54D9E7}"/>
              </a:ext>
            </a:extLst>
          </p:cNvPr>
          <p:cNvSpPr/>
          <p:nvPr/>
        </p:nvSpPr>
        <p:spPr>
          <a:xfrm>
            <a:off x="3385978" y="2366156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Jul</a:t>
            </a:r>
          </a:p>
        </p:txBody>
      </p:sp>
      <p:sp>
        <p:nvSpPr>
          <p:cNvPr id="183" name="Rettangolo 182">
            <a:extLst>
              <a:ext uri="{FF2B5EF4-FFF2-40B4-BE49-F238E27FC236}">
                <a16:creationId xmlns:a16="http://schemas.microsoft.com/office/drawing/2014/main" id="{928E75DB-D281-614F-C538-52063CE8A422}"/>
              </a:ext>
            </a:extLst>
          </p:cNvPr>
          <p:cNvSpPr/>
          <p:nvPr/>
        </p:nvSpPr>
        <p:spPr>
          <a:xfrm>
            <a:off x="3740768" y="2366156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ug</a:t>
            </a:r>
          </a:p>
        </p:txBody>
      </p:sp>
      <p:sp>
        <p:nvSpPr>
          <p:cNvPr id="184" name="Rettangolo 183">
            <a:extLst>
              <a:ext uri="{FF2B5EF4-FFF2-40B4-BE49-F238E27FC236}">
                <a16:creationId xmlns:a16="http://schemas.microsoft.com/office/drawing/2014/main" id="{215C03A9-DC0F-7CF0-F185-1A997C5DED9C}"/>
              </a:ext>
            </a:extLst>
          </p:cNvPr>
          <p:cNvSpPr/>
          <p:nvPr/>
        </p:nvSpPr>
        <p:spPr>
          <a:xfrm>
            <a:off x="4009069" y="2366156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p</a:t>
            </a:r>
          </a:p>
        </p:txBody>
      </p:sp>
      <p:sp>
        <p:nvSpPr>
          <p:cNvPr id="185" name="Rettangolo 184">
            <a:extLst>
              <a:ext uri="{FF2B5EF4-FFF2-40B4-BE49-F238E27FC236}">
                <a16:creationId xmlns:a16="http://schemas.microsoft.com/office/drawing/2014/main" id="{FAE4D571-F784-A79F-E820-C5EDE2A66229}"/>
              </a:ext>
            </a:extLst>
          </p:cNvPr>
          <p:cNvSpPr/>
          <p:nvPr/>
        </p:nvSpPr>
        <p:spPr>
          <a:xfrm>
            <a:off x="4345163" y="2366156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 err="1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ctt</a:t>
            </a:r>
            <a:endParaRPr kumimoji="0" lang="en-GB" sz="9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6" name="Rettangolo 185">
            <a:extLst>
              <a:ext uri="{FF2B5EF4-FFF2-40B4-BE49-F238E27FC236}">
                <a16:creationId xmlns:a16="http://schemas.microsoft.com/office/drawing/2014/main" id="{45C7C1CB-B151-1FD0-6638-0A6F6DC4CC15}"/>
              </a:ext>
            </a:extLst>
          </p:cNvPr>
          <p:cNvSpPr/>
          <p:nvPr/>
        </p:nvSpPr>
        <p:spPr>
          <a:xfrm>
            <a:off x="4629517" y="2366156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i="1" dirty="0">
                <a:solidFill>
                  <a:srgbClr val="707173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v</a:t>
            </a:r>
            <a:endParaRPr kumimoji="0" lang="en-GB" sz="9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7" name="Rettangolo 186">
            <a:extLst>
              <a:ext uri="{FF2B5EF4-FFF2-40B4-BE49-F238E27FC236}">
                <a16:creationId xmlns:a16="http://schemas.microsoft.com/office/drawing/2014/main" id="{B991BCD7-631B-1334-0348-19244BBCD1C0}"/>
              </a:ext>
            </a:extLst>
          </p:cNvPr>
          <p:cNvSpPr/>
          <p:nvPr/>
        </p:nvSpPr>
        <p:spPr>
          <a:xfrm>
            <a:off x="4963307" y="2366156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i="1" dirty="0">
                <a:solidFill>
                  <a:srgbClr val="707173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</a:t>
            </a:r>
            <a:endParaRPr kumimoji="0" lang="en-GB" sz="9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8" name="Rettangolo 187">
            <a:extLst>
              <a:ext uri="{FF2B5EF4-FFF2-40B4-BE49-F238E27FC236}">
                <a16:creationId xmlns:a16="http://schemas.microsoft.com/office/drawing/2014/main" id="{7E2E70D8-56D7-408B-CB28-74D32C6AEBAD}"/>
              </a:ext>
            </a:extLst>
          </p:cNvPr>
          <p:cNvSpPr/>
          <p:nvPr/>
        </p:nvSpPr>
        <p:spPr>
          <a:xfrm>
            <a:off x="1407978" y="5942476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Jan</a:t>
            </a:r>
            <a:endParaRPr kumimoji="0" lang="en-GB" sz="16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9" name="Rettangolo 188">
            <a:extLst>
              <a:ext uri="{FF2B5EF4-FFF2-40B4-BE49-F238E27FC236}">
                <a16:creationId xmlns:a16="http://schemas.microsoft.com/office/drawing/2014/main" id="{0618643B-2AE3-7D4A-F581-D423D77F7382}"/>
              </a:ext>
            </a:extLst>
          </p:cNvPr>
          <p:cNvSpPr/>
          <p:nvPr/>
        </p:nvSpPr>
        <p:spPr>
          <a:xfrm>
            <a:off x="1733738" y="5942476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eb</a:t>
            </a:r>
            <a:endParaRPr kumimoji="0" lang="en-GB" sz="16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0" name="Rettangolo 189">
            <a:extLst>
              <a:ext uri="{FF2B5EF4-FFF2-40B4-BE49-F238E27FC236}">
                <a16:creationId xmlns:a16="http://schemas.microsoft.com/office/drawing/2014/main" id="{DAB6AA03-9702-D627-EA50-57D026D9AF39}"/>
              </a:ext>
            </a:extLst>
          </p:cNvPr>
          <p:cNvSpPr/>
          <p:nvPr/>
        </p:nvSpPr>
        <p:spPr>
          <a:xfrm>
            <a:off x="2059349" y="5942476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r</a:t>
            </a:r>
            <a:endParaRPr kumimoji="0" lang="en-GB" sz="16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1" name="Rettangolo 190">
            <a:extLst>
              <a:ext uri="{FF2B5EF4-FFF2-40B4-BE49-F238E27FC236}">
                <a16:creationId xmlns:a16="http://schemas.microsoft.com/office/drawing/2014/main" id="{6D2621D6-F004-F622-80EF-AD76D7301E59}"/>
              </a:ext>
            </a:extLst>
          </p:cNvPr>
          <p:cNvSpPr/>
          <p:nvPr/>
        </p:nvSpPr>
        <p:spPr>
          <a:xfrm>
            <a:off x="2352357" y="5942476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r</a:t>
            </a:r>
            <a:endParaRPr kumimoji="0" lang="en-GB" sz="16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2" name="Rettangolo 191">
            <a:extLst>
              <a:ext uri="{FF2B5EF4-FFF2-40B4-BE49-F238E27FC236}">
                <a16:creationId xmlns:a16="http://schemas.microsoft.com/office/drawing/2014/main" id="{D54DB34A-2329-21D8-29DB-E99734140968}"/>
              </a:ext>
            </a:extLst>
          </p:cNvPr>
          <p:cNvSpPr/>
          <p:nvPr/>
        </p:nvSpPr>
        <p:spPr>
          <a:xfrm>
            <a:off x="2694791" y="5942476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y</a:t>
            </a:r>
            <a:endParaRPr kumimoji="0" lang="en-GB" sz="16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3" name="Rettangolo 192">
            <a:extLst>
              <a:ext uri="{FF2B5EF4-FFF2-40B4-BE49-F238E27FC236}">
                <a16:creationId xmlns:a16="http://schemas.microsoft.com/office/drawing/2014/main" id="{842F47A3-E009-8908-3CC5-8F3520821F2F}"/>
              </a:ext>
            </a:extLst>
          </p:cNvPr>
          <p:cNvSpPr/>
          <p:nvPr/>
        </p:nvSpPr>
        <p:spPr>
          <a:xfrm>
            <a:off x="2950730" y="5942476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Jun</a:t>
            </a:r>
            <a:endParaRPr kumimoji="0" lang="en-GB" sz="16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4" name="Rettangolo 193">
            <a:extLst>
              <a:ext uri="{FF2B5EF4-FFF2-40B4-BE49-F238E27FC236}">
                <a16:creationId xmlns:a16="http://schemas.microsoft.com/office/drawing/2014/main" id="{7263BAEB-E280-82FB-09A7-3FCD32FCAF6E}"/>
              </a:ext>
            </a:extLst>
          </p:cNvPr>
          <p:cNvSpPr/>
          <p:nvPr/>
        </p:nvSpPr>
        <p:spPr>
          <a:xfrm>
            <a:off x="3243738" y="5942476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Jul</a:t>
            </a:r>
          </a:p>
        </p:txBody>
      </p:sp>
      <p:sp>
        <p:nvSpPr>
          <p:cNvPr id="195" name="Rettangolo 194">
            <a:extLst>
              <a:ext uri="{FF2B5EF4-FFF2-40B4-BE49-F238E27FC236}">
                <a16:creationId xmlns:a16="http://schemas.microsoft.com/office/drawing/2014/main" id="{5FD9D08A-9C6C-6585-9571-62AB8D303747}"/>
              </a:ext>
            </a:extLst>
          </p:cNvPr>
          <p:cNvSpPr/>
          <p:nvPr/>
        </p:nvSpPr>
        <p:spPr>
          <a:xfrm>
            <a:off x="3598528" y="5942476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ug</a:t>
            </a:r>
          </a:p>
        </p:txBody>
      </p:sp>
      <p:sp>
        <p:nvSpPr>
          <p:cNvPr id="196" name="Rettangolo 195">
            <a:extLst>
              <a:ext uri="{FF2B5EF4-FFF2-40B4-BE49-F238E27FC236}">
                <a16:creationId xmlns:a16="http://schemas.microsoft.com/office/drawing/2014/main" id="{77C5C29A-6983-3153-6BC1-9FFB53FA0A76}"/>
              </a:ext>
            </a:extLst>
          </p:cNvPr>
          <p:cNvSpPr/>
          <p:nvPr/>
        </p:nvSpPr>
        <p:spPr>
          <a:xfrm>
            <a:off x="3866829" y="5942476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p</a:t>
            </a:r>
          </a:p>
        </p:txBody>
      </p:sp>
      <p:sp>
        <p:nvSpPr>
          <p:cNvPr id="197" name="Rettangolo 196">
            <a:extLst>
              <a:ext uri="{FF2B5EF4-FFF2-40B4-BE49-F238E27FC236}">
                <a16:creationId xmlns:a16="http://schemas.microsoft.com/office/drawing/2014/main" id="{CFBC9A7E-F3AA-9D41-3410-8B0C47C816FD}"/>
              </a:ext>
            </a:extLst>
          </p:cNvPr>
          <p:cNvSpPr/>
          <p:nvPr/>
        </p:nvSpPr>
        <p:spPr>
          <a:xfrm>
            <a:off x="4202923" y="5942476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 err="1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ctt</a:t>
            </a:r>
            <a:endParaRPr kumimoji="0" lang="en-GB" sz="9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8" name="Rettangolo 197">
            <a:extLst>
              <a:ext uri="{FF2B5EF4-FFF2-40B4-BE49-F238E27FC236}">
                <a16:creationId xmlns:a16="http://schemas.microsoft.com/office/drawing/2014/main" id="{AEA19137-FC54-A54E-657D-CD4CA3458E5E}"/>
              </a:ext>
            </a:extLst>
          </p:cNvPr>
          <p:cNvSpPr/>
          <p:nvPr/>
        </p:nvSpPr>
        <p:spPr>
          <a:xfrm>
            <a:off x="4487277" y="5942476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i="1" dirty="0">
                <a:solidFill>
                  <a:srgbClr val="707173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v</a:t>
            </a:r>
            <a:endParaRPr kumimoji="0" lang="en-GB" sz="9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9" name="Rettangolo 198">
            <a:extLst>
              <a:ext uri="{FF2B5EF4-FFF2-40B4-BE49-F238E27FC236}">
                <a16:creationId xmlns:a16="http://schemas.microsoft.com/office/drawing/2014/main" id="{DB17BEFE-D6A8-7670-8A4D-727DDDBCFE58}"/>
              </a:ext>
            </a:extLst>
          </p:cNvPr>
          <p:cNvSpPr/>
          <p:nvPr/>
        </p:nvSpPr>
        <p:spPr>
          <a:xfrm>
            <a:off x="4821067" y="5942476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i="1" dirty="0">
                <a:solidFill>
                  <a:srgbClr val="707173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</a:t>
            </a:r>
            <a:endParaRPr kumimoji="0" lang="en-GB" sz="9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0" name="Rettangolo 199">
            <a:extLst>
              <a:ext uri="{FF2B5EF4-FFF2-40B4-BE49-F238E27FC236}">
                <a16:creationId xmlns:a16="http://schemas.microsoft.com/office/drawing/2014/main" id="{BCFA851B-54A0-6FDC-E761-FB52AD6F9B52}"/>
              </a:ext>
            </a:extLst>
          </p:cNvPr>
          <p:cNvSpPr/>
          <p:nvPr/>
        </p:nvSpPr>
        <p:spPr>
          <a:xfrm>
            <a:off x="1576498" y="4169732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Jan</a:t>
            </a:r>
            <a:endParaRPr kumimoji="0" lang="en-GB" sz="16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1" name="Rettangolo 200">
            <a:extLst>
              <a:ext uri="{FF2B5EF4-FFF2-40B4-BE49-F238E27FC236}">
                <a16:creationId xmlns:a16="http://schemas.microsoft.com/office/drawing/2014/main" id="{FF0EC675-53BA-A69C-97FB-8482D9AE2139}"/>
              </a:ext>
            </a:extLst>
          </p:cNvPr>
          <p:cNvSpPr/>
          <p:nvPr/>
        </p:nvSpPr>
        <p:spPr>
          <a:xfrm>
            <a:off x="1902258" y="4169732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eb</a:t>
            </a:r>
            <a:endParaRPr kumimoji="0" lang="en-GB" sz="16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2" name="Rettangolo 201">
            <a:extLst>
              <a:ext uri="{FF2B5EF4-FFF2-40B4-BE49-F238E27FC236}">
                <a16:creationId xmlns:a16="http://schemas.microsoft.com/office/drawing/2014/main" id="{CB7260A1-6FB0-8E8B-E604-21BBADA0CC53}"/>
              </a:ext>
            </a:extLst>
          </p:cNvPr>
          <p:cNvSpPr/>
          <p:nvPr/>
        </p:nvSpPr>
        <p:spPr>
          <a:xfrm>
            <a:off x="2227869" y="4169732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r</a:t>
            </a:r>
            <a:endParaRPr kumimoji="0" lang="en-GB" sz="16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3" name="Rettangolo 202">
            <a:extLst>
              <a:ext uri="{FF2B5EF4-FFF2-40B4-BE49-F238E27FC236}">
                <a16:creationId xmlns:a16="http://schemas.microsoft.com/office/drawing/2014/main" id="{8C1AA293-A97A-0D0C-22A7-737EB5176589}"/>
              </a:ext>
            </a:extLst>
          </p:cNvPr>
          <p:cNvSpPr/>
          <p:nvPr/>
        </p:nvSpPr>
        <p:spPr>
          <a:xfrm>
            <a:off x="2520877" y="4169732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r</a:t>
            </a:r>
            <a:endParaRPr kumimoji="0" lang="en-GB" sz="16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4" name="Rettangolo 203">
            <a:extLst>
              <a:ext uri="{FF2B5EF4-FFF2-40B4-BE49-F238E27FC236}">
                <a16:creationId xmlns:a16="http://schemas.microsoft.com/office/drawing/2014/main" id="{BFA54EA2-DA55-E599-3561-45636DD65A55}"/>
              </a:ext>
            </a:extLst>
          </p:cNvPr>
          <p:cNvSpPr/>
          <p:nvPr/>
        </p:nvSpPr>
        <p:spPr>
          <a:xfrm>
            <a:off x="2863311" y="4169732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y</a:t>
            </a:r>
            <a:endParaRPr kumimoji="0" lang="en-GB" sz="16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5" name="Rettangolo 204">
            <a:extLst>
              <a:ext uri="{FF2B5EF4-FFF2-40B4-BE49-F238E27FC236}">
                <a16:creationId xmlns:a16="http://schemas.microsoft.com/office/drawing/2014/main" id="{3308B189-05A9-038A-84B2-75288A2FBD36}"/>
              </a:ext>
            </a:extLst>
          </p:cNvPr>
          <p:cNvSpPr/>
          <p:nvPr/>
        </p:nvSpPr>
        <p:spPr>
          <a:xfrm>
            <a:off x="3119250" y="4169732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Jun</a:t>
            </a:r>
            <a:endParaRPr kumimoji="0" lang="en-GB" sz="16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6" name="Rettangolo 205">
            <a:extLst>
              <a:ext uri="{FF2B5EF4-FFF2-40B4-BE49-F238E27FC236}">
                <a16:creationId xmlns:a16="http://schemas.microsoft.com/office/drawing/2014/main" id="{FCC0D20D-D2B1-5F0B-41C7-24F096FA2B33}"/>
              </a:ext>
            </a:extLst>
          </p:cNvPr>
          <p:cNvSpPr/>
          <p:nvPr/>
        </p:nvSpPr>
        <p:spPr>
          <a:xfrm>
            <a:off x="3412258" y="4169732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Jul</a:t>
            </a:r>
          </a:p>
        </p:txBody>
      </p:sp>
      <p:sp>
        <p:nvSpPr>
          <p:cNvPr id="207" name="Rettangolo 206">
            <a:extLst>
              <a:ext uri="{FF2B5EF4-FFF2-40B4-BE49-F238E27FC236}">
                <a16:creationId xmlns:a16="http://schemas.microsoft.com/office/drawing/2014/main" id="{DE8083C4-B2B3-E76E-7997-4E40A81429CB}"/>
              </a:ext>
            </a:extLst>
          </p:cNvPr>
          <p:cNvSpPr/>
          <p:nvPr/>
        </p:nvSpPr>
        <p:spPr>
          <a:xfrm>
            <a:off x="3767048" y="4169732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ug</a:t>
            </a:r>
          </a:p>
        </p:txBody>
      </p:sp>
      <p:sp>
        <p:nvSpPr>
          <p:cNvPr id="208" name="Rettangolo 207">
            <a:extLst>
              <a:ext uri="{FF2B5EF4-FFF2-40B4-BE49-F238E27FC236}">
                <a16:creationId xmlns:a16="http://schemas.microsoft.com/office/drawing/2014/main" id="{702EA770-3515-7A21-5882-83742F6D3F66}"/>
              </a:ext>
            </a:extLst>
          </p:cNvPr>
          <p:cNvSpPr/>
          <p:nvPr/>
        </p:nvSpPr>
        <p:spPr>
          <a:xfrm>
            <a:off x="4035349" y="4169732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p</a:t>
            </a:r>
          </a:p>
        </p:txBody>
      </p:sp>
      <p:sp>
        <p:nvSpPr>
          <p:cNvPr id="209" name="Rettangolo 208">
            <a:extLst>
              <a:ext uri="{FF2B5EF4-FFF2-40B4-BE49-F238E27FC236}">
                <a16:creationId xmlns:a16="http://schemas.microsoft.com/office/drawing/2014/main" id="{B7F16341-09F7-2B73-A5B3-48BAA3ECFAFA}"/>
              </a:ext>
            </a:extLst>
          </p:cNvPr>
          <p:cNvSpPr/>
          <p:nvPr/>
        </p:nvSpPr>
        <p:spPr>
          <a:xfrm>
            <a:off x="4371443" y="4169732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 err="1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ctt</a:t>
            </a:r>
            <a:endParaRPr kumimoji="0" lang="en-GB" sz="9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0" name="Rettangolo 209">
            <a:extLst>
              <a:ext uri="{FF2B5EF4-FFF2-40B4-BE49-F238E27FC236}">
                <a16:creationId xmlns:a16="http://schemas.microsoft.com/office/drawing/2014/main" id="{8F930AAD-E47B-8068-9B73-71DE73395200}"/>
              </a:ext>
            </a:extLst>
          </p:cNvPr>
          <p:cNvSpPr/>
          <p:nvPr/>
        </p:nvSpPr>
        <p:spPr>
          <a:xfrm>
            <a:off x="4655797" y="4169732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i="1" dirty="0">
                <a:solidFill>
                  <a:srgbClr val="707173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v</a:t>
            </a:r>
            <a:endParaRPr kumimoji="0" lang="en-GB" sz="9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1" name="Rettangolo 210">
            <a:extLst>
              <a:ext uri="{FF2B5EF4-FFF2-40B4-BE49-F238E27FC236}">
                <a16:creationId xmlns:a16="http://schemas.microsoft.com/office/drawing/2014/main" id="{50CD2C81-AEF6-54AC-0136-D4A4175907F4}"/>
              </a:ext>
            </a:extLst>
          </p:cNvPr>
          <p:cNvSpPr/>
          <p:nvPr/>
        </p:nvSpPr>
        <p:spPr>
          <a:xfrm>
            <a:off x="4989587" y="4169732"/>
            <a:ext cx="441702" cy="145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i="1" dirty="0">
                <a:solidFill>
                  <a:srgbClr val="707173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</a:t>
            </a:r>
            <a:endParaRPr kumimoji="0" lang="en-GB" sz="900" b="0" i="1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12" name="Connettore 2 211">
            <a:extLst>
              <a:ext uri="{FF2B5EF4-FFF2-40B4-BE49-F238E27FC236}">
                <a16:creationId xmlns:a16="http://schemas.microsoft.com/office/drawing/2014/main" id="{1CB9A96D-0800-4ED1-6DFE-BC491167B69C}"/>
              </a:ext>
            </a:extLst>
          </p:cNvPr>
          <p:cNvCxnSpPr>
            <a:cxnSpLocks/>
          </p:cNvCxnSpPr>
          <p:nvPr/>
        </p:nvCxnSpPr>
        <p:spPr>
          <a:xfrm>
            <a:off x="1641693" y="2318751"/>
            <a:ext cx="3740899" cy="0"/>
          </a:xfrm>
          <a:prstGeom prst="straightConnector1">
            <a:avLst/>
          </a:prstGeom>
          <a:ln w="3175">
            <a:solidFill>
              <a:schemeClr val="tx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Connettore 2 212">
            <a:extLst>
              <a:ext uri="{FF2B5EF4-FFF2-40B4-BE49-F238E27FC236}">
                <a16:creationId xmlns:a16="http://schemas.microsoft.com/office/drawing/2014/main" id="{D77F8D0A-D25E-E309-BC3E-D702ADCCA76B}"/>
              </a:ext>
            </a:extLst>
          </p:cNvPr>
          <p:cNvCxnSpPr>
            <a:cxnSpLocks/>
          </p:cNvCxnSpPr>
          <p:nvPr/>
        </p:nvCxnSpPr>
        <p:spPr>
          <a:xfrm>
            <a:off x="1626086" y="4094683"/>
            <a:ext cx="3740899" cy="0"/>
          </a:xfrm>
          <a:prstGeom prst="straightConnector1">
            <a:avLst/>
          </a:prstGeom>
          <a:ln w="3175">
            <a:solidFill>
              <a:schemeClr val="tx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4" name="Connettore 2 213">
            <a:extLst>
              <a:ext uri="{FF2B5EF4-FFF2-40B4-BE49-F238E27FC236}">
                <a16:creationId xmlns:a16="http://schemas.microsoft.com/office/drawing/2014/main" id="{275F45EF-6DD1-8C6D-EA3A-3AC2EDC481AE}"/>
              </a:ext>
            </a:extLst>
          </p:cNvPr>
          <p:cNvCxnSpPr>
            <a:cxnSpLocks/>
          </p:cNvCxnSpPr>
          <p:nvPr/>
        </p:nvCxnSpPr>
        <p:spPr>
          <a:xfrm>
            <a:off x="1566185" y="5904949"/>
            <a:ext cx="3740899" cy="0"/>
          </a:xfrm>
          <a:prstGeom prst="straightConnector1">
            <a:avLst/>
          </a:prstGeom>
          <a:ln w="3175">
            <a:solidFill>
              <a:schemeClr val="tx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Grafico 1">
            <a:extLst>
              <a:ext uri="{FF2B5EF4-FFF2-40B4-BE49-F238E27FC236}">
                <a16:creationId xmlns:a16="http://schemas.microsoft.com/office/drawing/2014/main" id="{00000000-0008-0000-01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80872678"/>
              </p:ext>
            </p:extLst>
          </p:nvPr>
        </p:nvGraphicFramePr>
        <p:xfrm>
          <a:off x="1495955" y="582903"/>
          <a:ext cx="4001162" cy="16055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2" name="Grafico 11">
            <a:extLst>
              <a:ext uri="{FF2B5EF4-FFF2-40B4-BE49-F238E27FC236}">
                <a16:creationId xmlns:a16="http://schemas.microsoft.com/office/drawing/2014/main" id="{00000000-0008-0000-0000-000005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69466431"/>
              </p:ext>
            </p:extLst>
          </p:nvPr>
        </p:nvGraphicFramePr>
        <p:xfrm>
          <a:off x="5431604" y="814431"/>
          <a:ext cx="4312929" cy="14733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4" name="Grafico 13">
            <a:extLst>
              <a:ext uri="{FF2B5EF4-FFF2-40B4-BE49-F238E27FC236}">
                <a16:creationId xmlns:a16="http://schemas.microsoft.com/office/drawing/2014/main" id="{00000000-0008-0000-0000-000007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72142276"/>
              </p:ext>
            </p:extLst>
          </p:nvPr>
        </p:nvGraphicFramePr>
        <p:xfrm>
          <a:off x="5231178" y="4653682"/>
          <a:ext cx="4520923" cy="12794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1" name="Grafico 10">
            <a:extLst>
              <a:ext uri="{FF2B5EF4-FFF2-40B4-BE49-F238E27FC236}">
                <a16:creationId xmlns:a16="http://schemas.microsoft.com/office/drawing/2014/main" id="{00000000-0008-0000-0000-000006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59416908"/>
              </p:ext>
            </p:extLst>
          </p:nvPr>
        </p:nvGraphicFramePr>
        <p:xfrm>
          <a:off x="5361518" y="2487783"/>
          <a:ext cx="4123550" cy="22809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5258911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pole tekstowe 15"/>
          <p:cNvSpPr txBox="1"/>
          <p:nvPr/>
        </p:nvSpPr>
        <p:spPr>
          <a:xfrm rot="5400000">
            <a:off x="8250240" y="2234219"/>
            <a:ext cx="5213130" cy="242508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9033"/>
              <a:gd name="connsiteY0" fmla="*/ 78 h 10078"/>
              <a:gd name="connsiteX1" fmla="*/ 9033 w 9033"/>
              <a:gd name="connsiteY1" fmla="*/ 0 h 10078"/>
              <a:gd name="connsiteX2" fmla="*/ 8000 w 9033"/>
              <a:gd name="connsiteY2" fmla="*/ 10078 h 10078"/>
              <a:gd name="connsiteX3" fmla="*/ 2000 w 9033"/>
              <a:gd name="connsiteY3" fmla="*/ 10078 h 10078"/>
              <a:gd name="connsiteX4" fmla="*/ 0 w 9033"/>
              <a:gd name="connsiteY4" fmla="*/ 78 h 10078"/>
              <a:gd name="connsiteX0" fmla="*/ 0 w 9322"/>
              <a:gd name="connsiteY0" fmla="*/ 51 h 10000"/>
              <a:gd name="connsiteX1" fmla="*/ 9322 w 9322"/>
              <a:gd name="connsiteY1" fmla="*/ 0 h 10000"/>
              <a:gd name="connsiteX2" fmla="*/ 8178 w 9322"/>
              <a:gd name="connsiteY2" fmla="*/ 10000 h 10000"/>
              <a:gd name="connsiteX3" fmla="*/ 1536 w 9322"/>
              <a:gd name="connsiteY3" fmla="*/ 10000 h 10000"/>
              <a:gd name="connsiteX4" fmla="*/ 0 w 9322"/>
              <a:gd name="connsiteY4" fmla="*/ 51 h 10000"/>
              <a:gd name="connsiteX0" fmla="*/ 0 w 9725"/>
              <a:gd name="connsiteY0" fmla="*/ 51 h 10000"/>
              <a:gd name="connsiteX1" fmla="*/ 9725 w 9725"/>
              <a:gd name="connsiteY1" fmla="*/ 0 h 10000"/>
              <a:gd name="connsiteX2" fmla="*/ 8773 w 9725"/>
              <a:gd name="connsiteY2" fmla="*/ 10000 h 10000"/>
              <a:gd name="connsiteX3" fmla="*/ 1648 w 9725"/>
              <a:gd name="connsiteY3" fmla="*/ 10000 h 10000"/>
              <a:gd name="connsiteX4" fmla="*/ 0 w 9725"/>
              <a:gd name="connsiteY4" fmla="*/ 51 h 10000"/>
              <a:gd name="connsiteX0" fmla="*/ 0 w 10000"/>
              <a:gd name="connsiteY0" fmla="*/ 51 h 10000"/>
              <a:gd name="connsiteX1" fmla="*/ 10000 w 10000"/>
              <a:gd name="connsiteY1" fmla="*/ 0 h 10000"/>
              <a:gd name="connsiteX2" fmla="*/ 9038 w 10000"/>
              <a:gd name="connsiteY2" fmla="*/ 10000 h 10000"/>
              <a:gd name="connsiteX3" fmla="*/ 1695 w 10000"/>
              <a:gd name="connsiteY3" fmla="*/ 10000 h 10000"/>
              <a:gd name="connsiteX4" fmla="*/ 0 w 10000"/>
              <a:gd name="connsiteY4" fmla="*/ 51 h 10000"/>
              <a:gd name="connsiteX0" fmla="*/ 0 w 10000"/>
              <a:gd name="connsiteY0" fmla="*/ 51 h 10000"/>
              <a:gd name="connsiteX1" fmla="*/ 10000 w 10000"/>
              <a:gd name="connsiteY1" fmla="*/ 0 h 10000"/>
              <a:gd name="connsiteX2" fmla="*/ 9038 w 10000"/>
              <a:gd name="connsiteY2" fmla="*/ 10000 h 10000"/>
              <a:gd name="connsiteX3" fmla="*/ 2177 w 10000"/>
              <a:gd name="connsiteY3" fmla="*/ 9897 h 10000"/>
              <a:gd name="connsiteX4" fmla="*/ 0 w 10000"/>
              <a:gd name="connsiteY4" fmla="*/ 51 h 10000"/>
              <a:gd name="connsiteX0" fmla="*/ 0 w 10000"/>
              <a:gd name="connsiteY0" fmla="*/ 51 h 10000"/>
              <a:gd name="connsiteX1" fmla="*/ 10000 w 10000"/>
              <a:gd name="connsiteY1" fmla="*/ 0 h 10000"/>
              <a:gd name="connsiteX2" fmla="*/ 9071 w 10000"/>
              <a:gd name="connsiteY2" fmla="*/ 10000 h 10000"/>
              <a:gd name="connsiteX3" fmla="*/ 2177 w 10000"/>
              <a:gd name="connsiteY3" fmla="*/ 9897 h 10000"/>
              <a:gd name="connsiteX4" fmla="*/ 0 w 10000"/>
              <a:gd name="connsiteY4" fmla="*/ 51 h 10000"/>
              <a:gd name="connsiteX0" fmla="*/ 0 w 10000"/>
              <a:gd name="connsiteY0" fmla="*/ 51 h 10000"/>
              <a:gd name="connsiteX1" fmla="*/ 10000 w 10000"/>
              <a:gd name="connsiteY1" fmla="*/ 0 h 10000"/>
              <a:gd name="connsiteX2" fmla="*/ 9071 w 10000"/>
              <a:gd name="connsiteY2" fmla="*/ 10000 h 10000"/>
              <a:gd name="connsiteX3" fmla="*/ 1578 w 10000"/>
              <a:gd name="connsiteY3" fmla="*/ 9923 h 10000"/>
              <a:gd name="connsiteX4" fmla="*/ 0 w 10000"/>
              <a:gd name="connsiteY4" fmla="*/ 51 h 10000"/>
              <a:gd name="connsiteX0" fmla="*/ 0 w 10000"/>
              <a:gd name="connsiteY0" fmla="*/ 51 h 10000"/>
              <a:gd name="connsiteX1" fmla="*/ 10000 w 10000"/>
              <a:gd name="connsiteY1" fmla="*/ 0 h 10000"/>
              <a:gd name="connsiteX2" fmla="*/ 9071 w 10000"/>
              <a:gd name="connsiteY2" fmla="*/ 10000 h 10000"/>
              <a:gd name="connsiteX3" fmla="*/ 1445 w 10000"/>
              <a:gd name="connsiteY3" fmla="*/ 9923 h 10000"/>
              <a:gd name="connsiteX4" fmla="*/ 0 w 10000"/>
              <a:gd name="connsiteY4" fmla="*/ 51 h 10000"/>
              <a:gd name="connsiteX0" fmla="*/ 0 w 10233"/>
              <a:gd name="connsiteY0" fmla="*/ 102 h 10000"/>
              <a:gd name="connsiteX1" fmla="*/ 10233 w 10233"/>
              <a:gd name="connsiteY1" fmla="*/ 0 h 10000"/>
              <a:gd name="connsiteX2" fmla="*/ 9304 w 10233"/>
              <a:gd name="connsiteY2" fmla="*/ 10000 h 10000"/>
              <a:gd name="connsiteX3" fmla="*/ 1678 w 10233"/>
              <a:gd name="connsiteY3" fmla="*/ 9923 h 10000"/>
              <a:gd name="connsiteX4" fmla="*/ 0 w 10233"/>
              <a:gd name="connsiteY4" fmla="*/ 10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33" h="10000">
                <a:moveTo>
                  <a:pt x="0" y="102"/>
                </a:moveTo>
                <a:lnTo>
                  <a:pt x="10233" y="0"/>
                </a:lnTo>
                <a:cubicBezTo>
                  <a:pt x="9912" y="3333"/>
                  <a:pt x="9625" y="6667"/>
                  <a:pt x="9304" y="10000"/>
                </a:cubicBezTo>
                <a:lnTo>
                  <a:pt x="1678" y="9923"/>
                </a:lnTo>
                <a:lnTo>
                  <a:pt x="0" y="102"/>
                </a:lnTo>
                <a:close/>
              </a:path>
            </a:pathLst>
          </a:custGeom>
          <a:solidFill>
            <a:srgbClr val="F6F6F6"/>
          </a:solidFill>
          <a:ln>
            <a:noFill/>
          </a:ln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6" name="Łącznik prosty 5"/>
          <p:cNvCxnSpPr/>
          <p:nvPr/>
        </p:nvCxnSpPr>
        <p:spPr>
          <a:xfrm>
            <a:off x="2565029" y="1100589"/>
            <a:ext cx="3218394" cy="832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Łącznik prosty 5"/>
          <p:cNvCxnSpPr/>
          <p:nvPr/>
        </p:nvCxnSpPr>
        <p:spPr>
          <a:xfrm>
            <a:off x="6232807" y="1110982"/>
            <a:ext cx="3218394" cy="832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ttangolo 32"/>
          <p:cNvSpPr/>
          <p:nvPr/>
        </p:nvSpPr>
        <p:spPr>
          <a:xfrm>
            <a:off x="6232807" y="822163"/>
            <a:ext cx="3218395" cy="289651"/>
          </a:xfrm>
          <a:prstGeom prst="rect">
            <a:avLst/>
          </a:prstGeom>
          <a:solidFill>
            <a:schemeClr val="accent6">
              <a:alpha val="69804"/>
            </a:schemeClr>
          </a:solidFill>
          <a:ln w="6350">
            <a:noFill/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25</a:t>
            </a:r>
          </a:p>
        </p:txBody>
      </p:sp>
      <p:sp>
        <p:nvSpPr>
          <p:cNvPr id="35" name="Rettangolo 34"/>
          <p:cNvSpPr/>
          <p:nvPr/>
        </p:nvSpPr>
        <p:spPr>
          <a:xfrm>
            <a:off x="2560320" y="814725"/>
            <a:ext cx="3218395" cy="253585"/>
          </a:xfrm>
          <a:prstGeom prst="rect">
            <a:avLst/>
          </a:prstGeom>
          <a:solidFill>
            <a:srgbClr val="CAE0DA">
              <a:alpha val="69804"/>
            </a:srgbClr>
          </a:solidFill>
          <a:ln w="6350">
            <a:noFill/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24</a:t>
            </a:r>
          </a:p>
        </p:txBody>
      </p:sp>
      <p:graphicFrame>
        <p:nvGraphicFramePr>
          <p:cNvPr id="4" name="Tabel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3418785"/>
              </p:ext>
            </p:extLst>
          </p:nvPr>
        </p:nvGraphicFramePr>
        <p:xfrm>
          <a:off x="399834" y="595033"/>
          <a:ext cx="1242758" cy="7175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21379">
                  <a:extLst>
                    <a:ext uri="{9D8B030D-6E8A-4147-A177-3AD203B41FA5}">
                      <a16:colId xmlns:a16="http://schemas.microsoft.com/office/drawing/2014/main" val="413692812"/>
                    </a:ext>
                  </a:extLst>
                </a:gridCol>
                <a:gridCol w="621379">
                  <a:extLst>
                    <a:ext uri="{9D8B030D-6E8A-4147-A177-3AD203B41FA5}">
                      <a16:colId xmlns:a16="http://schemas.microsoft.com/office/drawing/2014/main" val="1730400191"/>
                    </a:ext>
                  </a:extLst>
                </a:gridCol>
              </a:tblGrid>
              <a:tr h="143510">
                <a:tc>
                  <a:txBody>
                    <a:bodyPr/>
                    <a:lstStyle/>
                    <a:p>
                      <a:pPr algn="l" fontAlgn="b"/>
                      <a:endParaRPr lang="it-IT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b"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900" i="1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gative</a:t>
                      </a:r>
                      <a:endParaRPr lang="it-IT" sz="900" b="0" i="1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8458203"/>
                  </a:ext>
                </a:extLst>
              </a:tr>
              <a:tr h="143510">
                <a:tc>
                  <a:txBody>
                    <a:bodyPr/>
                    <a:lstStyle/>
                    <a:p>
                      <a:pPr algn="l" fontAlgn="b"/>
                      <a:endParaRPr lang="it-IT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b">
                    <a:solidFill>
                      <a:srgbClr val="FCB9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900" i="1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 10%</a:t>
                      </a:r>
                      <a:endParaRPr lang="it-IT" sz="900" b="0" i="1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8781972"/>
                  </a:ext>
                </a:extLst>
              </a:tr>
              <a:tr h="143510">
                <a:tc>
                  <a:txBody>
                    <a:bodyPr/>
                    <a:lstStyle/>
                    <a:p>
                      <a:pPr algn="l" fontAlgn="b"/>
                      <a:endParaRPr lang="it-IT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b"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900" i="1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% - 20%</a:t>
                      </a:r>
                      <a:endParaRPr lang="it-IT" sz="900" b="0" i="1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9690988"/>
                  </a:ext>
                </a:extLst>
              </a:tr>
              <a:tr h="143510">
                <a:tc>
                  <a:txBody>
                    <a:bodyPr/>
                    <a:lstStyle/>
                    <a:p>
                      <a:pPr algn="l" fontAlgn="b"/>
                      <a:endParaRPr lang="it-IT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b"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900" i="1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% - 30%</a:t>
                      </a:r>
                      <a:endParaRPr lang="it-IT" sz="900" b="0" i="1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7820280"/>
                  </a:ext>
                </a:extLst>
              </a:tr>
              <a:tr h="143510">
                <a:tc>
                  <a:txBody>
                    <a:bodyPr/>
                    <a:lstStyle/>
                    <a:p>
                      <a:pPr algn="l" fontAlgn="b"/>
                      <a:endParaRPr lang="it-IT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b"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900" i="1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30%</a:t>
                      </a:r>
                      <a:endParaRPr lang="it-IT" sz="900" b="0" i="1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4514816"/>
                  </a:ext>
                </a:extLst>
              </a:tr>
            </a:tbl>
          </a:graphicData>
        </a:graphic>
      </p:graphicFrame>
      <p:sp>
        <p:nvSpPr>
          <p:cNvPr id="20" name="Titre 2">
            <a:extLst>
              <a:ext uri="{FF2B5EF4-FFF2-40B4-BE49-F238E27FC236}">
                <a16:creationId xmlns:a16="http://schemas.microsoft.com/office/drawing/2014/main" id="{0ADDDDFC-D620-8A2D-7779-5107214ED0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3615" y="100493"/>
            <a:ext cx="11918385" cy="519267"/>
          </a:xfrm>
        </p:spPr>
        <p:txBody>
          <a:bodyPr>
            <a:noAutofit/>
          </a:bodyPr>
          <a:lstStyle/>
          <a:p>
            <a:pPr defTabSz="180000">
              <a:defRPr/>
            </a:pPr>
            <a:r>
              <a:rPr lang="en-GB" sz="2400" b="0" dirty="0">
                <a:solidFill>
                  <a:srgbClr val="009597"/>
                </a:solidFill>
                <a:latin typeface="Arial Black" panose="020B0A04020102020204" pitchFamily="34" charset="0"/>
                <a:cs typeface="Arial"/>
              </a:rPr>
              <a:t>KEY FIGURES ACQUISITION REGIONAL DIRECTION level</a:t>
            </a:r>
            <a:endParaRPr lang="en-GB" sz="2400" b="0" dirty="0">
              <a:solidFill>
                <a:srgbClr val="009597"/>
              </a:solidFill>
              <a:latin typeface="+mn-lt"/>
              <a:cs typeface="Arial"/>
            </a:endParaRPr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id="{69CBED4A-14BB-6815-2179-7B2BED9931E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1926" y="1407874"/>
            <a:ext cx="2378394" cy="4578350"/>
          </a:xfrm>
          <a:prstGeom prst="rect">
            <a:avLst/>
          </a:prstGeom>
        </p:spPr>
      </p:pic>
      <p:sp>
        <p:nvSpPr>
          <p:cNvPr id="15" name="pole tekstowe 15">
            <a:extLst>
              <a:ext uri="{FF2B5EF4-FFF2-40B4-BE49-F238E27FC236}">
                <a16:creationId xmlns:a16="http://schemas.microsoft.com/office/drawing/2014/main" id="{2B6A18EA-50F7-33DA-A9FF-07F08667DFCB}"/>
              </a:ext>
            </a:extLst>
          </p:cNvPr>
          <p:cNvSpPr txBox="1"/>
          <p:nvPr/>
        </p:nvSpPr>
        <p:spPr>
          <a:xfrm>
            <a:off x="9550428" y="1532142"/>
            <a:ext cx="2459646" cy="379371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Autofit/>
          </a:bodyPr>
          <a:lstStyle/>
          <a:p>
            <a:pPr marL="88900"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B8D"/>
              </a:buClr>
              <a:buSzTx/>
              <a:tabLst/>
              <a:defRPr/>
            </a:pPr>
            <a:r>
              <a:rPr lang="it-IT" sz="12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ents</a:t>
            </a: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1968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B8D"/>
              </a:buClr>
              <a:buSzTx/>
              <a:buFont typeface="Wingdings" panose="05000000000000000000" pitchFamily="2" charset="2"/>
              <a:buChar char="v"/>
              <a:tabLst/>
              <a:defRPr/>
            </a:pPr>
            <a:endParaRPr lang="it-IT" sz="1200" dirty="0">
              <a:solidFill>
                <a:srgbClr val="707173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1968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B8D"/>
              </a:buClr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mparing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2024 and 2025, the </a:t>
            </a:r>
            <a:r>
              <a:rPr kumimoji="0" 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urrent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year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hows an </a:t>
            </a:r>
            <a:r>
              <a:rPr kumimoji="0" lang="it-IT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crease</a:t>
            </a: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in the </a:t>
            </a:r>
            <a:r>
              <a:rPr kumimoji="0" lang="it-IT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quisition</a:t>
            </a: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rate</a:t>
            </a:r>
            <a:r>
              <a:rPr kumimoji="0" lang="it-IT" sz="1200" b="1" i="0" u="none" strike="noStrike" kern="1200" cap="none" spc="0" normalizeH="0" baseline="0" dirty="0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and</a:t>
            </a:r>
            <a:r>
              <a:rPr lang="it-IT" sz="1200" noProof="0" dirty="0">
                <a:solidFill>
                  <a:srgbClr val="707173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200" noProof="0" dirty="0" err="1">
                <a:solidFill>
                  <a:srgbClr val="707173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so</a:t>
            </a:r>
            <a:r>
              <a:rPr lang="it-IT" sz="1200" noProof="0" dirty="0">
                <a:solidFill>
                  <a:srgbClr val="707173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200" b="1" noProof="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it-IT" sz="1200" b="1" noProof="0" dirty="0" err="1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urn</a:t>
            </a:r>
            <a:r>
              <a:rPr lang="it-IT" sz="1200" b="1" noProof="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ate </a:t>
            </a:r>
            <a:r>
              <a:rPr lang="it-IT" sz="1200" b="1" dirty="0" err="1">
                <a:solidFill>
                  <a:srgbClr val="707173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s</a:t>
            </a:r>
            <a:r>
              <a:rPr lang="it-IT" sz="1200" b="1" dirty="0">
                <a:solidFill>
                  <a:srgbClr val="707173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200" b="1" dirty="0" err="1">
                <a:solidFill>
                  <a:srgbClr val="707173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roved</a:t>
            </a:r>
            <a:r>
              <a:rPr lang="it-IT" sz="1200" b="1" dirty="0">
                <a:solidFill>
                  <a:srgbClr val="707173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200" noProof="0" dirty="0" err="1">
                <a:solidFill>
                  <a:srgbClr val="707173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red</a:t>
            </a:r>
            <a:r>
              <a:rPr lang="it-IT" sz="1200" noProof="0" dirty="0">
                <a:solidFill>
                  <a:srgbClr val="707173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the </a:t>
            </a:r>
            <a:r>
              <a:rPr lang="it-IT" sz="1200" noProof="0" dirty="0" err="1">
                <a:solidFill>
                  <a:srgbClr val="707173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vious</a:t>
            </a:r>
            <a:r>
              <a:rPr lang="it-IT" sz="1200" noProof="0" dirty="0">
                <a:solidFill>
                  <a:srgbClr val="707173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200" noProof="0" dirty="0" err="1">
                <a:solidFill>
                  <a:srgbClr val="707173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year</a:t>
            </a:r>
            <a:r>
              <a:rPr lang="it-IT" sz="1200" noProof="0" dirty="0">
                <a:solidFill>
                  <a:srgbClr val="707173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1968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B8D"/>
              </a:buClr>
              <a:buSzTx/>
              <a:buFont typeface="Wingdings" panose="05000000000000000000" pitchFamily="2" charset="2"/>
              <a:buChar char="v"/>
              <a:tabLst/>
              <a:defRPr/>
            </a:pPr>
            <a:endParaRPr kumimoji="0" lang="it-IT" sz="12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1968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B8D"/>
              </a:buClr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e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can </a:t>
            </a:r>
            <a:r>
              <a:rPr kumimoji="0" 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e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at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lmost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ll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gions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in CAI </a:t>
            </a:r>
            <a:r>
              <a:rPr kumimoji="0" 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ve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mproved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ir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trend of </a:t>
            </a:r>
            <a:r>
              <a:rPr kumimoji="0" 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qusition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and </a:t>
            </a:r>
            <a:r>
              <a:rPr kumimoji="0" 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tention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85750" marR="0" lvl="0" indent="-1968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B8D"/>
              </a:buClr>
              <a:buSzTx/>
              <a:buFont typeface="Wingdings" panose="05000000000000000000" pitchFamily="2" charset="2"/>
              <a:buChar char="v"/>
              <a:tabLst/>
              <a:defRPr/>
            </a:pPr>
            <a:endParaRPr kumimoji="0" lang="it-IT" sz="12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lvl="0" indent="-196850">
              <a:buClr>
                <a:srgbClr val="008B8D"/>
              </a:buClr>
              <a:buFont typeface="Wingdings" panose="05000000000000000000" pitchFamily="2" charset="2"/>
              <a:buChar char="v"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</a:t>
            </a:r>
            <a:r>
              <a:rPr kumimoji="0" 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ost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erfoming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it-IT" sz="1200" dirty="0" err="1">
                <a:solidFill>
                  <a:srgbClr val="707173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ons</a:t>
            </a:r>
            <a:r>
              <a:rPr lang="it-IT" sz="1200" dirty="0">
                <a:solidFill>
                  <a:srgbClr val="707173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it-IT" sz="120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 2025 are Milano Lombardia Ovest, Veneto, Parma, Romagna-Marche.</a:t>
            </a:r>
            <a:endParaRPr kumimoji="0" lang="it-IT" sz="12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1968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B8D"/>
              </a:buClr>
              <a:buSzTx/>
              <a:buFont typeface="Wingdings" panose="05000000000000000000" pitchFamily="2" charset="2"/>
              <a:buChar char="v"/>
              <a:tabLst/>
              <a:defRPr/>
            </a:pPr>
            <a:endParaRPr kumimoji="0" lang="it-IT" sz="12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88900" lvl="0">
              <a:buClr>
                <a:srgbClr val="008B8D"/>
              </a:buClr>
              <a:defRPr/>
            </a:pPr>
            <a:endParaRPr kumimoji="0" lang="it-IT" sz="12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A352506D-EB91-3706-E36D-1B7D3C24C65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63989" y="1410502"/>
            <a:ext cx="7182770" cy="4578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41376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5A587B-5814-4D9B-9598-FE9CB954CB01}" type="slidenum">
              <a:rPr kumimoji="0" lang="fr-FR" sz="1000" b="1" i="0" u="none" strike="noStrike" kern="1200" cap="none" spc="0" normalizeH="0" baseline="0" noProof="0" smtClean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fr-FR" sz="1000" b="1" i="0" u="none" strike="noStrike" kern="1200" cap="none" spc="0" normalizeH="0" baseline="0" noProof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72BC54F7-9011-4AF9-83D4-4E85DC9DCEE2}"/>
              </a:ext>
            </a:extLst>
          </p:cNvPr>
          <p:cNvSpPr txBox="1"/>
          <p:nvPr/>
        </p:nvSpPr>
        <p:spPr>
          <a:xfrm>
            <a:off x="160871" y="1933903"/>
            <a:ext cx="12031129" cy="1495097"/>
          </a:xfrm>
          <a:prstGeom prst="rect">
            <a:avLst/>
          </a:prstGeom>
          <a:noFill/>
          <a:ln>
            <a:solidFill>
              <a:srgbClr val="007C8E"/>
            </a:solidFill>
            <a:prstDash val="sysDash"/>
          </a:ln>
        </p:spPr>
        <p:txBody>
          <a:bodyPr wrap="square" lIns="91440" tIns="45720" rIns="91440" bIns="45720" rtlCol="0" anchor="t">
            <a:noAutofit/>
          </a:bodyPr>
          <a:lstStyle/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all" spc="0" normalizeH="0" baseline="0" noProof="0" dirty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/>
              <a:sym typeface="Wingdings" panose="05000000000000000000" pitchFamily="2" charset="2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cap="all" dirty="0">
              <a:solidFill>
                <a:srgbClr val="009597"/>
              </a:solidFill>
              <a:latin typeface="Arial Black" panose="020B0A04020102020204" pitchFamily="34" charset="0"/>
              <a:cs typeface="Arial"/>
              <a:sym typeface="Wingdings" panose="05000000000000000000" pitchFamily="2" charset="2"/>
            </a:endParaRPr>
          </a:p>
          <a:p>
            <a:pPr algn="ctr" defTabSz="514266">
              <a:defRPr/>
            </a:pPr>
            <a:r>
              <a:rPr lang="en-GB" sz="2400" cap="all" dirty="0">
                <a:solidFill>
                  <a:srgbClr val="009597"/>
                </a:solidFill>
                <a:latin typeface="Arial Black" panose="020B0A04020102020204" pitchFamily="34" charset="0"/>
                <a:cs typeface="Arial"/>
                <a:sym typeface="Wingdings" panose="05000000000000000000" pitchFamily="2" charset="2"/>
              </a:rPr>
              <a:t>3 ) Focus on Liberal Profession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all" spc="0" normalizeH="0" baseline="0" noProof="0" dirty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/>
              <a:sym typeface="Wingdings" panose="05000000000000000000" pitchFamily="2" charset="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all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  <a:sym typeface="Wingdings" panose="05000000000000000000" pitchFamily="2" charset="2"/>
              </a:rPr>
              <a:t>           </a:t>
            </a:r>
            <a:r>
              <a:rPr kumimoji="0" lang="en-US" sz="2800" b="0" i="0" u="none" strike="noStrike" kern="1200" cap="all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</a:rPr>
              <a:t> </a:t>
            </a:r>
            <a:endParaRPr kumimoji="0" lang="fr-FR" sz="2800" b="0" i="0" u="none" strike="noStrike" kern="1200" cap="all" spc="0" normalizeH="0" baseline="0" noProof="0" dirty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</a:t>
            </a: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-FR" sz="11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14871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re 2">
            <a:extLst>
              <a:ext uri="{FF2B5EF4-FFF2-40B4-BE49-F238E27FC236}">
                <a16:creationId xmlns:a16="http://schemas.microsoft.com/office/drawing/2014/main" id="{0ADDDDFC-D620-8A2D-7779-5107214ED0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3615" y="100493"/>
            <a:ext cx="11539365" cy="519267"/>
          </a:xfrm>
        </p:spPr>
        <p:txBody>
          <a:bodyPr>
            <a:noAutofit/>
          </a:bodyPr>
          <a:lstStyle/>
          <a:p>
            <a:pPr defTabSz="180000">
              <a:defRPr/>
            </a:pPr>
            <a:r>
              <a:rPr lang="it-IT" sz="2400" b="0" dirty="0">
                <a:solidFill>
                  <a:srgbClr val="009597"/>
                </a:solidFill>
                <a:latin typeface="Arial Black" panose="020B0A04020102020204" pitchFamily="34" charset="0"/>
                <a:cs typeface="Arial"/>
              </a:rPr>
              <a:t>ITALIAN MARKET AND CAI MARKET SHARE </a:t>
            </a:r>
            <a:endParaRPr lang="en-GB" sz="1600" b="0" dirty="0">
              <a:solidFill>
                <a:srgbClr val="009597"/>
              </a:solidFill>
              <a:latin typeface="+mn-lt"/>
              <a:cs typeface="Arial"/>
            </a:endParaRPr>
          </a:p>
        </p:txBody>
      </p:sp>
      <p:sp>
        <p:nvSpPr>
          <p:cNvPr id="30" name="Rettangolo 29"/>
          <p:cNvSpPr/>
          <p:nvPr/>
        </p:nvSpPr>
        <p:spPr>
          <a:xfrm>
            <a:off x="265323" y="6522600"/>
            <a:ext cx="532181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800" i="1" dirty="0" err="1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s</a:t>
            </a:r>
            <a:r>
              <a:rPr kumimoji="0" lang="it-IT" sz="800" b="0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it-IT" sz="800" i="1" noProof="0" dirty="0" err="1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alian</a:t>
            </a:r>
            <a:r>
              <a:rPr lang="it-IT" sz="800" i="1" noProof="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rket</a:t>
            </a:r>
            <a:r>
              <a:rPr lang="it-IT" sz="800" i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kumimoji="0" lang="it-IT" sz="800" b="0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laborazione a cura dell’Osservatorio sulle libere professioni sulla base di dati ISTAT;</a:t>
            </a:r>
            <a:r>
              <a:rPr kumimoji="0" lang="it-IT" sz="800" b="0" i="1" u="none" strike="noStrike" kern="1200" cap="none" spc="0" normalizeH="0" noProof="0" dirty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800" i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I: </a:t>
            </a:r>
            <a:r>
              <a:rPr lang="it-IT" sz="800" i="1" dirty="0" err="1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ily</a:t>
            </a:r>
            <a:r>
              <a:rPr lang="it-IT" sz="800" i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800" i="1" dirty="0" err="1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ers</a:t>
            </a:r>
            <a:r>
              <a:rPr lang="it-IT" sz="800" i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port; Dashboard </a:t>
            </a:r>
            <a:r>
              <a:rPr lang="it-IT" sz="800" i="1" dirty="0" err="1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.Ge</a:t>
            </a:r>
            <a:r>
              <a:rPr lang="it-IT" sz="800" i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it-IT" sz="800" i="1" dirty="0" err="1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ans</a:t>
            </a:r>
            <a:r>
              <a:rPr lang="it-IT" sz="800" i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it-IT" sz="800" i="1" dirty="0" err="1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osits</a:t>
            </a:r>
            <a:r>
              <a:rPr lang="it-IT" sz="800" i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800" i="1" dirty="0" err="1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</a:t>
            </a:r>
            <a:r>
              <a:rPr lang="it-IT" sz="800" i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1</a:t>
            </a:r>
            <a:r>
              <a:rPr lang="en-AE" sz="800" i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it-IT" sz="800" i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800" i="1" dirty="0" err="1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ly</a:t>
            </a:r>
            <a:r>
              <a:rPr lang="it-IT" sz="800" i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NBI </a:t>
            </a:r>
            <a:r>
              <a:rPr lang="it-IT" sz="800" i="1" dirty="0" err="1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</a:t>
            </a:r>
            <a:r>
              <a:rPr lang="it-IT" sz="800" i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31</a:t>
            </a:r>
            <a:r>
              <a:rPr lang="en-AE" sz="800" i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 May</a:t>
            </a:r>
            <a:r>
              <a:rPr lang="it-IT" sz="800" i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grpSp>
        <p:nvGrpSpPr>
          <p:cNvPr id="33" name="Gruppo 32"/>
          <p:cNvGrpSpPr/>
          <p:nvPr/>
        </p:nvGrpSpPr>
        <p:grpSpPr>
          <a:xfrm>
            <a:off x="6237072" y="1226330"/>
            <a:ext cx="3754179" cy="4874615"/>
            <a:chOff x="1051588" y="1609775"/>
            <a:chExt cx="2772000" cy="2916000"/>
          </a:xfrm>
        </p:grpSpPr>
        <p:sp>
          <p:nvSpPr>
            <p:cNvPr id="38" name="Freeform 4348"/>
            <p:cNvSpPr>
              <a:spLocks/>
            </p:cNvSpPr>
            <p:nvPr/>
          </p:nvSpPr>
          <p:spPr bwMode="auto">
            <a:xfrm>
              <a:off x="2279941" y="2477041"/>
              <a:ext cx="402336" cy="382449"/>
            </a:xfrm>
            <a:custGeom>
              <a:avLst/>
              <a:gdLst>
                <a:gd name="T0" fmla="*/ 181 w 182"/>
                <a:gd name="T1" fmla="*/ 176 h 210"/>
                <a:gd name="T2" fmla="*/ 178 w 182"/>
                <a:gd name="T3" fmla="*/ 166 h 210"/>
                <a:gd name="T4" fmla="*/ 175 w 182"/>
                <a:gd name="T5" fmla="*/ 140 h 210"/>
                <a:gd name="T6" fmla="*/ 172 w 182"/>
                <a:gd name="T7" fmla="*/ 120 h 210"/>
                <a:gd name="T8" fmla="*/ 165 w 182"/>
                <a:gd name="T9" fmla="*/ 94 h 210"/>
                <a:gd name="T10" fmla="*/ 158 w 182"/>
                <a:gd name="T11" fmla="*/ 84 h 210"/>
                <a:gd name="T12" fmla="*/ 146 w 182"/>
                <a:gd name="T13" fmla="*/ 69 h 210"/>
                <a:gd name="T14" fmla="*/ 133 w 182"/>
                <a:gd name="T15" fmla="*/ 62 h 210"/>
                <a:gd name="T16" fmla="*/ 118 w 182"/>
                <a:gd name="T17" fmla="*/ 48 h 210"/>
                <a:gd name="T18" fmla="*/ 102 w 182"/>
                <a:gd name="T19" fmla="*/ 34 h 210"/>
                <a:gd name="T20" fmla="*/ 87 w 182"/>
                <a:gd name="T21" fmla="*/ 19 h 210"/>
                <a:gd name="T22" fmla="*/ 75 w 182"/>
                <a:gd name="T23" fmla="*/ 7 h 210"/>
                <a:gd name="T24" fmla="*/ 66 w 182"/>
                <a:gd name="T25" fmla="*/ 0 h 210"/>
                <a:gd name="T26" fmla="*/ 68 w 182"/>
                <a:gd name="T27" fmla="*/ 11 h 210"/>
                <a:gd name="T28" fmla="*/ 63 w 182"/>
                <a:gd name="T29" fmla="*/ 19 h 210"/>
                <a:gd name="T30" fmla="*/ 56 w 182"/>
                <a:gd name="T31" fmla="*/ 23 h 210"/>
                <a:gd name="T32" fmla="*/ 49 w 182"/>
                <a:gd name="T33" fmla="*/ 19 h 210"/>
                <a:gd name="T34" fmla="*/ 41 w 182"/>
                <a:gd name="T35" fmla="*/ 12 h 210"/>
                <a:gd name="T36" fmla="*/ 37 w 182"/>
                <a:gd name="T37" fmla="*/ 11 h 210"/>
                <a:gd name="T38" fmla="*/ 29 w 182"/>
                <a:gd name="T39" fmla="*/ 11 h 210"/>
                <a:gd name="T40" fmla="*/ 20 w 182"/>
                <a:gd name="T41" fmla="*/ 14 h 210"/>
                <a:gd name="T42" fmla="*/ 12 w 182"/>
                <a:gd name="T43" fmla="*/ 11 h 210"/>
                <a:gd name="T44" fmla="*/ 8 w 182"/>
                <a:gd name="T45" fmla="*/ 17 h 210"/>
                <a:gd name="T46" fmla="*/ 8 w 182"/>
                <a:gd name="T47" fmla="*/ 28 h 210"/>
                <a:gd name="T48" fmla="*/ 0 w 182"/>
                <a:gd name="T49" fmla="*/ 29 h 210"/>
                <a:gd name="T50" fmla="*/ 0 w 182"/>
                <a:gd name="T51" fmla="*/ 34 h 210"/>
                <a:gd name="T52" fmla="*/ 6 w 182"/>
                <a:gd name="T53" fmla="*/ 41 h 210"/>
                <a:gd name="T54" fmla="*/ 13 w 182"/>
                <a:gd name="T55" fmla="*/ 38 h 210"/>
                <a:gd name="T56" fmla="*/ 22 w 182"/>
                <a:gd name="T57" fmla="*/ 40 h 210"/>
                <a:gd name="T58" fmla="*/ 24 w 182"/>
                <a:gd name="T59" fmla="*/ 45 h 210"/>
                <a:gd name="T60" fmla="*/ 22 w 182"/>
                <a:gd name="T61" fmla="*/ 50 h 210"/>
                <a:gd name="T62" fmla="*/ 15 w 182"/>
                <a:gd name="T63" fmla="*/ 52 h 210"/>
                <a:gd name="T64" fmla="*/ 13 w 182"/>
                <a:gd name="T65" fmla="*/ 57 h 210"/>
                <a:gd name="T66" fmla="*/ 13 w 182"/>
                <a:gd name="T67" fmla="*/ 62 h 210"/>
                <a:gd name="T68" fmla="*/ 15 w 182"/>
                <a:gd name="T69" fmla="*/ 65 h 210"/>
                <a:gd name="T70" fmla="*/ 15 w 182"/>
                <a:gd name="T71" fmla="*/ 72 h 210"/>
                <a:gd name="T72" fmla="*/ 25 w 182"/>
                <a:gd name="T73" fmla="*/ 74 h 210"/>
                <a:gd name="T74" fmla="*/ 29 w 182"/>
                <a:gd name="T75" fmla="*/ 74 h 210"/>
                <a:gd name="T76" fmla="*/ 41 w 182"/>
                <a:gd name="T77" fmla="*/ 89 h 210"/>
                <a:gd name="T78" fmla="*/ 46 w 182"/>
                <a:gd name="T79" fmla="*/ 96 h 210"/>
                <a:gd name="T80" fmla="*/ 53 w 182"/>
                <a:gd name="T81" fmla="*/ 94 h 210"/>
                <a:gd name="T82" fmla="*/ 66 w 182"/>
                <a:gd name="T83" fmla="*/ 104 h 210"/>
                <a:gd name="T84" fmla="*/ 76 w 182"/>
                <a:gd name="T85" fmla="*/ 113 h 210"/>
                <a:gd name="T86" fmla="*/ 76 w 182"/>
                <a:gd name="T87" fmla="*/ 130 h 210"/>
                <a:gd name="T88" fmla="*/ 78 w 182"/>
                <a:gd name="T89" fmla="*/ 142 h 210"/>
                <a:gd name="T90" fmla="*/ 80 w 182"/>
                <a:gd name="T91" fmla="*/ 159 h 210"/>
                <a:gd name="T92" fmla="*/ 82 w 182"/>
                <a:gd name="T93" fmla="*/ 167 h 210"/>
                <a:gd name="T94" fmla="*/ 87 w 182"/>
                <a:gd name="T95" fmla="*/ 173 h 210"/>
                <a:gd name="T96" fmla="*/ 95 w 182"/>
                <a:gd name="T97" fmla="*/ 176 h 210"/>
                <a:gd name="T98" fmla="*/ 109 w 182"/>
                <a:gd name="T99" fmla="*/ 186 h 210"/>
                <a:gd name="T100" fmla="*/ 116 w 182"/>
                <a:gd name="T101" fmla="*/ 192 h 210"/>
                <a:gd name="T102" fmla="*/ 119 w 182"/>
                <a:gd name="T103" fmla="*/ 199 h 210"/>
                <a:gd name="T104" fmla="*/ 121 w 182"/>
                <a:gd name="T105" fmla="*/ 206 h 210"/>
                <a:gd name="T106" fmla="*/ 124 w 182"/>
                <a:gd name="T107" fmla="*/ 209 h 210"/>
                <a:gd name="T108" fmla="*/ 126 w 182"/>
                <a:gd name="T109" fmla="*/ 204 h 210"/>
                <a:gd name="T110" fmla="*/ 136 w 182"/>
                <a:gd name="T111" fmla="*/ 192 h 210"/>
                <a:gd name="T112" fmla="*/ 148 w 182"/>
                <a:gd name="T113" fmla="*/ 195 h 210"/>
                <a:gd name="T114" fmla="*/ 155 w 182"/>
                <a:gd name="T115" fmla="*/ 186 h 210"/>
                <a:gd name="T116" fmla="*/ 165 w 182"/>
                <a:gd name="T117" fmla="*/ 188 h 210"/>
                <a:gd name="T118" fmla="*/ 181 w 182"/>
                <a:gd name="T119" fmla="*/ 176 h 2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82"/>
                <a:gd name="T181" fmla="*/ 0 h 210"/>
                <a:gd name="T182" fmla="*/ 182 w 182"/>
                <a:gd name="T183" fmla="*/ 210 h 2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82" h="210">
                  <a:moveTo>
                    <a:pt x="181" y="176"/>
                  </a:moveTo>
                  <a:lnTo>
                    <a:pt x="178" y="166"/>
                  </a:lnTo>
                  <a:lnTo>
                    <a:pt x="175" y="140"/>
                  </a:lnTo>
                  <a:lnTo>
                    <a:pt x="172" y="120"/>
                  </a:lnTo>
                  <a:lnTo>
                    <a:pt x="165" y="94"/>
                  </a:lnTo>
                  <a:lnTo>
                    <a:pt x="158" y="84"/>
                  </a:lnTo>
                  <a:lnTo>
                    <a:pt x="146" y="69"/>
                  </a:lnTo>
                  <a:lnTo>
                    <a:pt x="133" y="62"/>
                  </a:lnTo>
                  <a:lnTo>
                    <a:pt x="118" y="48"/>
                  </a:lnTo>
                  <a:lnTo>
                    <a:pt x="102" y="34"/>
                  </a:lnTo>
                  <a:lnTo>
                    <a:pt x="87" y="19"/>
                  </a:lnTo>
                  <a:lnTo>
                    <a:pt x="75" y="7"/>
                  </a:lnTo>
                  <a:lnTo>
                    <a:pt x="66" y="0"/>
                  </a:lnTo>
                  <a:lnTo>
                    <a:pt x="68" y="11"/>
                  </a:lnTo>
                  <a:lnTo>
                    <a:pt x="63" y="19"/>
                  </a:lnTo>
                  <a:lnTo>
                    <a:pt x="56" y="23"/>
                  </a:lnTo>
                  <a:lnTo>
                    <a:pt x="49" y="19"/>
                  </a:lnTo>
                  <a:lnTo>
                    <a:pt x="41" y="12"/>
                  </a:lnTo>
                  <a:lnTo>
                    <a:pt x="37" y="11"/>
                  </a:lnTo>
                  <a:lnTo>
                    <a:pt x="29" y="11"/>
                  </a:lnTo>
                  <a:lnTo>
                    <a:pt x="20" y="14"/>
                  </a:lnTo>
                  <a:lnTo>
                    <a:pt x="12" y="11"/>
                  </a:lnTo>
                  <a:lnTo>
                    <a:pt x="8" y="17"/>
                  </a:lnTo>
                  <a:lnTo>
                    <a:pt x="8" y="28"/>
                  </a:lnTo>
                  <a:lnTo>
                    <a:pt x="0" y="29"/>
                  </a:lnTo>
                  <a:lnTo>
                    <a:pt x="0" y="34"/>
                  </a:lnTo>
                  <a:lnTo>
                    <a:pt x="6" y="41"/>
                  </a:lnTo>
                  <a:lnTo>
                    <a:pt x="13" y="38"/>
                  </a:lnTo>
                  <a:lnTo>
                    <a:pt x="22" y="40"/>
                  </a:lnTo>
                  <a:lnTo>
                    <a:pt x="24" y="45"/>
                  </a:lnTo>
                  <a:lnTo>
                    <a:pt x="22" y="50"/>
                  </a:lnTo>
                  <a:lnTo>
                    <a:pt x="15" y="52"/>
                  </a:lnTo>
                  <a:lnTo>
                    <a:pt x="13" y="57"/>
                  </a:lnTo>
                  <a:lnTo>
                    <a:pt x="13" y="62"/>
                  </a:lnTo>
                  <a:lnTo>
                    <a:pt x="15" y="65"/>
                  </a:lnTo>
                  <a:lnTo>
                    <a:pt x="15" y="72"/>
                  </a:lnTo>
                  <a:lnTo>
                    <a:pt x="25" y="74"/>
                  </a:lnTo>
                  <a:lnTo>
                    <a:pt x="29" y="74"/>
                  </a:lnTo>
                  <a:lnTo>
                    <a:pt x="41" y="89"/>
                  </a:lnTo>
                  <a:lnTo>
                    <a:pt x="46" y="96"/>
                  </a:lnTo>
                  <a:lnTo>
                    <a:pt x="53" y="94"/>
                  </a:lnTo>
                  <a:lnTo>
                    <a:pt x="66" y="104"/>
                  </a:lnTo>
                  <a:lnTo>
                    <a:pt x="76" y="113"/>
                  </a:lnTo>
                  <a:lnTo>
                    <a:pt x="76" y="130"/>
                  </a:lnTo>
                  <a:lnTo>
                    <a:pt x="78" y="142"/>
                  </a:lnTo>
                  <a:lnTo>
                    <a:pt x="80" y="159"/>
                  </a:lnTo>
                  <a:lnTo>
                    <a:pt x="82" y="167"/>
                  </a:lnTo>
                  <a:lnTo>
                    <a:pt x="87" y="173"/>
                  </a:lnTo>
                  <a:lnTo>
                    <a:pt x="95" y="176"/>
                  </a:lnTo>
                  <a:lnTo>
                    <a:pt x="109" y="186"/>
                  </a:lnTo>
                  <a:lnTo>
                    <a:pt x="116" y="192"/>
                  </a:lnTo>
                  <a:lnTo>
                    <a:pt x="119" y="199"/>
                  </a:lnTo>
                  <a:lnTo>
                    <a:pt x="121" y="206"/>
                  </a:lnTo>
                  <a:lnTo>
                    <a:pt x="124" y="209"/>
                  </a:lnTo>
                  <a:lnTo>
                    <a:pt x="126" y="204"/>
                  </a:lnTo>
                  <a:lnTo>
                    <a:pt x="136" y="192"/>
                  </a:lnTo>
                  <a:lnTo>
                    <a:pt x="148" y="195"/>
                  </a:lnTo>
                  <a:lnTo>
                    <a:pt x="155" y="186"/>
                  </a:lnTo>
                  <a:lnTo>
                    <a:pt x="165" y="188"/>
                  </a:lnTo>
                  <a:lnTo>
                    <a:pt x="181" y="176"/>
                  </a:lnTo>
                </a:path>
              </a:pathLst>
            </a:custGeom>
            <a:solidFill>
              <a:srgbClr val="3397A5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127844" tIns="63920" rIns="127844" bIns="63920" anchor="ctr"/>
            <a:lstStyle/>
            <a:p>
              <a:pPr marL="0" marR="0" lvl="0" indent="0" algn="ctr" defTabSz="95882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endParaRPr>
            </a:p>
          </p:txBody>
        </p:sp>
        <p:sp>
          <p:nvSpPr>
            <p:cNvPr id="40" name="Freeform 3449"/>
            <p:cNvSpPr>
              <a:spLocks/>
            </p:cNvSpPr>
            <p:nvPr/>
          </p:nvSpPr>
          <p:spPr bwMode="auto">
            <a:xfrm>
              <a:off x="1227303" y="3165167"/>
              <a:ext cx="426968" cy="671064"/>
            </a:xfrm>
            <a:custGeom>
              <a:avLst/>
              <a:gdLst>
                <a:gd name="T0" fmla="*/ 6 w 193"/>
                <a:gd name="T1" fmla="*/ 44 h 367"/>
                <a:gd name="T2" fmla="*/ 8 w 193"/>
                <a:gd name="T3" fmla="*/ 63 h 367"/>
                <a:gd name="T4" fmla="*/ 5 w 193"/>
                <a:gd name="T5" fmla="*/ 81 h 367"/>
                <a:gd name="T6" fmla="*/ 6 w 193"/>
                <a:gd name="T7" fmla="*/ 94 h 367"/>
                <a:gd name="T8" fmla="*/ 23 w 193"/>
                <a:gd name="T9" fmla="*/ 105 h 367"/>
                <a:gd name="T10" fmla="*/ 26 w 193"/>
                <a:gd name="T11" fmla="*/ 137 h 367"/>
                <a:gd name="T12" fmla="*/ 29 w 193"/>
                <a:gd name="T13" fmla="*/ 161 h 367"/>
                <a:gd name="T14" fmla="*/ 27 w 193"/>
                <a:gd name="T15" fmla="*/ 178 h 367"/>
                <a:gd name="T16" fmla="*/ 18 w 193"/>
                <a:gd name="T17" fmla="*/ 199 h 367"/>
                <a:gd name="T18" fmla="*/ 26 w 193"/>
                <a:gd name="T19" fmla="*/ 216 h 367"/>
                <a:gd name="T20" fmla="*/ 27 w 193"/>
                <a:gd name="T21" fmla="*/ 235 h 367"/>
                <a:gd name="T22" fmla="*/ 13 w 193"/>
                <a:gd name="T23" fmla="*/ 250 h 367"/>
                <a:gd name="T24" fmla="*/ 8 w 193"/>
                <a:gd name="T25" fmla="*/ 269 h 367"/>
                <a:gd name="T26" fmla="*/ 1 w 193"/>
                <a:gd name="T27" fmla="*/ 289 h 367"/>
                <a:gd name="T28" fmla="*/ 5 w 193"/>
                <a:gd name="T29" fmla="*/ 309 h 367"/>
                <a:gd name="T30" fmla="*/ 20 w 193"/>
                <a:gd name="T31" fmla="*/ 325 h 367"/>
                <a:gd name="T32" fmla="*/ 26 w 193"/>
                <a:gd name="T33" fmla="*/ 355 h 367"/>
                <a:gd name="T34" fmla="*/ 40 w 193"/>
                <a:gd name="T35" fmla="*/ 353 h 367"/>
                <a:gd name="T36" fmla="*/ 62 w 193"/>
                <a:gd name="T37" fmla="*/ 366 h 367"/>
                <a:gd name="T38" fmla="*/ 82 w 193"/>
                <a:gd name="T39" fmla="*/ 347 h 367"/>
                <a:gd name="T40" fmla="*/ 86 w 193"/>
                <a:gd name="T41" fmla="*/ 330 h 367"/>
                <a:gd name="T42" fmla="*/ 96 w 193"/>
                <a:gd name="T43" fmla="*/ 322 h 367"/>
                <a:gd name="T44" fmla="*/ 118 w 193"/>
                <a:gd name="T45" fmla="*/ 328 h 367"/>
                <a:gd name="T46" fmla="*/ 140 w 193"/>
                <a:gd name="T47" fmla="*/ 337 h 367"/>
                <a:gd name="T48" fmla="*/ 144 w 193"/>
                <a:gd name="T49" fmla="*/ 277 h 367"/>
                <a:gd name="T50" fmla="*/ 167 w 193"/>
                <a:gd name="T51" fmla="*/ 190 h 367"/>
                <a:gd name="T52" fmla="*/ 188 w 193"/>
                <a:gd name="T53" fmla="*/ 139 h 367"/>
                <a:gd name="T54" fmla="*/ 185 w 193"/>
                <a:gd name="T55" fmla="*/ 123 h 367"/>
                <a:gd name="T56" fmla="*/ 181 w 193"/>
                <a:gd name="T57" fmla="*/ 96 h 367"/>
                <a:gd name="T58" fmla="*/ 178 w 193"/>
                <a:gd name="T59" fmla="*/ 70 h 367"/>
                <a:gd name="T60" fmla="*/ 166 w 193"/>
                <a:gd name="T61" fmla="*/ 31 h 367"/>
                <a:gd name="T62" fmla="*/ 157 w 193"/>
                <a:gd name="T63" fmla="*/ 12 h 367"/>
                <a:gd name="T64" fmla="*/ 139 w 193"/>
                <a:gd name="T65" fmla="*/ 12 h 367"/>
                <a:gd name="T66" fmla="*/ 118 w 193"/>
                <a:gd name="T67" fmla="*/ 14 h 367"/>
                <a:gd name="T68" fmla="*/ 108 w 193"/>
                <a:gd name="T69" fmla="*/ 24 h 367"/>
                <a:gd name="T70" fmla="*/ 94 w 193"/>
                <a:gd name="T71" fmla="*/ 33 h 367"/>
                <a:gd name="T72" fmla="*/ 77 w 193"/>
                <a:gd name="T73" fmla="*/ 51 h 367"/>
                <a:gd name="T74" fmla="*/ 62 w 193"/>
                <a:gd name="T75" fmla="*/ 50 h 367"/>
                <a:gd name="T76" fmla="*/ 46 w 193"/>
                <a:gd name="T77" fmla="*/ 65 h 367"/>
                <a:gd name="T78" fmla="*/ 27 w 193"/>
                <a:gd name="T79" fmla="*/ 54 h 367"/>
                <a:gd name="T80" fmla="*/ 15 w 193"/>
                <a:gd name="T81" fmla="*/ 50 h 36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93"/>
                <a:gd name="T124" fmla="*/ 0 h 367"/>
                <a:gd name="T125" fmla="*/ 193 w 193"/>
                <a:gd name="T126" fmla="*/ 367 h 367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93" h="367">
                  <a:moveTo>
                    <a:pt x="15" y="37"/>
                  </a:moveTo>
                  <a:lnTo>
                    <a:pt x="6" y="44"/>
                  </a:lnTo>
                  <a:lnTo>
                    <a:pt x="6" y="54"/>
                  </a:lnTo>
                  <a:lnTo>
                    <a:pt x="8" y="63"/>
                  </a:lnTo>
                  <a:lnTo>
                    <a:pt x="1" y="71"/>
                  </a:lnTo>
                  <a:lnTo>
                    <a:pt x="5" y="81"/>
                  </a:lnTo>
                  <a:lnTo>
                    <a:pt x="1" y="93"/>
                  </a:lnTo>
                  <a:lnTo>
                    <a:pt x="6" y="94"/>
                  </a:lnTo>
                  <a:lnTo>
                    <a:pt x="18" y="93"/>
                  </a:lnTo>
                  <a:lnTo>
                    <a:pt x="23" y="105"/>
                  </a:lnTo>
                  <a:lnTo>
                    <a:pt x="27" y="123"/>
                  </a:lnTo>
                  <a:lnTo>
                    <a:pt x="26" y="137"/>
                  </a:lnTo>
                  <a:lnTo>
                    <a:pt x="33" y="149"/>
                  </a:lnTo>
                  <a:lnTo>
                    <a:pt x="29" y="161"/>
                  </a:lnTo>
                  <a:lnTo>
                    <a:pt x="27" y="168"/>
                  </a:lnTo>
                  <a:lnTo>
                    <a:pt x="27" y="178"/>
                  </a:lnTo>
                  <a:lnTo>
                    <a:pt x="18" y="187"/>
                  </a:lnTo>
                  <a:lnTo>
                    <a:pt x="18" y="199"/>
                  </a:lnTo>
                  <a:lnTo>
                    <a:pt x="18" y="207"/>
                  </a:lnTo>
                  <a:lnTo>
                    <a:pt x="26" y="216"/>
                  </a:lnTo>
                  <a:lnTo>
                    <a:pt x="27" y="224"/>
                  </a:lnTo>
                  <a:lnTo>
                    <a:pt x="27" y="235"/>
                  </a:lnTo>
                  <a:lnTo>
                    <a:pt x="17" y="244"/>
                  </a:lnTo>
                  <a:lnTo>
                    <a:pt x="13" y="250"/>
                  </a:lnTo>
                  <a:lnTo>
                    <a:pt x="11" y="263"/>
                  </a:lnTo>
                  <a:lnTo>
                    <a:pt x="8" y="269"/>
                  </a:lnTo>
                  <a:lnTo>
                    <a:pt x="3" y="272"/>
                  </a:lnTo>
                  <a:lnTo>
                    <a:pt x="1" y="289"/>
                  </a:lnTo>
                  <a:lnTo>
                    <a:pt x="0" y="303"/>
                  </a:lnTo>
                  <a:lnTo>
                    <a:pt x="5" y="309"/>
                  </a:lnTo>
                  <a:lnTo>
                    <a:pt x="13" y="320"/>
                  </a:lnTo>
                  <a:lnTo>
                    <a:pt x="20" y="325"/>
                  </a:lnTo>
                  <a:lnTo>
                    <a:pt x="25" y="339"/>
                  </a:lnTo>
                  <a:lnTo>
                    <a:pt x="26" y="355"/>
                  </a:lnTo>
                  <a:lnTo>
                    <a:pt x="33" y="361"/>
                  </a:lnTo>
                  <a:lnTo>
                    <a:pt x="40" y="353"/>
                  </a:lnTo>
                  <a:lnTo>
                    <a:pt x="46" y="353"/>
                  </a:lnTo>
                  <a:lnTo>
                    <a:pt x="62" y="366"/>
                  </a:lnTo>
                  <a:lnTo>
                    <a:pt x="69" y="355"/>
                  </a:lnTo>
                  <a:lnTo>
                    <a:pt x="82" y="347"/>
                  </a:lnTo>
                  <a:lnTo>
                    <a:pt x="91" y="342"/>
                  </a:lnTo>
                  <a:lnTo>
                    <a:pt x="86" y="330"/>
                  </a:lnTo>
                  <a:lnTo>
                    <a:pt x="84" y="320"/>
                  </a:lnTo>
                  <a:lnTo>
                    <a:pt x="96" y="322"/>
                  </a:lnTo>
                  <a:lnTo>
                    <a:pt x="111" y="316"/>
                  </a:lnTo>
                  <a:lnTo>
                    <a:pt x="118" y="328"/>
                  </a:lnTo>
                  <a:lnTo>
                    <a:pt x="125" y="330"/>
                  </a:lnTo>
                  <a:lnTo>
                    <a:pt x="140" y="337"/>
                  </a:lnTo>
                  <a:lnTo>
                    <a:pt x="146" y="333"/>
                  </a:lnTo>
                  <a:lnTo>
                    <a:pt x="144" y="277"/>
                  </a:lnTo>
                  <a:lnTo>
                    <a:pt x="154" y="243"/>
                  </a:lnTo>
                  <a:lnTo>
                    <a:pt x="167" y="190"/>
                  </a:lnTo>
                  <a:lnTo>
                    <a:pt x="169" y="157"/>
                  </a:lnTo>
                  <a:lnTo>
                    <a:pt x="188" y="139"/>
                  </a:lnTo>
                  <a:lnTo>
                    <a:pt x="192" y="132"/>
                  </a:lnTo>
                  <a:lnTo>
                    <a:pt x="185" y="123"/>
                  </a:lnTo>
                  <a:lnTo>
                    <a:pt x="183" y="110"/>
                  </a:lnTo>
                  <a:lnTo>
                    <a:pt x="181" y="96"/>
                  </a:lnTo>
                  <a:lnTo>
                    <a:pt x="173" y="83"/>
                  </a:lnTo>
                  <a:lnTo>
                    <a:pt x="178" y="70"/>
                  </a:lnTo>
                  <a:lnTo>
                    <a:pt x="166" y="59"/>
                  </a:lnTo>
                  <a:lnTo>
                    <a:pt x="166" y="31"/>
                  </a:lnTo>
                  <a:lnTo>
                    <a:pt x="156" y="22"/>
                  </a:lnTo>
                  <a:lnTo>
                    <a:pt x="157" y="12"/>
                  </a:lnTo>
                  <a:lnTo>
                    <a:pt x="146" y="8"/>
                  </a:lnTo>
                  <a:lnTo>
                    <a:pt x="139" y="12"/>
                  </a:lnTo>
                  <a:lnTo>
                    <a:pt x="132" y="0"/>
                  </a:lnTo>
                  <a:lnTo>
                    <a:pt x="118" y="14"/>
                  </a:lnTo>
                  <a:lnTo>
                    <a:pt x="116" y="20"/>
                  </a:lnTo>
                  <a:lnTo>
                    <a:pt x="108" y="24"/>
                  </a:lnTo>
                  <a:lnTo>
                    <a:pt x="103" y="22"/>
                  </a:lnTo>
                  <a:lnTo>
                    <a:pt x="94" y="33"/>
                  </a:lnTo>
                  <a:lnTo>
                    <a:pt x="93" y="39"/>
                  </a:lnTo>
                  <a:lnTo>
                    <a:pt x="77" y="51"/>
                  </a:lnTo>
                  <a:lnTo>
                    <a:pt x="72" y="48"/>
                  </a:lnTo>
                  <a:lnTo>
                    <a:pt x="62" y="50"/>
                  </a:lnTo>
                  <a:lnTo>
                    <a:pt x="57" y="58"/>
                  </a:lnTo>
                  <a:lnTo>
                    <a:pt x="46" y="65"/>
                  </a:lnTo>
                  <a:lnTo>
                    <a:pt x="36" y="63"/>
                  </a:lnTo>
                  <a:lnTo>
                    <a:pt x="27" y="54"/>
                  </a:lnTo>
                  <a:lnTo>
                    <a:pt x="22" y="54"/>
                  </a:lnTo>
                  <a:lnTo>
                    <a:pt x="15" y="50"/>
                  </a:lnTo>
                  <a:lnTo>
                    <a:pt x="15" y="37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l" defTabSz="9143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endParaRPr>
            </a:p>
          </p:txBody>
        </p:sp>
        <p:sp>
          <p:nvSpPr>
            <p:cNvPr id="41" name="Freeform 3550"/>
            <p:cNvSpPr>
              <a:spLocks/>
            </p:cNvSpPr>
            <p:nvPr/>
          </p:nvSpPr>
          <p:spPr bwMode="auto">
            <a:xfrm>
              <a:off x="3092817" y="3571785"/>
              <a:ext cx="382627" cy="618459"/>
            </a:xfrm>
            <a:custGeom>
              <a:avLst/>
              <a:gdLst>
                <a:gd name="T0" fmla="*/ 0 w 173"/>
                <a:gd name="T1" fmla="*/ 8 h 339"/>
                <a:gd name="T2" fmla="*/ 8 w 173"/>
                <a:gd name="T3" fmla="*/ 24 h 339"/>
                <a:gd name="T4" fmla="*/ 6 w 173"/>
                <a:gd name="T5" fmla="*/ 36 h 339"/>
                <a:gd name="T6" fmla="*/ 10 w 173"/>
                <a:gd name="T7" fmla="*/ 48 h 339"/>
                <a:gd name="T8" fmla="*/ 24 w 173"/>
                <a:gd name="T9" fmla="*/ 73 h 339"/>
                <a:gd name="T10" fmla="*/ 38 w 173"/>
                <a:gd name="T11" fmla="*/ 97 h 339"/>
                <a:gd name="T12" fmla="*/ 41 w 173"/>
                <a:gd name="T13" fmla="*/ 107 h 339"/>
                <a:gd name="T14" fmla="*/ 41 w 173"/>
                <a:gd name="T15" fmla="*/ 132 h 339"/>
                <a:gd name="T16" fmla="*/ 45 w 173"/>
                <a:gd name="T17" fmla="*/ 144 h 339"/>
                <a:gd name="T18" fmla="*/ 57 w 173"/>
                <a:gd name="T19" fmla="*/ 164 h 339"/>
                <a:gd name="T20" fmla="*/ 60 w 173"/>
                <a:gd name="T21" fmla="*/ 171 h 339"/>
                <a:gd name="T22" fmla="*/ 62 w 173"/>
                <a:gd name="T23" fmla="*/ 188 h 339"/>
                <a:gd name="T24" fmla="*/ 60 w 173"/>
                <a:gd name="T25" fmla="*/ 198 h 339"/>
                <a:gd name="T26" fmla="*/ 45 w 173"/>
                <a:gd name="T27" fmla="*/ 206 h 339"/>
                <a:gd name="T28" fmla="*/ 40 w 173"/>
                <a:gd name="T29" fmla="*/ 209 h 339"/>
                <a:gd name="T30" fmla="*/ 40 w 173"/>
                <a:gd name="T31" fmla="*/ 215 h 339"/>
                <a:gd name="T32" fmla="*/ 36 w 173"/>
                <a:gd name="T33" fmla="*/ 215 h 339"/>
                <a:gd name="T34" fmla="*/ 23 w 173"/>
                <a:gd name="T35" fmla="*/ 217 h 339"/>
                <a:gd name="T36" fmla="*/ 20 w 173"/>
                <a:gd name="T37" fmla="*/ 227 h 339"/>
                <a:gd name="T38" fmla="*/ 23 w 173"/>
                <a:gd name="T39" fmla="*/ 243 h 339"/>
                <a:gd name="T40" fmla="*/ 16 w 173"/>
                <a:gd name="T41" fmla="*/ 260 h 339"/>
                <a:gd name="T42" fmla="*/ 12 w 173"/>
                <a:gd name="T43" fmla="*/ 274 h 339"/>
                <a:gd name="T44" fmla="*/ 2 w 173"/>
                <a:gd name="T45" fmla="*/ 282 h 339"/>
                <a:gd name="T46" fmla="*/ 0 w 173"/>
                <a:gd name="T47" fmla="*/ 293 h 339"/>
                <a:gd name="T48" fmla="*/ 3 w 173"/>
                <a:gd name="T49" fmla="*/ 308 h 339"/>
                <a:gd name="T50" fmla="*/ 0 w 173"/>
                <a:gd name="T51" fmla="*/ 323 h 339"/>
                <a:gd name="T52" fmla="*/ 12 w 173"/>
                <a:gd name="T53" fmla="*/ 338 h 339"/>
                <a:gd name="T54" fmla="*/ 28 w 173"/>
                <a:gd name="T55" fmla="*/ 332 h 339"/>
                <a:gd name="T56" fmla="*/ 43 w 173"/>
                <a:gd name="T57" fmla="*/ 332 h 339"/>
                <a:gd name="T58" fmla="*/ 55 w 173"/>
                <a:gd name="T59" fmla="*/ 318 h 339"/>
                <a:gd name="T60" fmla="*/ 57 w 173"/>
                <a:gd name="T61" fmla="*/ 294 h 339"/>
                <a:gd name="T62" fmla="*/ 76 w 173"/>
                <a:gd name="T63" fmla="*/ 279 h 339"/>
                <a:gd name="T64" fmla="*/ 94 w 173"/>
                <a:gd name="T65" fmla="*/ 262 h 339"/>
                <a:gd name="T66" fmla="*/ 106 w 173"/>
                <a:gd name="T67" fmla="*/ 241 h 339"/>
                <a:gd name="T68" fmla="*/ 106 w 173"/>
                <a:gd name="T69" fmla="*/ 215 h 339"/>
                <a:gd name="T70" fmla="*/ 144 w 173"/>
                <a:gd name="T71" fmla="*/ 188 h 339"/>
                <a:gd name="T72" fmla="*/ 159 w 173"/>
                <a:gd name="T73" fmla="*/ 185 h 339"/>
                <a:gd name="T74" fmla="*/ 169 w 173"/>
                <a:gd name="T75" fmla="*/ 175 h 339"/>
                <a:gd name="T76" fmla="*/ 171 w 173"/>
                <a:gd name="T77" fmla="*/ 151 h 339"/>
                <a:gd name="T78" fmla="*/ 166 w 173"/>
                <a:gd name="T79" fmla="*/ 139 h 339"/>
                <a:gd name="T80" fmla="*/ 172 w 173"/>
                <a:gd name="T81" fmla="*/ 116 h 339"/>
                <a:gd name="T82" fmla="*/ 172 w 173"/>
                <a:gd name="T83" fmla="*/ 102 h 339"/>
                <a:gd name="T84" fmla="*/ 167 w 173"/>
                <a:gd name="T85" fmla="*/ 95 h 339"/>
                <a:gd name="T86" fmla="*/ 152 w 173"/>
                <a:gd name="T87" fmla="*/ 90 h 339"/>
                <a:gd name="T88" fmla="*/ 127 w 173"/>
                <a:gd name="T89" fmla="*/ 68 h 339"/>
                <a:gd name="T90" fmla="*/ 108 w 173"/>
                <a:gd name="T91" fmla="*/ 68 h 339"/>
                <a:gd name="T92" fmla="*/ 101 w 173"/>
                <a:gd name="T93" fmla="*/ 49 h 339"/>
                <a:gd name="T94" fmla="*/ 108 w 173"/>
                <a:gd name="T95" fmla="*/ 42 h 339"/>
                <a:gd name="T96" fmla="*/ 115 w 173"/>
                <a:gd name="T97" fmla="*/ 34 h 339"/>
                <a:gd name="T98" fmla="*/ 115 w 173"/>
                <a:gd name="T99" fmla="*/ 19 h 339"/>
                <a:gd name="T100" fmla="*/ 111 w 173"/>
                <a:gd name="T101" fmla="*/ 2 h 339"/>
                <a:gd name="T102" fmla="*/ 94 w 173"/>
                <a:gd name="T103" fmla="*/ 0 h 339"/>
                <a:gd name="T104" fmla="*/ 87 w 173"/>
                <a:gd name="T105" fmla="*/ 24 h 339"/>
                <a:gd name="T106" fmla="*/ 74 w 173"/>
                <a:gd name="T107" fmla="*/ 27 h 339"/>
                <a:gd name="T108" fmla="*/ 64 w 173"/>
                <a:gd name="T109" fmla="*/ 27 h 339"/>
                <a:gd name="T110" fmla="*/ 58 w 173"/>
                <a:gd name="T111" fmla="*/ 32 h 339"/>
                <a:gd name="T112" fmla="*/ 38 w 173"/>
                <a:gd name="T113" fmla="*/ 17 h 339"/>
                <a:gd name="T114" fmla="*/ 28 w 173"/>
                <a:gd name="T115" fmla="*/ 22 h 339"/>
                <a:gd name="T116" fmla="*/ 18 w 173"/>
                <a:gd name="T117" fmla="*/ 22 h 339"/>
                <a:gd name="T118" fmla="*/ 8 w 173"/>
                <a:gd name="T119" fmla="*/ 10 h 339"/>
                <a:gd name="T120" fmla="*/ 0 w 173"/>
                <a:gd name="T121" fmla="*/ 8 h 33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73"/>
                <a:gd name="T184" fmla="*/ 0 h 339"/>
                <a:gd name="T185" fmla="*/ 173 w 173"/>
                <a:gd name="T186" fmla="*/ 339 h 33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73" h="339">
                  <a:moveTo>
                    <a:pt x="0" y="8"/>
                  </a:moveTo>
                  <a:lnTo>
                    <a:pt x="8" y="24"/>
                  </a:lnTo>
                  <a:lnTo>
                    <a:pt x="6" y="36"/>
                  </a:lnTo>
                  <a:lnTo>
                    <a:pt x="10" y="48"/>
                  </a:lnTo>
                  <a:lnTo>
                    <a:pt x="24" y="73"/>
                  </a:lnTo>
                  <a:lnTo>
                    <a:pt x="38" y="97"/>
                  </a:lnTo>
                  <a:lnTo>
                    <a:pt x="41" y="107"/>
                  </a:lnTo>
                  <a:lnTo>
                    <a:pt x="41" y="132"/>
                  </a:lnTo>
                  <a:lnTo>
                    <a:pt x="45" y="144"/>
                  </a:lnTo>
                  <a:lnTo>
                    <a:pt x="57" y="164"/>
                  </a:lnTo>
                  <a:lnTo>
                    <a:pt x="60" y="171"/>
                  </a:lnTo>
                  <a:lnTo>
                    <a:pt x="62" y="188"/>
                  </a:lnTo>
                  <a:lnTo>
                    <a:pt x="60" y="198"/>
                  </a:lnTo>
                  <a:lnTo>
                    <a:pt x="45" y="206"/>
                  </a:lnTo>
                  <a:lnTo>
                    <a:pt x="40" y="209"/>
                  </a:lnTo>
                  <a:lnTo>
                    <a:pt x="40" y="215"/>
                  </a:lnTo>
                  <a:lnTo>
                    <a:pt x="36" y="215"/>
                  </a:lnTo>
                  <a:lnTo>
                    <a:pt x="23" y="217"/>
                  </a:lnTo>
                  <a:lnTo>
                    <a:pt x="20" y="227"/>
                  </a:lnTo>
                  <a:lnTo>
                    <a:pt x="23" y="243"/>
                  </a:lnTo>
                  <a:lnTo>
                    <a:pt x="16" y="260"/>
                  </a:lnTo>
                  <a:lnTo>
                    <a:pt x="12" y="274"/>
                  </a:lnTo>
                  <a:lnTo>
                    <a:pt x="2" y="282"/>
                  </a:lnTo>
                  <a:lnTo>
                    <a:pt x="0" y="293"/>
                  </a:lnTo>
                  <a:lnTo>
                    <a:pt x="3" y="308"/>
                  </a:lnTo>
                  <a:lnTo>
                    <a:pt x="0" y="323"/>
                  </a:lnTo>
                  <a:lnTo>
                    <a:pt x="12" y="338"/>
                  </a:lnTo>
                  <a:lnTo>
                    <a:pt x="28" y="332"/>
                  </a:lnTo>
                  <a:lnTo>
                    <a:pt x="43" y="332"/>
                  </a:lnTo>
                  <a:lnTo>
                    <a:pt x="55" y="318"/>
                  </a:lnTo>
                  <a:lnTo>
                    <a:pt x="57" y="294"/>
                  </a:lnTo>
                  <a:lnTo>
                    <a:pt x="76" y="279"/>
                  </a:lnTo>
                  <a:lnTo>
                    <a:pt x="94" y="262"/>
                  </a:lnTo>
                  <a:lnTo>
                    <a:pt x="106" y="241"/>
                  </a:lnTo>
                  <a:lnTo>
                    <a:pt x="106" y="215"/>
                  </a:lnTo>
                  <a:lnTo>
                    <a:pt x="144" y="188"/>
                  </a:lnTo>
                  <a:lnTo>
                    <a:pt x="159" y="185"/>
                  </a:lnTo>
                  <a:lnTo>
                    <a:pt x="169" y="175"/>
                  </a:lnTo>
                  <a:lnTo>
                    <a:pt x="171" y="151"/>
                  </a:lnTo>
                  <a:lnTo>
                    <a:pt x="166" y="139"/>
                  </a:lnTo>
                  <a:lnTo>
                    <a:pt x="172" y="116"/>
                  </a:lnTo>
                  <a:lnTo>
                    <a:pt x="172" y="102"/>
                  </a:lnTo>
                  <a:lnTo>
                    <a:pt x="167" y="95"/>
                  </a:lnTo>
                  <a:lnTo>
                    <a:pt x="152" y="90"/>
                  </a:lnTo>
                  <a:lnTo>
                    <a:pt x="127" y="68"/>
                  </a:lnTo>
                  <a:lnTo>
                    <a:pt x="108" y="68"/>
                  </a:lnTo>
                  <a:lnTo>
                    <a:pt x="101" y="49"/>
                  </a:lnTo>
                  <a:lnTo>
                    <a:pt x="108" y="42"/>
                  </a:lnTo>
                  <a:lnTo>
                    <a:pt x="115" y="34"/>
                  </a:lnTo>
                  <a:lnTo>
                    <a:pt x="115" y="19"/>
                  </a:lnTo>
                  <a:lnTo>
                    <a:pt x="111" y="2"/>
                  </a:lnTo>
                  <a:lnTo>
                    <a:pt x="94" y="0"/>
                  </a:lnTo>
                  <a:lnTo>
                    <a:pt x="87" y="24"/>
                  </a:lnTo>
                  <a:lnTo>
                    <a:pt x="74" y="27"/>
                  </a:lnTo>
                  <a:lnTo>
                    <a:pt x="64" y="27"/>
                  </a:lnTo>
                  <a:lnTo>
                    <a:pt x="58" y="32"/>
                  </a:lnTo>
                  <a:lnTo>
                    <a:pt x="38" y="17"/>
                  </a:lnTo>
                  <a:lnTo>
                    <a:pt x="28" y="22"/>
                  </a:lnTo>
                  <a:lnTo>
                    <a:pt x="18" y="22"/>
                  </a:lnTo>
                  <a:lnTo>
                    <a:pt x="8" y="10"/>
                  </a:lnTo>
                  <a:lnTo>
                    <a:pt x="0" y="8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l" defTabSz="9143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endParaRPr>
            </a:p>
          </p:txBody>
        </p:sp>
        <p:sp>
          <p:nvSpPr>
            <p:cNvPr id="43" name="Freeform 3651"/>
            <p:cNvSpPr>
              <a:spLocks/>
            </p:cNvSpPr>
            <p:nvPr/>
          </p:nvSpPr>
          <p:spPr bwMode="auto">
            <a:xfrm>
              <a:off x="3043551" y="3290279"/>
              <a:ext cx="376059" cy="341220"/>
            </a:xfrm>
            <a:custGeom>
              <a:avLst/>
              <a:gdLst>
                <a:gd name="T0" fmla="*/ 132 w 169"/>
                <a:gd name="T1" fmla="*/ 156 h 186"/>
                <a:gd name="T2" fmla="*/ 149 w 169"/>
                <a:gd name="T3" fmla="*/ 134 h 186"/>
                <a:gd name="T4" fmla="*/ 148 w 169"/>
                <a:gd name="T5" fmla="*/ 127 h 186"/>
                <a:gd name="T6" fmla="*/ 159 w 169"/>
                <a:gd name="T7" fmla="*/ 114 h 186"/>
                <a:gd name="T8" fmla="*/ 168 w 169"/>
                <a:gd name="T9" fmla="*/ 110 h 186"/>
                <a:gd name="T10" fmla="*/ 158 w 169"/>
                <a:gd name="T11" fmla="*/ 95 h 186"/>
                <a:gd name="T12" fmla="*/ 149 w 169"/>
                <a:gd name="T13" fmla="*/ 76 h 186"/>
                <a:gd name="T14" fmla="*/ 146 w 169"/>
                <a:gd name="T15" fmla="*/ 61 h 186"/>
                <a:gd name="T16" fmla="*/ 137 w 169"/>
                <a:gd name="T17" fmla="*/ 59 h 186"/>
                <a:gd name="T18" fmla="*/ 114 w 169"/>
                <a:gd name="T19" fmla="*/ 62 h 186"/>
                <a:gd name="T20" fmla="*/ 106 w 169"/>
                <a:gd name="T21" fmla="*/ 59 h 186"/>
                <a:gd name="T22" fmla="*/ 106 w 169"/>
                <a:gd name="T23" fmla="*/ 50 h 186"/>
                <a:gd name="T24" fmla="*/ 106 w 169"/>
                <a:gd name="T25" fmla="*/ 40 h 186"/>
                <a:gd name="T26" fmla="*/ 101 w 169"/>
                <a:gd name="T27" fmla="*/ 35 h 186"/>
                <a:gd name="T28" fmla="*/ 91 w 169"/>
                <a:gd name="T29" fmla="*/ 35 h 186"/>
                <a:gd name="T30" fmla="*/ 79 w 169"/>
                <a:gd name="T31" fmla="*/ 28 h 186"/>
                <a:gd name="T32" fmla="*/ 70 w 169"/>
                <a:gd name="T33" fmla="*/ 14 h 186"/>
                <a:gd name="T34" fmla="*/ 67 w 169"/>
                <a:gd name="T35" fmla="*/ 3 h 186"/>
                <a:gd name="T36" fmla="*/ 61 w 169"/>
                <a:gd name="T37" fmla="*/ 0 h 186"/>
                <a:gd name="T38" fmla="*/ 50 w 169"/>
                <a:gd name="T39" fmla="*/ 7 h 186"/>
                <a:gd name="T40" fmla="*/ 29 w 169"/>
                <a:gd name="T41" fmla="*/ 5 h 186"/>
                <a:gd name="T42" fmla="*/ 19 w 169"/>
                <a:gd name="T43" fmla="*/ 26 h 186"/>
                <a:gd name="T44" fmla="*/ 15 w 169"/>
                <a:gd name="T45" fmla="*/ 30 h 186"/>
                <a:gd name="T46" fmla="*/ 3 w 169"/>
                <a:gd name="T47" fmla="*/ 32 h 186"/>
                <a:gd name="T48" fmla="*/ 0 w 169"/>
                <a:gd name="T49" fmla="*/ 38 h 186"/>
                <a:gd name="T50" fmla="*/ 12 w 169"/>
                <a:gd name="T51" fmla="*/ 49 h 186"/>
                <a:gd name="T52" fmla="*/ 10 w 169"/>
                <a:gd name="T53" fmla="*/ 59 h 186"/>
                <a:gd name="T54" fmla="*/ 3 w 169"/>
                <a:gd name="T55" fmla="*/ 74 h 186"/>
                <a:gd name="T56" fmla="*/ 22 w 169"/>
                <a:gd name="T57" fmla="*/ 91 h 186"/>
                <a:gd name="T58" fmla="*/ 27 w 169"/>
                <a:gd name="T59" fmla="*/ 105 h 186"/>
                <a:gd name="T60" fmla="*/ 34 w 169"/>
                <a:gd name="T61" fmla="*/ 123 h 186"/>
                <a:gd name="T62" fmla="*/ 36 w 169"/>
                <a:gd name="T63" fmla="*/ 137 h 186"/>
                <a:gd name="T64" fmla="*/ 31 w 169"/>
                <a:gd name="T65" fmla="*/ 146 h 186"/>
                <a:gd name="T66" fmla="*/ 27 w 169"/>
                <a:gd name="T67" fmla="*/ 154 h 186"/>
                <a:gd name="T68" fmla="*/ 20 w 169"/>
                <a:gd name="T69" fmla="*/ 158 h 186"/>
                <a:gd name="T70" fmla="*/ 27 w 169"/>
                <a:gd name="T71" fmla="*/ 161 h 186"/>
                <a:gd name="T72" fmla="*/ 39 w 169"/>
                <a:gd name="T73" fmla="*/ 173 h 186"/>
                <a:gd name="T74" fmla="*/ 50 w 169"/>
                <a:gd name="T75" fmla="*/ 175 h 186"/>
                <a:gd name="T76" fmla="*/ 57 w 169"/>
                <a:gd name="T77" fmla="*/ 170 h 186"/>
                <a:gd name="T78" fmla="*/ 78 w 169"/>
                <a:gd name="T79" fmla="*/ 185 h 186"/>
                <a:gd name="T80" fmla="*/ 84 w 169"/>
                <a:gd name="T81" fmla="*/ 180 h 186"/>
                <a:gd name="T82" fmla="*/ 100 w 169"/>
                <a:gd name="T83" fmla="*/ 178 h 186"/>
                <a:gd name="T84" fmla="*/ 105 w 169"/>
                <a:gd name="T85" fmla="*/ 175 h 186"/>
                <a:gd name="T86" fmla="*/ 110 w 169"/>
                <a:gd name="T87" fmla="*/ 163 h 186"/>
                <a:gd name="T88" fmla="*/ 115 w 169"/>
                <a:gd name="T89" fmla="*/ 151 h 186"/>
                <a:gd name="T90" fmla="*/ 132 w 169"/>
                <a:gd name="T91" fmla="*/ 156 h 18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69"/>
                <a:gd name="T139" fmla="*/ 0 h 186"/>
                <a:gd name="T140" fmla="*/ 169 w 169"/>
                <a:gd name="T141" fmla="*/ 186 h 18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69" h="186">
                  <a:moveTo>
                    <a:pt x="132" y="156"/>
                  </a:moveTo>
                  <a:lnTo>
                    <a:pt x="149" y="134"/>
                  </a:lnTo>
                  <a:lnTo>
                    <a:pt x="148" y="127"/>
                  </a:lnTo>
                  <a:lnTo>
                    <a:pt x="159" y="114"/>
                  </a:lnTo>
                  <a:lnTo>
                    <a:pt x="168" y="110"/>
                  </a:lnTo>
                  <a:lnTo>
                    <a:pt x="158" y="95"/>
                  </a:lnTo>
                  <a:lnTo>
                    <a:pt x="149" y="76"/>
                  </a:lnTo>
                  <a:lnTo>
                    <a:pt x="146" y="61"/>
                  </a:lnTo>
                  <a:lnTo>
                    <a:pt x="137" y="59"/>
                  </a:lnTo>
                  <a:lnTo>
                    <a:pt x="114" y="62"/>
                  </a:lnTo>
                  <a:lnTo>
                    <a:pt x="106" y="59"/>
                  </a:lnTo>
                  <a:lnTo>
                    <a:pt x="106" y="50"/>
                  </a:lnTo>
                  <a:lnTo>
                    <a:pt x="106" y="40"/>
                  </a:lnTo>
                  <a:lnTo>
                    <a:pt x="101" y="35"/>
                  </a:lnTo>
                  <a:lnTo>
                    <a:pt x="91" y="35"/>
                  </a:lnTo>
                  <a:lnTo>
                    <a:pt x="79" y="28"/>
                  </a:lnTo>
                  <a:lnTo>
                    <a:pt x="70" y="14"/>
                  </a:lnTo>
                  <a:lnTo>
                    <a:pt x="67" y="3"/>
                  </a:lnTo>
                  <a:lnTo>
                    <a:pt x="61" y="0"/>
                  </a:lnTo>
                  <a:lnTo>
                    <a:pt x="50" y="7"/>
                  </a:lnTo>
                  <a:lnTo>
                    <a:pt x="29" y="5"/>
                  </a:lnTo>
                  <a:lnTo>
                    <a:pt x="19" y="26"/>
                  </a:lnTo>
                  <a:lnTo>
                    <a:pt x="15" y="30"/>
                  </a:lnTo>
                  <a:lnTo>
                    <a:pt x="3" y="32"/>
                  </a:lnTo>
                  <a:lnTo>
                    <a:pt x="0" y="38"/>
                  </a:lnTo>
                  <a:lnTo>
                    <a:pt x="12" y="49"/>
                  </a:lnTo>
                  <a:lnTo>
                    <a:pt x="10" y="59"/>
                  </a:lnTo>
                  <a:lnTo>
                    <a:pt x="3" y="74"/>
                  </a:lnTo>
                  <a:lnTo>
                    <a:pt x="22" y="91"/>
                  </a:lnTo>
                  <a:lnTo>
                    <a:pt x="27" y="105"/>
                  </a:lnTo>
                  <a:lnTo>
                    <a:pt x="34" y="123"/>
                  </a:lnTo>
                  <a:lnTo>
                    <a:pt x="36" y="137"/>
                  </a:lnTo>
                  <a:lnTo>
                    <a:pt x="31" y="146"/>
                  </a:lnTo>
                  <a:lnTo>
                    <a:pt x="27" y="154"/>
                  </a:lnTo>
                  <a:lnTo>
                    <a:pt x="20" y="158"/>
                  </a:lnTo>
                  <a:lnTo>
                    <a:pt x="27" y="161"/>
                  </a:lnTo>
                  <a:lnTo>
                    <a:pt x="39" y="173"/>
                  </a:lnTo>
                  <a:lnTo>
                    <a:pt x="50" y="175"/>
                  </a:lnTo>
                  <a:lnTo>
                    <a:pt x="57" y="170"/>
                  </a:lnTo>
                  <a:lnTo>
                    <a:pt x="78" y="185"/>
                  </a:lnTo>
                  <a:lnTo>
                    <a:pt x="84" y="180"/>
                  </a:lnTo>
                  <a:lnTo>
                    <a:pt x="100" y="178"/>
                  </a:lnTo>
                  <a:lnTo>
                    <a:pt x="105" y="175"/>
                  </a:lnTo>
                  <a:lnTo>
                    <a:pt x="110" y="163"/>
                  </a:lnTo>
                  <a:lnTo>
                    <a:pt x="115" y="151"/>
                  </a:lnTo>
                  <a:lnTo>
                    <a:pt x="132" y="156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l" defTabSz="9143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endParaRPr>
            </a:p>
          </p:txBody>
        </p:sp>
        <p:sp>
          <p:nvSpPr>
            <p:cNvPr id="44" name="Freeform 3752"/>
            <p:cNvSpPr>
              <a:spLocks/>
            </p:cNvSpPr>
            <p:nvPr/>
          </p:nvSpPr>
          <p:spPr bwMode="auto">
            <a:xfrm>
              <a:off x="2243811" y="4070816"/>
              <a:ext cx="830943" cy="454959"/>
            </a:xfrm>
            <a:custGeom>
              <a:avLst/>
              <a:gdLst>
                <a:gd name="T0" fmla="*/ 374 w 375"/>
                <a:gd name="T1" fmla="*/ 6 h 249"/>
                <a:gd name="T2" fmla="*/ 354 w 375"/>
                <a:gd name="T3" fmla="*/ 47 h 249"/>
                <a:gd name="T4" fmla="*/ 333 w 375"/>
                <a:gd name="T5" fmla="*/ 87 h 249"/>
                <a:gd name="T6" fmla="*/ 330 w 375"/>
                <a:gd name="T7" fmla="*/ 110 h 249"/>
                <a:gd name="T8" fmla="*/ 313 w 375"/>
                <a:gd name="T9" fmla="*/ 135 h 249"/>
                <a:gd name="T10" fmla="*/ 325 w 375"/>
                <a:gd name="T11" fmla="*/ 159 h 249"/>
                <a:gd name="T12" fmla="*/ 332 w 375"/>
                <a:gd name="T13" fmla="*/ 181 h 249"/>
                <a:gd name="T14" fmla="*/ 337 w 375"/>
                <a:gd name="T15" fmla="*/ 195 h 249"/>
                <a:gd name="T16" fmla="*/ 316 w 375"/>
                <a:gd name="T17" fmla="*/ 222 h 249"/>
                <a:gd name="T18" fmla="*/ 315 w 375"/>
                <a:gd name="T19" fmla="*/ 242 h 249"/>
                <a:gd name="T20" fmla="*/ 301 w 375"/>
                <a:gd name="T21" fmla="*/ 248 h 249"/>
                <a:gd name="T22" fmla="*/ 287 w 375"/>
                <a:gd name="T23" fmla="*/ 236 h 249"/>
                <a:gd name="T24" fmla="*/ 262 w 375"/>
                <a:gd name="T25" fmla="*/ 232 h 249"/>
                <a:gd name="T26" fmla="*/ 250 w 375"/>
                <a:gd name="T27" fmla="*/ 227 h 249"/>
                <a:gd name="T28" fmla="*/ 236 w 375"/>
                <a:gd name="T29" fmla="*/ 220 h 249"/>
                <a:gd name="T30" fmla="*/ 231 w 375"/>
                <a:gd name="T31" fmla="*/ 208 h 249"/>
                <a:gd name="T32" fmla="*/ 222 w 375"/>
                <a:gd name="T33" fmla="*/ 193 h 249"/>
                <a:gd name="T34" fmla="*/ 194 w 375"/>
                <a:gd name="T35" fmla="*/ 169 h 249"/>
                <a:gd name="T36" fmla="*/ 170 w 375"/>
                <a:gd name="T37" fmla="*/ 169 h 249"/>
                <a:gd name="T38" fmla="*/ 148 w 375"/>
                <a:gd name="T39" fmla="*/ 157 h 249"/>
                <a:gd name="T40" fmla="*/ 131 w 375"/>
                <a:gd name="T41" fmla="*/ 147 h 249"/>
                <a:gd name="T42" fmla="*/ 111 w 375"/>
                <a:gd name="T43" fmla="*/ 145 h 249"/>
                <a:gd name="T44" fmla="*/ 97 w 375"/>
                <a:gd name="T45" fmla="*/ 130 h 249"/>
                <a:gd name="T46" fmla="*/ 89 w 375"/>
                <a:gd name="T47" fmla="*/ 123 h 249"/>
                <a:gd name="T48" fmla="*/ 73 w 375"/>
                <a:gd name="T49" fmla="*/ 110 h 249"/>
                <a:gd name="T50" fmla="*/ 58 w 375"/>
                <a:gd name="T51" fmla="*/ 97 h 249"/>
                <a:gd name="T52" fmla="*/ 48 w 375"/>
                <a:gd name="T53" fmla="*/ 95 h 249"/>
                <a:gd name="T54" fmla="*/ 30 w 375"/>
                <a:gd name="T55" fmla="*/ 99 h 249"/>
                <a:gd name="T56" fmla="*/ 24 w 375"/>
                <a:gd name="T57" fmla="*/ 87 h 249"/>
                <a:gd name="T58" fmla="*/ 12 w 375"/>
                <a:gd name="T59" fmla="*/ 81 h 249"/>
                <a:gd name="T60" fmla="*/ 12 w 375"/>
                <a:gd name="T61" fmla="*/ 75 h 249"/>
                <a:gd name="T62" fmla="*/ 0 w 375"/>
                <a:gd name="T63" fmla="*/ 59 h 249"/>
                <a:gd name="T64" fmla="*/ 8 w 375"/>
                <a:gd name="T65" fmla="*/ 49 h 249"/>
                <a:gd name="T66" fmla="*/ 3 w 375"/>
                <a:gd name="T67" fmla="*/ 39 h 249"/>
                <a:gd name="T68" fmla="*/ 10 w 375"/>
                <a:gd name="T69" fmla="*/ 25 h 249"/>
                <a:gd name="T70" fmla="*/ 42 w 375"/>
                <a:gd name="T71" fmla="*/ 10 h 249"/>
                <a:gd name="T72" fmla="*/ 59 w 375"/>
                <a:gd name="T73" fmla="*/ 22 h 249"/>
                <a:gd name="T74" fmla="*/ 72 w 375"/>
                <a:gd name="T75" fmla="*/ 6 h 249"/>
                <a:gd name="T76" fmla="*/ 114 w 375"/>
                <a:gd name="T77" fmla="*/ 13 h 249"/>
                <a:gd name="T78" fmla="*/ 131 w 375"/>
                <a:gd name="T79" fmla="*/ 27 h 249"/>
                <a:gd name="T80" fmla="*/ 142 w 375"/>
                <a:gd name="T81" fmla="*/ 27 h 249"/>
                <a:gd name="T82" fmla="*/ 167 w 375"/>
                <a:gd name="T83" fmla="*/ 39 h 249"/>
                <a:gd name="T84" fmla="*/ 189 w 375"/>
                <a:gd name="T85" fmla="*/ 29 h 249"/>
                <a:gd name="T86" fmla="*/ 212 w 375"/>
                <a:gd name="T87" fmla="*/ 36 h 249"/>
                <a:gd name="T88" fmla="*/ 232 w 375"/>
                <a:gd name="T89" fmla="*/ 34 h 249"/>
                <a:gd name="T90" fmla="*/ 255 w 375"/>
                <a:gd name="T91" fmla="*/ 32 h 249"/>
                <a:gd name="T92" fmla="*/ 277 w 375"/>
                <a:gd name="T93" fmla="*/ 20 h 249"/>
                <a:gd name="T94" fmla="*/ 302 w 375"/>
                <a:gd name="T95" fmla="*/ 15 h 249"/>
                <a:gd name="T96" fmla="*/ 325 w 375"/>
                <a:gd name="T97" fmla="*/ 15 h 249"/>
                <a:gd name="T98" fmla="*/ 340 w 375"/>
                <a:gd name="T99" fmla="*/ 3 h 249"/>
                <a:gd name="T100" fmla="*/ 361 w 375"/>
                <a:gd name="T101" fmla="*/ 5 h 24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75"/>
                <a:gd name="T154" fmla="*/ 0 h 249"/>
                <a:gd name="T155" fmla="*/ 375 w 375"/>
                <a:gd name="T156" fmla="*/ 249 h 24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75" h="249">
                  <a:moveTo>
                    <a:pt x="371" y="0"/>
                  </a:moveTo>
                  <a:lnTo>
                    <a:pt x="374" y="6"/>
                  </a:lnTo>
                  <a:lnTo>
                    <a:pt x="361" y="29"/>
                  </a:lnTo>
                  <a:lnTo>
                    <a:pt x="354" y="47"/>
                  </a:lnTo>
                  <a:lnTo>
                    <a:pt x="344" y="66"/>
                  </a:lnTo>
                  <a:lnTo>
                    <a:pt x="333" y="87"/>
                  </a:lnTo>
                  <a:lnTo>
                    <a:pt x="327" y="93"/>
                  </a:lnTo>
                  <a:lnTo>
                    <a:pt x="330" y="110"/>
                  </a:lnTo>
                  <a:lnTo>
                    <a:pt x="310" y="123"/>
                  </a:lnTo>
                  <a:lnTo>
                    <a:pt x="313" y="135"/>
                  </a:lnTo>
                  <a:lnTo>
                    <a:pt x="313" y="149"/>
                  </a:lnTo>
                  <a:lnTo>
                    <a:pt x="325" y="159"/>
                  </a:lnTo>
                  <a:lnTo>
                    <a:pt x="323" y="168"/>
                  </a:lnTo>
                  <a:lnTo>
                    <a:pt x="332" y="181"/>
                  </a:lnTo>
                  <a:lnTo>
                    <a:pt x="337" y="185"/>
                  </a:lnTo>
                  <a:lnTo>
                    <a:pt x="337" y="195"/>
                  </a:lnTo>
                  <a:lnTo>
                    <a:pt x="318" y="213"/>
                  </a:lnTo>
                  <a:lnTo>
                    <a:pt x="316" y="222"/>
                  </a:lnTo>
                  <a:lnTo>
                    <a:pt x="318" y="232"/>
                  </a:lnTo>
                  <a:lnTo>
                    <a:pt x="315" y="242"/>
                  </a:lnTo>
                  <a:lnTo>
                    <a:pt x="306" y="248"/>
                  </a:lnTo>
                  <a:lnTo>
                    <a:pt x="301" y="248"/>
                  </a:lnTo>
                  <a:lnTo>
                    <a:pt x="292" y="241"/>
                  </a:lnTo>
                  <a:lnTo>
                    <a:pt x="287" y="236"/>
                  </a:lnTo>
                  <a:lnTo>
                    <a:pt x="277" y="236"/>
                  </a:lnTo>
                  <a:lnTo>
                    <a:pt x="262" y="232"/>
                  </a:lnTo>
                  <a:lnTo>
                    <a:pt x="257" y="234"/>
                  </a:lnTo>
                  <a:lnTo>
                    <a:pt x="250" y="227"/>
                  </a:lnTo>
                  <a:lnTo>
                    <a:pt x="243" y="220"/>
                  </a:lnTo>
                  <a:lnTo>
                    <a:pt x="236" y="220"/>
                  </a:lnTo>
                  <a:lnTo>
                    <a:pt x="231" y="217"/>
                  </a:lnTo>
                  <a:lnTo>
                    <a:pt x="231" y="208"/>
                  </a:lnTo>
                  <a:lnTo>
                    <a:pt x="228" y="198"/>
                  </a:lnTo>
                  <a:lnTo>
                    <a:pt x="222" y="193"/>
                  </a:lnTo>
                  <a:lnTo>
                    <a:pt x="212" y="183"/>
                  </a:lnTo>
                  <a:lnTo>
                    <a:pt x="194" y="169"/>
                  </a:lnTo>
                  <a:lnTo>
                    <a:pt x="182" y="169"/>
                  </a:lnTo>
                  <a:lnTo>
                    <a:pt x="170" y="169"/>
                  </a:lnTo>
                  <a:lnTo>
                    <a:pt x="162" y="162"/>
                  </a:lnTo>
                  <a:lnTo>
                    <a:pt x="148" y="157"/>
                  </a:lnTo>
                  <a:lnTo>
                    <a:pt x="143" y="152"/>
                  </a:lnTo>
                  <a:lnTo>
                    <a:pt x="131" y="147"/>
                  </a:lnTo>
                  <a:lnTo>
                    <a:pt x="118" y="145"/>
                  </a:lnTo>
                  <a:lnTo>
                    <a:pt x="111" y="145"/>
                  </a:lnTo>
                  <a:lnTo>
                    <a:pt x="100" y="134"/>
                  </a:lnTo>
                  <a:lnTo>
                    <a:pt x="97" y="130"/>
                  </a:lnTo>
                  <a:lnTo>
                    <a:pt x="90" y="128"/>
                  </a:lnTo>
                  <a:lnTo>
                    <a:pt x="89" y="123"/>
                  </a:lnTo>
                  <a:lnTo>
                    <a:pt x="82" y="110"/>
                  </a:lnTo>
                  <a:lnTo>
                    <a:pt x="73" y="110"/>
                  </a:lnTo>
                  <a:lnTo>
                    <a:pt x="65" y="107"/>
                  </a:lnTo>
                  <a:lnTo>
                    <a:pt x="58" y="97"/>
                  </a:lnTo>
                  <a:lnTo>
                    <a:pt x="56" y="95"/>
                  </a:lnTo>
                  <a:lnTo>
                    <a:pt x="48" y="95"/>
                  </a:lnTo>
                  <a:lnTo>
                    <a:pt x="39" y="99"/>
                  </a:lnTo>
                  <a:lnTo>
                    <a:pt x="30" y="99"/>
                  </a:lnTo>
                  <a:lnTo>
                    <a:pt x="24" y="93"/>
                  </a:lnTo>
                  <a:lnTo>
                    <a:pt x="24" y="87"/>
                  </a:lnTo>
                  <a:lnTo>
                    <a:pt x="20" y="80"/>
                  </a:lnTo>
                  <a:lnTo>
                    <a:pt x="12" y="81"/>
                  </a:lnTo>
                  <a:lnTo>
                    <a:pt x="8" y="78"/>
                  </a:lnTo>
                  <a:lnTo>
                    <a:pt x="12" y="75"/>
                  </a:lnTo>
                  <a:lnTo>
                    <a:pt x="0" y="66"/>
                  </a:lnTo>
                  <a:lnTo>
                    <a:pt x="0" y="59"/>
                  </a:lnTo>
                  <a:lnTo>
                    <a:pt x="3" y="54"/>
                  </a:lnTo>
                  <a:lnTo>
                    <a:pt x="8" y="49"/>
                  </a:lnTo>
                  <a:lnTo>
                    <a:pt x="8" y="44"/>
                  </a:lnTo>
                  <a:lnTo>
                    <a:pt x="3" y="39"/>
                  </a:lnTo>
                  <a:lnTo>
                    <a:pt x="5" y="32"/>
                  </a:lnTo>
                  <a:lnTo>
                    <a:pt x="10" y="25"/>
                  </a:lnTo>
                  <a:lnTo>
                    <a:pt x="32" y="8"/>
                  </a:lnTo>
                  <a:lnTo>
                    <a:pt x="42" y="10"/>
                  </a:lnTo>
                  <a:lnTo>
                    <a:pt x="46" y="15"/>
                  </a:lnTo>
                  <a:lnTo>
                    <a:pt x="59" y="22"/>
                  </a:lnTo>
                  <a:lnTo>
                    <a:pt x="66" y="15"/>
                  </a:lnTo>
                  <a:lnTo>
                    <a:pt x="72" y="6"/>
                  </a:lnTo>
                  <a:lnTo>
                    <a:pt x="112" y="6"/>
                  </a:lnTo>
                  <a:lnTo>
                    <a:pt x="114" y="13"/>
                  </a:lnTo>
                  <a:lnTo>
                    <a:pt x="128" y="20"/>
                  </a:lnTo>
                  <a:lnTo>
                    <a:pt x="131" y="27"/>
                  </a:lnTo>
                  <a:lnTo>
                    <a:pt x="136" y="30"/>
                  </a:lnTo>
                  <a:lnTo>
                    <a:pt x="142" y="27"/>
                  </a:lnTo>
                  <a:lnTo>
                    <a:pt x="159" y="36"/>
                  </a:lnTo>
                  <a:lnTo>
                    <a:pt x="167" y="39"/>
                  </a:lnTo>
                  <a:lnTo>
                    <a:pt x="177" y="36"/>
                  </a:lnTo>
                  <a:lnTo>
                    <a:pt x="189" y="29"/>
                  </a:lnTo>
                  <a:lnTo>
                    <a:pt x="200" y="29"/>
                  </a:lnTo>
                  <a:lnTo>
                    <a:pt x="212" y="36"/>
                  </a:lnTo>
                  <a:lnTo>
                    <a:pt x="219" y="37"/>
                  </a:lnTo>
                  <a:lnTo>
                    <a:pt x="232" y="34"/>
                  </a:lnTo>
                  <a:lnTo>
                    <a:pt x="246" y="36"/>
                  </a:lnTo>
                  <a:lnTo>
                    <a:pt x="255" y="32"/>
                  </a:lnTo>
                  <a:lnTo>
                    <a:pt x="265" y="29"/>
                  </a:lnTo>
                  <a:lnTo>
                    <a:pt x="277" y="20"/>
                  </a:lnTo>
                  <a:lnTo>
                    <a:pt x="287" y="17"/>
                  </a:lnTo>
                  <a:lnTo>
                    <a:pt x="302" y="15"/>
                  </a:lnTo>
                  <a:lnTo>
                    <a:pt x="315" y="17"/>
                  </a:lnTo>
                  <a:lnTo>
                    <a:pt x="325" y="15"/>
                  </a:lnTo>
                  <a:lnTo>
                    <a:pt x="335" y="5"/>
                  </a:lnTo>
                  <a:lnTo>
                    <a:pt x="340" y="3"/>
                  </a:lnTo>
                  <a:lnTo>
                    <a:pt x="347" y="5"/>
                  </a:lnTo>
                  <a:lnTo>
                    <a:pt x="361" y="5"/>
                  </a:lnTo>
                  <a:lnTo>
                    <a:pt x="371" y="0"/>
                  </a:lnTo>
                </a:path>
              </a:pathLst>
            </a:custGeom>
            <a:solidFill>
              <a:srgbClr val="3397A5"/>
            </a:solidFill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140519" tIns="70257" rIns="140519" bIns="70257" anchor="ctr"/>
            <a:lstStyle/>
            <a:p>
              <a:pPr marL="0" marR="0" lvl="0" indent="0" algn="l" defTabSz="9143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endParaRPr>
            </a:p>
          </p:txBody>
        </p:sp>
        <p:sp>
          <p:nvSpPr>
            <p:cNvPr id="45" name="Freeform 3853"/>
            <p:cNvSpPr>
              <a:spLocks/>
            </p:cNvSpPr>
            <p:nvPr/>
          </p:nvSpPr>
          <p:spPr bwMode="auto">
            <a:xfrm>
              <a:off x="2933525" y="3069908"/>
              <a:ext cx="890063" cy="599977"/>
            </a:xfrm>
            <a:custGeom>
              <a:avLst/>
              <a:gdLst>
                <a:gd name="T0" fmla="*/ 27 w 402"/>
                <a:gd name="T1" fmla="*/ 25 h 328"/>
                <a:gd name="T2" fmla="*/ 20 w 402"/>
                <a:gd name="T3" fmla="*/ 51 h 328"/>
                <a:gd name="T4" fmla="*/ 3 w 402"/>
                <a:gd name="T5" fmla="*/ 50 h 328"/>
                <a:gd name="T6" fmla="*/ 3 w 402"/>
                <a:gd name="T7" fmla="*/ 63 h 328"/>
                <a:gd name="T8" fmla="*/ 14 w 402"/>
                <a:gd name="T9" fmla="*/ 68 h 328"/>
                <a:gd name="T10" fmla="*/ 31 w 402"/>
                <a:gd name="T11" fmla="*/ 99 h 328"/>
                <a:gd name="T12" fmla="*/ 46 w 402"/>
                <a:gd name="T13" fmla="*/ 94 h 328"/>
                <a:gd name="T14" fmla="*/ 51 w 402"/>
                <a:gd name="T15" fmla="*/ 114 h 328"/>
                <a:gd name="T16" fmla="*/ 68 w 402"/>
                <a:gd name="T17" fmla="*/ 124 h 328"/>
                <a:gd name="T18" fmla="*/ 80 w 402"/>
                <a:gd name="T19" fmla="*/ 128 h 328"/>
                <a:gd name="T20" fmla="*/ 95 w 402"/>
                <a:gd name="T21" fmla="*/ 128 h 328"/>
                <a:gd name="T22" fmla="*/ 112 w 402"/>
                <a:gd name="T23" fmla="*/ 121 h 328"/>
                <a:gd name="T24" fmla="*/ 122 w 402"/>
                <a:gd name="T25" fmla="*/ 137 h 328"/>
                <a:gd name="T26" fmla="*/ 139 w 402"/>
                <a:gd name="T27" fmla="*/ 154 h 328"/>
                <a:gd name="T28" fmla="*/ 154 w 402"/>
                <a:gd name="T29" fmla="*/ 159 h 328"/>
                <a:gd name="T30" fmla="*/ 157 w 402"/>
                <a:gd name="T31" fmla="*/ 178 h 328"/>
                <a:gd name="T32" fmla="*/ 170 w 402"/>
                <a:gd name="T33" fmla="*/ 182 h 328"/>
                <a:gd name="T34" fmla="*/ 188 w 402"/>
                <a:gd name="T35" fmla="*/ 178 h 328"/>
                <a:gd name="T36" fmla="*/ 199 w 402"/>
                <a:gd name="T37" fmla="*/ 193 h 328"/>
                <a:gd name="T38" fmla="*/ 209 w 402"/>
                <a:gd name="T39" fmla="*/ 216 h 328"/>
                <a:gd name="T40" fmla="*/ 216 w 402"/>
                <a:gd name="T41" fmla="*/ 228 h 328"/>
                <a:gd name="T42" fmla="*/ 227 w 402"/>
                <a:gd name="T43" fmla="*/ 235 h 328"/>
                <a:gd name="T44" fmla="*/ 267 w 402"/>
                <a:gd name="T45" fmla="*/ 242 h 328"/>
                <a:gd name="T46" fmla="*/ 296 w 402"/>
                <a:gd name="T47" fmla="*/ 255 h 328"/>
                <a:gd name="T48" fmla="*/ 329 w 402"/>
                <a:gd name="T49" fmla="*/ 257 h 328"/>
                <a:gd name="T50" fmla="*/ 339 w 402"/>
                <a:gd name="T51" fmla="*/ 274 h 328"/>
                <a:gd name="T52" fmla="*/ 344 w 402"/>
                <a:gd name="T53" fmla="*/ 303 h 328"/>
                <a:gd name="T54" fmla="*/ 353 w 402"/>
                <a:gd name="T55" fmla="*/ 313 h 328"/>
                <a:gd name="T56" fmla="*/ 375 w 402"/>
                <a:gd name="T57" fmla="*/ 327 h 328"/>
                <a:gd name="T58" fmla="*/ 387 w 402"/>
                <a:gd name="T59" fmla="*/ 308 h 328"/>
                <a:gd name="T60" fmla="*/ 401 w 402"/>
                <a:gd name="T61" fmla="*/ 276 h 328"/>
                <a:gd name="T62" fmla="*/ 392 w 402"/>
                <a:gd name="T63" fmla="*/ 253 h 328"/>
                <a:gd name="T64" fmla="*/ 380 w 402"/>
                <a:gd name="T65" fmla="*/ 245 h 328"/>
                <a:gd name="T66" fmla="*/ 331 w 402"/>
                <a:gd name="T67" fmla="*/ 183 h 328"/>
                <a:gd name="T68" fmla="*/ 296 w 402"/>
                <a:gd name="T69" fmla="*/ 172 h 328"/>
                <a:gd name="T70" fmla="*/ 265 w 402"/>
                <a:gd name="T71" fmla="*/ 156 h 328"/>
                <a:gd name="T72" fmla="*/ 255 w 402"/>
                <a:gd name="T73" fmla="*/ 139 h 328"/>
                <a:gd name="T74" fmla="*/ 231 w 402"/>
                <a:gd name="T75" fmla="*/ 136 h 328"/>
                <a:gd name="T76" fmla="*/ 180 w 402"/>
                <a:gd name="T77" fmla="*/ 111 h 328"/>
                <a:gd name="T78" fmla="*/ 146 w 402"/>
                <a:gd name="T79" fmla="*/ 90 h 328"/>
                <a:gd name="T80" fmla="*/ 117 w 402"/>
                <a:gd name="T81" fmla="*/ 65 h 328"/>
                <a:gd name="T82" fmla="*/ 129 w 402"/>
                <a:gd name="T83" fmla="*/ 55 h 328"/>
                <a:gd name="T84" fmla="*/ 139 w 402"/>
                <a:gd name="T85" fmla="*/ 37 h 328"/>
                <a:gd name="T86" fmla="*/ 153 w 402"/>
                <a:gd name="T87" fmla="*/ 22 h 328"/>
                <a:gd name="T88" fmla="*/ 139 w 402"/>
                <a:gd name="T89" fmla="*/ 7 h 328"/>
                <a:gd name="T90" fmla="*/ 122 w 402"/>
                <a:gd name="T91" fmla="*/ 0 h 328"/>
                <a:gd name="T92" fmla="*/ 105 w 402"/>
                <a:gd name="T93" fmla="*/ 7 h 328"/>
                <a:gd name="T94" fmla="*/ 71 w 402"/>
                <a:gd name="T95" fmla="*/ 3 h 328"/>
                <a:gd name="T96" fmla="*/ 50 w 402"/>
                <a:gd name="T97" fmla="*/ 0 h 328"/>
                <a:gd name="T98" fmla="*/ 24 w 402"/>
                <a:gd name="T99" fmla="*/ 10 h 32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402"/>
                <a:gd name="T151" fmla="*/ 0 h 328"/>
                <a:gd name="T152" fmla="*/ 402 w 402"/>
                <a:gd name="T153" fmla="*/ 328 h 32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402" h="328">
                  <a:moveTo>
                    <a:pt x="24" y="10"/>
                  </a:moveTo>
                  <a:lnTo>
                    <a:pt x="27" y="25"/>
                  </a:lnTo>
                  <a:lnTo>
                    <a:pt x="27" y="41"/>
                  </a:lnTo>
                  <a:lnTo>
                    <a:pt x="20" y="51"/>
                  </a:lnTo>
                  <a:lnTo>
                    <a:pt x="14" y="50"/>
                  </a:lnTo>
                  <a:lnTo>
                    <a:pt x="3" y="50"/>
                  </a:lnTo>
                  <a:lnTo>
                    <a:pt x="0" y="58"/>
                  </a:lnTo>
                  <a:lnTo>
                    <a:pt x="3" y="63"/>
                  </a:lnTo>
                  <a:lnTo>
                    <a:pt x="10" y="63"/>
                  </a:lnTo>
                  <a:lnTo>
                    <a:pt x="14" y="68"/>
                  </a:lnTo>
                  <a:lnTo>
                    <a:pt x="14" y="78"/>
                  </a:lnTo>
                  <a:lnTo>
                    <a:pt x="31" y="99"/>
                  </a:lnTo>
                  <a:lnTo>
                    <a:pt x="37" y="95"/>
                  </a:lnTo>
                  <a:lnTo>
                    <a:pt x="46" y="94"/>
                  </a:lnTo>
                  <a:lnTo>
                    <a:pt x="53" y="97"/>
                  </a:lnTo>
                  <a:lnTo>
                    <a:pt x="51" y="114"/>
                  </a:lnTo>
                  <a:lnTo>
                    <a:pt x="60" y="121"/>
                  </a:lnTo>
                  <a:lnTo>
                    <a:pt x="68" y="124"/>
                  </a:lnTo>
                  <a:lnTo>
                    <a:pt x="73" y="121"/>
                  </a:lnTo>
                  <a:lnTo>
                    <a:pt x="80" y="128"/>
                  </a:lnTo>
                  <a:lnTo>
                    <a:pt x="88" y="126"/>
                  </a:lnTo>
                  <a:lnTo>
                    <a:pt x="95" y="128"/>
                  </a:lnTo>
                  <a:lnTo>
                    <a:pt x="101" y="128"/>
                  </a:lnTo>
                  <a:lnTo>
                    <a:pt x="112" y="121"/>
                  </a:lnTo>
                  <a:lnTo>
                    <a:pt x="118" y="124"/>
                  </a:lnTo>
                  <a:lnTo>
                    <a:pt x="122" y="137"/>
                  </a:lnTo>
                  <a:lnTo>
                    <a:pt x="132" y="153"/>
                  </a:lnTo>
                  <a:lnTo>
                    <a:pt x="139" y="154"/>
                  </a:lnTo>
                  <a:lnTo>
                    <a:pt x="151" y="156"/>
                  </a:lnTo>
                  <a:lnTo>
                    <a:pt x="154" y="159"/>
                  </a:lnTo>
                  <a:lnTo>
                    <a:pt x="157" y="172"/>
                  </a:lnTo>
                  <a:lnTo>
                    <a:pt x="157" y="178"/>
                  </a:lnTo>
                  <a:lnTo>
                    <a:pt x="161" y="183"/>
                  </a:lnTo>
                  <a:lnTo>
                    <a:pt x="170" y="182"/>
                  </a:lnTo>
                  <a:lnTo>
                    <a:pt x="180" y="180"/>
                  </a:lnTo>
                  <a:lnTo>
                    <a:pt x="188" y="178"/>
                  </a:lnTo>
                  <a:lnTo>
                    <a:pt x="197" y="182"/>
                  </a:lnTo>
                  <a:lnTo>
                    <a:pt x="199" y="193"/>
                  </a:lnTo>
                  <a:lnTo>
                    <a:pt x="204" y="206"/>
                  </a:lnTo>
                  <a:lnTo>
                    <a:pt x="209" y="216"/>
                  </a:lnTo>
                  <a:lnTo>
                    <a:pt x="212" y="221"/>
                  </a:lnTo>
                  <a:lnTo>
                    <a:pt x="216" y="228"/>
                  </a:lnTo>
                  <a:lnTo>
                    <a:pt x="219" y="231"/>
                  </a:lnTo>
                  <a:lnTo>
                    <a:pt x="227" y="235"/>
                  </a:lnTo>
                  <a:lnTo>
                    <a:pt x="252" y="233"/>
                  </a:lnTo>
                  <a:lnTo>
                    <a:pt x="267" y="242"/>
                  </a:lnTo>
                  <a:lnTo>
                    <a:pt x="286" y="253"/>
                  </a:lnTo>
                  <a:lnTo>
                    <a:pt x="296" y="255"/>
                  </a:lnTo>
                  <a:lnTo>
                    <a:pt x="315" y="253"/>
                  </a:lnTo>
                  <a:lnTo>
                    <a:pt x="329" y="257"/>
                  </a:lnTo>
                  <a:lnTo>
                    <a:pt x="336" y="265"/>
                  </a:lnTo>
                  <a:lnTo>
                    <a:pt x="339" y="274"/>
                  </a:lnTo>
                  <a:lnTo>
                    <a:pt x="346" y="288"/>
                  </a:lnTo>
                  <a:lnTo>
                    <a:pt x="344" y="303"/>
                  </a:lnTo>
                  <a:lnTo>
                    <a:pt x="344" y="310"/>
                  </a:lnTo>
                  <a:lnTo>
                    <a:pt x="353" y="313"/>
                  </a:lnTo>
                  <a:lnTo>
                    <a:pt x="365" y="323"/>
                  </a:lnTo>
                  <a:lnTo>
                    <a:pt x="375" y="327"/>
                  </a:lnTo>
                  <a:lnTo>
                    <a:pt x="389" y="323"/>
                  </a:lnTo>
                  <a:lnTo>
                    <a:pt x="387" y="308"/>
                  </a:lnTo>
                  <a:lnTo>
                    <a:pt x="392" y="282"/>
                  </a:lnTo>
                  <a:lnTo>
                    <a:pt x="401" y="276"/>
                  </a:lnTo>
                  <a:lnTo>
                    <a:pt x="399" y="262"/>
                  </a:lnTo>
                  <a:lnTo>
                    <a:pt x="392" y="253"/>
                  </a:lnTo>
                  <a:lnTo>
                    <a:pt x="385" y="252"/>
                  </a:lnTo>
                  <a:lnTo>
                    <a:pt x="380" y="245"/>
                  </a:lnTo>
                  <a:lnTo>
                    <a:pt x="380" y="236"/>
                  </a:lnTo>
                  <a:lnTo>
                    <a:pt x="331" y="183"/>
                  </a:lnTo>
                  <a:lnTo>
                    <a:pt x="317" y="183"/>
                  </a:lnTo>
                  <a:lnTo>
                    <a:pt x="296" y="172"/>
                  </a:lnTo>
                  <a:lnTo>
                    <a:pt x="272" y="161"/>
                  </a:lnTo>
                  <a:lnTo>
                    <a:pt x="265" y="156"/>
                  </a:lnTo>
                  <a:lnTo>
                    <a:pt x="263" y="146"/>
                  </a:lnTo>
                  <a:lnTo>
                    <a:pt x="255" y="139"/>
                  </a:lnTo>
                  <a:lnTo>
                    <a:pt x="243" y="141"/>
                  </a:lnTo>
                  <a:lnTo>
                    <a:pt x="231" y="136"/>
                  </a:lnTo>
                  <a:lnTo>
                    <a:pt x="205" y="121"/>
                  </a:lnTo>
                  <a:lnTo>
                    <a:pt x="180" y="111"/>
                  </a:lnTo>
                  <a:lnTo>
                    <a:pt x="161" y="99"/>
                  </a:lnTo>
                  <a:lnTo>
                    <a:pt x="146" y="90"/>
                  </a:lnTo>
                  <a:lnTo>
                    <a:pt x="130" y="82"/>
                  </a:lnTo>
                  <a:lnTo>
                    <a:pt x="117" y="65"/>
                  </a:lnTo>
                  <a:lnTo>
                    <a:pt x="115" y="55"/>
                  </a:lnTo>
                  <a:lnTo>
                    <a:pt x="129" y="55"/>
                  </a:lnTo>
                  <a:lnTo>
                    <a:pt x="139" y="48"/>
                  </a:lnTo>
                  <a:lnTo>
                    <a:pt x="139" y="37"/>
                  </a:lnTo>
                  <a:lnTo>
                    <a:pt x="146" y="33"/>
                  </a:lnTo>
                  <a:lnTo>
                    <a:pt x="153" y="22"/>
                  </a:lnTo>
                  <a:lnTo>
                    <a:pt x="149" y="14"/>
                  </a:lnTo>
                  <a:lnTo>
                    <a:pt x="139" y="7"/>
                  </a:lnTo>
                  <a:lnTo>
                    <a:pt x="130" y="3"/>
                  </a:lnTo>
                  <a:lnTo>
                    <a:pt x="122" y="0"/>
                  </a:lnTo>
                  <a:lnTo>
                    <a:pt x="112" y="5"/>
                  </a:lnTo>
                  <a:lnTo>
                    <a:pt x="105" y="7"/>
                  </a:lnTo>
                  <a:lnTo>
                    <a:pt x="88" y="3"/>
                  </a:lnTo>
                  <a:lnTo>
                    <a:pt x="71" y="3"/>
                  </a:lnTo>
                  <a:lnTo>
                    <a:pt x="60" y="7"/>
                  </a:lnTo>
                  <a:lnTo>
                    <a:pt x="50" y="0"/>
                  </a:lnTo>
                  <a:lnTo>
                    <a:pt x="43" y="0"/>
                  </a:lnTo>
                  <a:lnTo>
                    <a:pt x="24" y="10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l" defTabSz="9143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endParaRPr>
            </a:p>
          </p:txBody>
        </p:sp>
        <p:sp>
          <p:nvSpPr>
            <p:cNvPr id="46" name="Freeform 3954"/>
            <p:cNvSpPr>
              <a:spLocks/>
            </p:cNvSpPr>
            <p:nvPr/>
          </p:nvSpPr>
          <p:spPr bwMode="auto">
            <a:xfrm>
              <a:off x="2651069" y="3179383"/>
              <a:ext cx="474590" cy="416573"/>
            </a:xfrm>
            <a:custGeom>
              <a:avLst/>
              <a:gdLst>
                <a:gd name="T0" fmla="*/ 115 w 214"/>
                <a:gd name="T1" fmla="*/ 0 h 227"/>
                <a:gd name="T2" fmla="*/ 98 w 214"/>
                <a:gd name="T3" fmla="*/ 13 h 227"/>
                <a:gd name="T4" fmla="*/ 78 w 214"/>
                <a:gd name="T5" fmla="*/ 3 h 227"/>
                <a:gd name="T6" fmla="*/ 56 w 214"/>
                <a:gd name="T7" fmla="*/ 5 h 227"/>
                <a:gd name="T8" fmla="*/ 38 w 214"/>
                <a:gd name="T9" fmla="*/ 11 h 227"/>
                <a:gd name="T10" fmla="*/ 27 w 214"/>
                <a:gd name="T11" fmla="*/ 5 h 227"/>
                <a:gd name="T12" fmla="*/ 14 w 214"/>
                <a:gd name="T13" fmla="*/ 10 h 227"/>
                <a:gd name="T14" fmla="*/ 14 w 214"/>
                <a:gd name="T15" fmla="*/ 27 h 227"/>
                <a:gd name="T16" fmla="*/ 0 w 214"/>
                <a:gd name="T17" fmla="*/ 45 h 227"/>
                <a:gd name="T18" fmla="*/ 8 w 214"/>
                <a:gd name="T19" fmla="*/ 77 h 227"/>
                <a:gd name="T20" fmla="*/ 18 w 214"/>
                <a:gd name="T21" fmla="*/ 94 h 227"/>
                <a:gd name="T22" fmla="*/ 4 w 214"/>
                <a:gd name="T23" fmla="*/ 105 h 227"/>
                <a:gd name="T24" fmla="*/ 14 w 214"/>
                <a:gd name="T25" fmla="*/ 120 h 227"/>
                <a:gd name="T26" fmla="*/ 33 w 214"/>
                <a:gd name="T27" fmla="*/ 110 h 227"/>
                <a:gd name="T28" fmla="*/ 59 w 214"/>
                <a:gd name="T29" fmla="*/ 114 h 227"/>
                <a:gd name="T30" fmla="*/ 52 w 214"/>
                <a:gd name="T31" fmla="*/ 132 h 227"/>
                <a:gd name="T32" fmla="*/ 62 w 214"/>
                <a:gd name="T33" fmla="*/ 145 h 227"/>
                <a:gd name="T34" fmla="*/ 71 w 214"/>
                <a:gd name="T35" fmla="*/ 133 h 227"/>
                <a:gd name="T36" fmla="*/ 95 w 214"/>
                <a:gd name="T37" fmla="*/ 137 h 227"/>
                <a:gd name="T38" fmla="*/ 114 w 214"/>
                <a:gd name="T39" fmla="*/ 156 h 227"/>
                <a:gd name="T40" fmla="*/ 129 w 214"/>
                <a:gd name="T41" fmla="*/ 176 h 227"/>
                <a:gd name="T42" fmla="*/ 120 w 214"/>
                <a:gd name="T43" fmla="*/ 190 h 227"/>
                <a:gd name="T44" fmla="*/ 127 w 214"/>
                <a:gd name="T45" fmla="*/ 201 h 227"/>
                <a:gd name="T46" fmla="*/ 144 w 214"/>
                <a:gd name="T47" fmla="*/ 217 h 227"/>
                <a:gd name="T48" fmla="*/ 160 w 214"/>
                <a:gd name="T49" fmla="*/ 226 h 227"/>
                <a:gd name="T50" fmla="*/ 173 w 214"/>
                <a:gd name="T51" fmla="*/ 226 h 227"/>
                <a:gd name="T52" fmla="*/ 201 w 214"/>
                <a:gd name="T53" fmla="*/ 220 h 227"/>
                <a:gd name="T54" fmla="*/ 206 w 214"/>
                <a:gd name="T55" fmla="*/ 212 h 227"/>
                <a:gd name="T56" fmla="*/ 213 w 214"/>
                <a:gd name="T57" fmla="*/ 198 h 227"/>
                <a:gd name="T58" fmla="*/ 209 w 214"/>
                <a:gd name="T59" fmla="*/ 175 h 227"/>
                <a:gd name="T60" fmla="*/ 180 w 214"/>
                <a:gd name="T61" fmla="*/ 133 h 227"/>
                <a:gd name="T62" fmla="*/ 190 w 214"/>
                <a:gd name="T63" fmla="*/ 111 h 227"/>
                <a:gd name="T64" fmla="*/ 180 w 214"/>
                <a:gd name="T65" fmla="*/ 91 h 227"/>
                <a:gd name="T66" fmla="*/ 201 w 214"/>
                <a:gd name="T67" fmla="*/ 77 h 227"/>
                <a:gd name="T68" fmla="*/ 211 w 214"/>
                <a:gd name="T69" fmla="*/ 64 h 227"/>
                <a:gd name="T70" fmla="*/ 194 w 214"/>
                <a:gd name="T71" fmla="*/ 63 h 227"/>
                <a:gd name="T72" fmla="*/ 177 w 214"/>
                <a:gd name="T73" fmla="*/ 52 h 227"/>
                <a:gd name="T74" fmla="*/ 178 w 214"/>
                <a:gd name="T75" fmla="*/ 44 h 227"/>
                <a:gd name="T76" fmla="*/ 171 w 214"/>
                <a:gd name="T77" fmla="*/ 34 h 227"/>
                <a:gd name="T78" fmla="*/ 160 w 214"/>
                <a:gd name="T79" fmla="*/ 39 h 227"/>
                <a:gd name="T80" fmla="*/ 141 w 214"/>
                <a:gd name="T81" fmla="*/ 6 h 227"/>
                <a:gd name="T82" fmla="*/ 126 w 214"/>
                <a:gd name="T83" fmla="*/ 0 h 227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14"/>
                <a:gd name="T127" fmla="*/ 0 h 227"/>
                <a:gd name="T128" fmla="*/ 214 w 214"/>
                <a:gd name="T129" fmla="*/ 227 h 227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14" h="227">
                  <a:moveTo>
                    <a:pt x="126" y="0"/>
                  </a:moveTo>
                  <a:lnTo>
                    <a:pt x="115" y="0"/>
                  </a:lnTo>
                  <a:lnTo>
                    <a:pt x="108" y="10"/>
                  </a:lnTo>
                  <a:lnTo>
                    <a:pt x="98" y="13"/>
                  </a:lnTo>
                  <a:lnTo>
                    <a:pt x="86" y="11"/>
                  </a:lnTo>
                  <a:lnTo>
                    <a:pt x="78" y="3"/>
                  </a:lnTo>
                  <a:lnTo>
                    <a:pt x="67" y="1"/>
                  </a:lnTo>
                  <a:lnTo>
                    <a:pt x="56" y="5"/>
                  </a:lnTo>
                  <a:lnTo>
                    <a:pt x="45" y="8"/>
                  </a:lnTo>
                  <a:lnTo>
                    <a:pt x="38" y="11"/>
                  </a:lnTo>
                  <a:lnTo>
                    <a:pt x="33" y="5"/>
                  </a:lnTo>
                  <a:lnTo>
                    <a:pt x="27" y="5"/>
                  </a:lnTo>
                  <a:lnTo>
                    <a:pt x="21" y="8"/>
                  </a:lnTo>
                  <a:lnTo>
                    <a:pt x="14" y="10"/>
                  </a:lnTo>
                  <a:lnTo>
                    <a:pt x="11" y="17"/>
                  </a:lnTo>
                  <a:lnTo>
                    <a:pt x="14" y="27"/>
                  </a:lnTo>
                  <a:lnTo>
                    <a:pt x="7" y="35"/>
                  </a:lnTo>
                  <a:lnTo>
                    <a:pt x="0" y="45"/>
                  </a:lnTo>
                  <a:lnTo>
                    <a:pt x="2" y="61"/>
                  </a:lnTo>
                  <a:lnTo>
                    <a:pt x="8" y="77"/>
                  </a:lnTo>
                  <a:lnTo>
                    <a:pt x="18" y="87"/>
                  </a:lnTo>
                  <a:lnTo>
                    <a:pt x="18" y="94"/>
                  </a:lnTo>
                  <a:lnTo>
                    <a:pt x="10" y="99"/>
                  </a:lnTo>
                  <a:lnTo>
                    <a:pt x="4" y="105"/>
                  </a:lnTo>
                  <a:lnTo>
                    <a:pt x="4" y="113"/>
                  </a:lnTo>
                  <a:lnTo>
                    <a:pt x="14" y="120"/>
                  </a:lnTo>
                  <a:lnTo>
                    <a:pt x="20" y="120"/>
                  </a:lnTo>
                  <a:lnTo>
                    <a:pt x="33" y="110"/>
                  </a:lnTo>
                  <a:lnTo>
                    <a:pt x="44" y="111"/>
                  </a:lnTo>
                  <a:lnTo>
                    <a:pt x="59" y="114"/>
                  </a:lnTo>
                  <a:lnTo>
                    <a:pt x="59" y="125"/>
                  </a:lnTo>
                  <a:lnTo>
                    <a:pt x="52" y="132"/>
                  </a:lnTo>
                  <a:lnTo>
                    <a:pt x="56" y="139"/>
                  </a:lnTo>
                  <a:lnTo>
                    <a:pt x="62" y="145"/>
                  </a:lnTo>
                  <a:lnTo>
                    <a:pt x="69" y="135"/>
                  </a:lnTo>
                  <a:lnTo>
                    <a:pt x="71" y="133"/>
                  </a:lnTo>
                  <a:lnTo>
                    <a:pt x="83" y="142"/>
                  </a:lnTo>
                  <a:lnTo>
                    <a:pt x="95" y="137"/>
                  </a:lnTo>
                  <a:lnTo>
                    <a:pt x="105" y="139"/>
                  </a:lnTo>
                  <a:lnTo>
                    <a:pt x="114" y="156"/>
                  </a:lnTo>
                  <a:lnTo>
                    <a:pt x="122" y="166"/>
                  </a:lnTo>
                  <a:lnTo>
                    <a:pt x="129" y="176"/>
                  </a:lnTo>
                  <a:lnTo>
                    <a:pt x="127" y="181"/>
                  </a:lnTo>
                  <a:lnTo>
                    <a:pt x="120" y="190"/>
                  </a:lnTo>
                  <a:lnTo>
                    <a:pt x="122" y="198"/>
                  </a:lnTo>
                  <a:lnTo>
                    <a:pt x="127" y="201"/>
                  </a:lnTo>
                  <a:lnTo>
                    <a:pt x="136" y="207"/>
                  </a:lnTo>
                  <a:lnTo>
                    <a:pt x="144" y="217"/>
                  </a:lnTo>
                  <a:lnTo>
                    <a:pt x="151" y="224"/>
                  </a:lnTo>
                  <a:lnTo>
                    <a:pt x="160" y="226"/>
                  </a:lnTo>
                  <a:lnTo>
                    <a:pt x="165" y="220"/>
                  </a:lnTo>
                  <a:lnTo>
                    <a:pt x="173" y="226"/>
                  </a:lnTo>
                  <a:lnTo>
                    <a:pt x="188" y="226"/>
                  </a:lnTo>
                  <a:lnTo>
                    <a:pt x="201" y="220"/>
                  </a:lnTo>
                  <a:lnTo>
                    <a:pt x="199" y="222"/>
                  </a:lnTo>
                  <a:lnTo>
                    <a:pt x="206" y="212"/>
                  </a:lnTo>
                  <a:lnTo>
                    <a:pt x="209" y="205"/>
                  </a:lnTo>
                  <a:lnTo>
                    <a:pt x="213" y="198"/>
                  </a:lnTo>
                  <a:lnTo>
                    <a:pt x="213" y="186"/>
                  </a:lnTo>
                  <a:lnTo>
                    <a:pt x="209" y="175"/>
                  </a:lnTo>
                  <a:lnTo>
                    <a:pt x="201" y="154"/>
                  </a:lnTo>
                  <a:lnTo>
                    <a:pt x="180" y="133"/>
                  </a:lnTo>
                  <a:lnTo>
                    <a:pt x="184" y="122"/>
                  </a:lnTo>
                  <a:lnTo>
                    <a:pt x="190" y="111"/>
                  </a:lnTo>
                  <a:lnTo>
                    <a:pt x="177" y="97"/>
                  </a:lnTo>
                  <a:lnTo>
                    <a:pt x="180" y="91"/>
                  </a:lnTo>
                  <a:lnTo>
                    <a:pt x="192" y="91"/>
                  </a:lnTo>
                  <a:lnTo>
                    <a:pt x="201" y="77"/>
                  </a:lnTo>
                  <a:lnTo>
                    <a:pt x="204" y="72"/>
                  </a:lnTo>
                  <a:lnTo>
                    <a:pt x="211" y="64"/>
                  </a:lnTo>
                  <a:lnTo>
                    <a:pt x="201" y="59"/>
                  </a:lnTo>
                  <a:lnTo>
                    <a:pt x="194" y="63"/>
                  </a:lnTo>
                  <a:lnTo>
                    <a:pt x="180" y="56"/>
                  </a:lnTo>
                  <a:lnTo>
                    <a:pt x="177" y="52"/>
                  </a:lnTo>
                  <a:lnTo>
                    <a:pt x="178" y="47"/>
                  </a:lnTo>
                  <a:lnTo>
                    <a:pt x="178" y="44"/>
                  </a:lnTo>
                  <a:lnTo>
                    <a:pt x="180" y="39"/>
                  </a:lnTo>
                  <a:lnTo>
                    <a:pt x="171" y="34"/>
                  </a:lnTo>
                  <a:lnTo>
                    <a:pt x="165" y="37"/>
                  </a:lnTo>
                  <a:lnTo>
                    <a:pt x="160" y="39"/>
                  </a:lnTo>
                  <a:lnTo>
                    <a:pt x="139" y="17"/>
                  </a:lnTo>
                  <a:lnTo>
                    <a:pt x="141" y="6"/>
                  </a:lnTo>
                  <a:lnTo>
                    <a:pt x="136" y="1"/>
                  </a:lnTo>
                  <a:lnTo>
                    <a:pt x="126" y="0"/>
                  </a:lnTo>
                </a:path>
              </a:pathLst>
            </a:custGeom>
            <a:solidFill>
              <a:srgbClr val="3397A5"/>
            </a:solidFill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140519" tIns="70257" rIns="140519" bIns="70257" anchor="ctr"/>
            <a:lstStyle/>
            <a:p>
              <a:pPr marL="0" marR="0" lvl="0" indent="0" algn="l" defTabSz="9143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800" i="0" u="none" strike="noStrike" kern="0" normalizeH="0" baseline="0" noProof="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Calibri" panose="020F0502020204030204"/>
                <a:ea typeface="+mn-ea"/>
                <a:cs typeface="Arial" charset="0"/>
              </a:endParaRPr>
            </a:p>
          </p:txBody>
        </p:sp>
        <p:sp>
          <p:nvSpPr>
            <p:cNvPr id="47" name="Freeform 4055"/>
            <p:cNvSpPr>
              <a:spLocks/>
            </p:cNvSpPr>
            <p:nvPr/>
          </p:nvSpPr>
          <p:spPr bwMode="auto">
            <a:xfrm>
              <a:off x="2675702" y="3021566"/>
              <a:ext cx="320225" cy="186250"/>
            </a:xfrm>
            <a:custGeom>
              <a:avLst/>
              <a:gdLst>
                <a:gd name="T0" fmla="*/ 138 w 144"/>
                <a:gd name="T1" fmla="*/ 35 h 101"/>
                <a:gd name="T2" fmla="*/ 123 w 144"/>
                <a:gd name="T3" fmla="*/ 19 h 101"/>
                <a:gd name="T4" fmla="*/ 113 w 144"/>
                <a:gd name="T5" fmla="*/ 14 h 101"/>
                <a:gd name="T6" fmla="*/ 96 w 144"/>
                <a:gd name="T7" fmla="*/ 8 h 101"/>
                <a:gd name="T8" fmla="*/ 92 w 144"/>
                <a:gd name="T9" fmla="*/ 0 h 101"/>
                <a:gd name="T10" fmla="*/ 85 w 144"/>
                <a:gd name="T11" fmla="*/ 8 h 101"/>
                <a:gd name="T12" fmla="*/ 85 w 144"/>
                <a:gd name="T13" fmla="*/ 15 h 101"/>
                <a:gd name="T14" fmla="*/ 82 w 144"/>
                <a:gd name="T15" fmla="*/ 17 h 101"/>
                <a:gd name="T16" fmla="*/ 75 w 144"/>
                <a:gd name="T17" fmla="*/ 19 h 101"/>
                <a:gd name="T18" fmla="*/ 67 w 144"/>
                <a:gd name="T19" fmla="*/ 22 h 101"/>
                <a:gd name="T20" fmla="*/ 62 w 144"/>
                <a:gd name="T21" fmla="*/ 27 h 101"/>
                <a:gd name="T22" fmla="*/ 54 w 144"/>
                <a:gd name="T23" fmla="*/ 32 h 101"/>
                <a:gd name="T24" fmla="*/ 51 w 144"/>
                <a:gd name="T25" fmla="*/ 24 h 101"/>
                <a:gd name="T26" fmla="*/ 45 w 144"/>
                <a:gd name="T27" fmla="*/ 19 h 101"/>
                <a:gd name="T28" fmla="*/ 39 w 144"/>
                <a:gd name="T29" fmla="*/ 15 h 101"/>
                <a:gd name="T30" fmla="*/ 33 w 144"/>
                <a:gd name="T31" fmla="*/ 19 h 101"/>
                <a:gd name="T32" fmla="*/ 31 w 144"/>
                <a:gd name="T33" fmla="*/ 24 h 101"/>
                <a:gd name="T34" fmla="*/ 37 w 144"/>
                <a:gd name="T35" fmla="*/ 32 h 101"/>
                <a:gd name="T36" fmla="*/ 34 w 144"/>
                <a:gd name="T37" fmla="*/ 37 h 101"/>
                <a:gd name="T38" fmla="*/ 27 w 144"/>
                <a:gd name="T39" fmla="*/ 37 h 101"/>
                <a:gd name="T40" fmla="*/ 24 w 144"/>
                <a:gd name="T41" fmla="*/ 39 h 101"/>
                <a:gd name="T42" fmla="*/ 22 w 144"/>
                <a:gd name="T43" fmla="*/ 46 h 101"/>
                <a:gd name="T44" fmla="*/ 19 w 144"/>
                <a:gd name="T45" fmla="*/ 49 h 101"/>
                <a:gd name="T46" fmla="*/ 10 w 144"/>
                <a:gd name="T47" fmla="*/ 52 h 101"/>
                <a:gd name="T48" fmla="*/ 0 w 144"/>
                <a:gd name="T49" fmla="*/ 51 h 101"/>
                <a:gd name="T50" fmla="*/ 14 w 144"/>
                <a:gd name="T51" fmla="*/ 61 h 101"/>
                <a:gd name="T52" fmla="*/ 15 w 144"/>
                <a:gd name="T53" fmla="*/ 71 h 101"/>
                <a:gd name="T54" fmla="*/ 17 w 144"/>
                <a:gd name="T55" fmla="*/ 80 h 101"/>
                <a:gd name="T56" fmla="*/ 15 w 144"/>
                <a:gd name="T57" fmla="*/ 88 h 101"/>
                <a:gd name="T58" fmla="*/ 14 w 144"/>
                <a:gd name="T59" fmla="*/ 94 h 101"/>
                <a:gd name="T60" fmla="*/ 20 w 144"/>
                <a:gd name="T61" fmla="*/ 90 h 101"/>
                <a:gd name="T62" fmla="*/ 29 w 144"/>
                <a:gd name="T63" fmla="*/ 98 h 101"/>
                <a:gd name="T64" fmla="*/ 43 w 144"/>
                <a:gd name="T65" fmla="*/ 90 h 101"/>
                <a:gd name="T66" fmla="*/ 53 w 144"/>
                <a:gd name="T67" fmla="*/ 88 h 101"/>
                <a:gd name="T68" fmla="*/ 60 w 144"/>
                <a:gd name="T69" fmla="*/ 88 h 101"/>
                <a:gd name="T70" fmla="*/ 68 w 144"/>
                <a:gd name="T71" fmla="*/ 94 h 101"/>
                <a:gd name="T72" fmla="*/ 77 w 144"/>
                <a:gd name="T73" fmla="*/ 98 h 101"/>
                <a:gd name="T74" fmla="*/ 87 w 144"/>
                <a:gd name="T75" fmla="*/ 100 h 101"/>
                <a:gd name="T76" fmla="*/ 96 w 144"/>
                <a:gd name="T77" fmla="*/ 97 h 101"/>
                <a:gd name="T78" fmla="*/ 104 w 144"/>
                <a:gd name="T79" fmla="*/ 85 h 101"/>
                <a:gd name="T80" fmla="*/ 115 w 144"/>
                <a:gd name="T81" fmla="*/ 87 h 101"/>
                <a:gd name="T82" fmla="*/ 118 w 144"/>
                <a:gd name="T83" fmla="*/ 77 h 101"/>
                <a:gd name="T84" fmla="*/ 128 w 144"/>
                <a:gd name="T85" fmla="*/ 75 h 101"/>
                <a:gd name="T86" fmla="*/ 133 w 144"/>
                <a:gd name="T87" fmla="*/ 77 h 101"/>
                <a:gd name="T88" fmla="*/ 138 w 144"/>
                <a:gd name="T89" fmla="*/ 73 h 101"/>
                <a:gd name="T90" fmla="*/ 141 w 144"/>
                <a:gd name="T91" fmla="*/ 68 h 101"/>
                <a:gd name="T92" fmla="*/ 143 w 144"/>
                <a:gd name="T93" fmla="*/ 61 h 101"/>
                <a:gd name="T94" fmla="*/ 143 w 144"/>
                <a:gd name="T95" fmla="*/ 48 h 101"/>
                <a:gd name="T96" fmla="*/ 138 w 144"/>
                <a:gd name="T97" fmla="*/ 35 h 10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44"/>
                <a:gd name="T148" fmla="*/ 0 h 101"/>
                <a:gd name="T149" fmla="*/ 144 w 144"/>
                <a:gd name="T150" fmla="*/ 101 h 101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44" h="101">
                  <a:moveTo>
                    <a:pt x="138" y="35"/>
                  </a:moveTo>
                  <a:lnTo>
                    <a:pt x="123" y="19"/>
                  </a:lnTo>
                  <a:lnTo>
                    <a:pt x="113" y="14"/>
                  </a:lnTo>
                  <a:lnTo>
                    <a:pt x="96" y="8"/>
                  </a:lnTo>
                  <a:lnTo>
                    <a:pt x="92" y="0"/>
                  </a:lnTo>
                  <a:lnTo>
                    <a:pt x="85" y="8"/>
                  </a:lnTo>
                  <a:lnTo>
                    <a:pt x="85" y="15"/>
                  </a:lnTo>
                  <a:lnTo>
                    <a:pt x="82" y="17"/>
                  </a:lnTo>
                  <a:lnTo>
                    <a:pt x="75" y="19"/>
                  </a:lnTo>
                  <a:lnTo>
                    <a:pt x="67" y="22"/>
                  </a:lnTo>
                  <a:lnTo>
                    <a:pt x="62" y="27"/>
                  </a:lnTo>
                  <a:lnTo>
                    <a:pt x="54" y="32"/>
                  </a:lnTo>
                  <a:lnTo>
                    <a:pt x="51" y="24"/>
                  </a:lnTo>
                  <a:lnTo>
                    <a:pt x="45" y="19"/>
                  </a:lnTo>
                  <a:lnTo>
                    <a:pt x="39" y="15"/>
                  </a:lnTo>
                  <a:lnTo>
                    <a:pt x="33" y="19"/>
                  </a:lnTo>
                  <a:lnTo>
                    <a:pt x="31" y="24"/>
                  </a:lnTo>
                  <a:lnTo>
                    <a:pt x="37" y="32"/>
                  </a:lnTo>
                  <a:lnTo>
                    <a:pt x="34" y="37"/>
                  </a:lnTo>
                  <a:lnTo>
                    <a:pt x="27" y="37"/>
                  </a:lnTo>
                  <a:lnTo>
                    <a:pt x="24" y="39"/>
                  </a:lnTo>
                  <a:lnTo>
                    <a:pt x="22" y="46"/>
                  </a:lnTo>
                  <a:lnTo>
                    <a:pt x="19" y="49"/>
                  </a:lnTo>
                  <a:lnTo>
                    <a:pt x="10" y="52"/>
                  </a:lnTo>
                  <a:lnTo>
                    <a:pt x="0" y="51"/>
                  </a:lnTo>
                  <a:lnTo>
                    <a:pt x="14" y="61"/>
                  </a:lnTo>
                  <a:lnTo>
                    <a:pt x="15" y="71"/>
                  </a:lnTo>
                  <a:lnTo>
                    <a:pt x="17" y="80"/>
                  </a:lnTo>
                  <a:lnTo>
                    <a:pt x="15" y="88"/>
                  </a:lnTo>
                  <a:lnTo>
                    <a:pt x="14" y="94"/>
                  </a:lnTo>
                  <a:lnTo>
                    <a:pt x="20" y="90"/>
                  </a:lnTo>
                  <a:lnTo>
                    <a:pt x="29" y="98"/>
                  </a:lnTo>
                  <a:lnTo>
                    <a:pt x="43" y="90"/>
                  </a:lnTo>
                  <a:lnTo>
                    <a:pt x="53" y="88"/>
                  </a:lnTo>
                  <a:lnTo>
                    <a:pt x="60" y="88"/>
                  </a:lnTo>
                  <a:lnTo>
                    <a:pt x="68" y="94"/>
                  </a:lnTo>
                  <a:lnTo>
                    <a:pt x="77" y="98"/>
                  </a:lnTo>
                  <a:lnTo>
                    <a:pt x="87" y="100"/>
                  </a:lnTo>
                  <a:lnTo>
                    <a:pt x="96" y="97"/>
                  </a:lnTo>
                  <a:lnTo>
                    <a:pt x="104" y="85"/>
                  </a:lnTo>
                  <a:lnTo>
                    <a:pt x="115" y="87"/>
                  </a:lnTo>
                  <a:lnTo>
                    <a:pt x="118" y="77"/>
                  </a:lnTo>
                  <a:lnTo>
                    <a:pt x="128" y="75"/>
                  </a:lnTo>
                  <a:lnTo>
                    <a:pt x="133" y="77"/>
                  </a:lnTo>
                  <a:lnTo>
                    <a:pt x="138" y="73"/>
                  </a:lnTo>
                  <a:lnTo>
                    <a:pt x="141" y="68"/>
                  </a:lnTo>
                  <a:lnTo>
                    <a:pt x="143" y="61"/>
                  </a:lnTo>
                  <a:lnTo>
                    <a:pt x="143" y="48"/>
                  </a:lnTo>
                  <a:lnTo>
                    <a:pt x="138" y="35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l" defTabSz="9143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endParaRPr>
            </a:p>
          </p:txBody>
        </p:sp>
        <p:sp>
          <p:nvSpPr>
            <p:cNvPr id="48" name="Freeform 4156"/>
            <p:cNvSpPr>
              <a:spLocks/>
            </p:cNvSpPr>
            <p:nvPr/>
          </p:nvSpPr>
          <p:spPr bwMode="auto">
            <a:xfrm>
              <a:off x="2473710" y="2796932"/>
              <a:ext cx="412187" cy="321314"/>
            </a:xfrm>
            <a:custGeom>
              <a:avLst/>
              <a:gdLst>
                <a:gd name="T0" fmla="*/ 95 w 185"/>
                <a:gd name="T1" fmla="*/ 0 h 174"/>
                <a:gd name="T2" fmla="*/ 105 w 185"/>
                <a:gd name="T3" fmla="*/ 25 h 174"/>
                <a:gd name="T4" fmla="*/ 112 w 185"/>
                <a:gd name="T5" fmla="*/ 42 h 174"/>
                <a:gd name="T6" fmla="*/ 116 w 185"/>
                <a:gd name="T7" fmla="*/ 50 h 174"/>
                <a:gd name="T8" fmla="*/ 117 w 185"/>
                <a:gd name="T9" fmla="*/ 62 h 174"/>
                <a:gd name="T10" fmla="*/ 131 w 185"/>
                <a:gd name="T11" fmla="*/ 72 h 174"/>
                <a:gd name="T12" fmla="*/ 143 w 185"/>
                <a:gd name="T13" fmla="*/ 82 h 174"/>
                <a:gd name="T14" fmla="*/ 160 w 185"/>
                <a:gd name="T15" fmla="*/ 98 h 174"/>
                <a:gd name="T16" fmla="*/ 175 w 185"/>
                <a:gd name="T17" fmla="*/ 108 h 174"/>
                <a:gd name="T18" fmla="*/ 184 w 185"/>
                <a:gd name="T19" fmla="*/ 116 h 174"/>
                <a:gd name="T20" fmla="*/ 180 w 185"/>
                <a:gd name="T21" fmla="*/ 123 h 174"/>
                <a:gd name="T22" fmla="*/ 175 w 185"/>
                <a:gd name="T23" fmla="*/ 127 h 174"/>
                <a:gd name="T24" fmla="*/ 172 w 185"/>
                <a:gd name="T25" fmla="*/ 128 h 174"/>
                <a:gd name="T26" fmla="*/ 173 w 185"/>
                <a:gd name="T27" fmla="*/ 135 h 174"/>
                <a:gd name="T28" fmla="*/ 169 w 185"/>
                <a:gd name="T29" fmla="*/ 139 h 174"/>
                <a:gd name="T30" fmla="*/ 163 w 185"/>
                <a:gd name="T31" fmla="*/ 142 h 174"/>
                <a:gd name="T32" fmla="*/ 158 w 185"/>
                <a:gd name="T33" fmla="*/ 142 h 174"/>
                <a:gd name="T34" fmla="*/ 144 w 185"/>
                <a:gd name="T35" fmla="*/ 152 h 174"/>
                <a:gd name="T36" fmla="*/ 143 w 185"/>
                <a:gd name="T37" fmla="*/ 147 h 174"/>
                <a:gd name="T38" fmla="*/ 136 w 185"/>
                <a:gd name="T39" fmla="*/ 142 h 174"/>
                <a:gd name="T40" fmla="*/ 129 w 185"/>
                <a:gd name="T41" fmla="*/ 137 h 174"/>
                <a:gd name="T42" fmla="*/ 124 w 185"/>
                <a:gd name="T43" fmla="*/ 139 h 174"/>
                <a:gd name="T44" fmla="*/ 120 w 185"/>
                <a:gd name="T45" fmla="*/ 142 h 174"/>
                <a:gd name="T46" fmla="*/ 120 w 185"/>
                <a:gd name="T47" fmla="*/ 147 h 174"/>
                <a:gd name="T48" fmla="*/ 126 w 185"/>
                <a:gd name="T49" fmla="*/ 152 h 174"/>
                <a:gd name="T50" fmla="*/ 122 w 185"/>
                <a:gd name="T51" fmla="*/ 157 h 174"/>
                <a:gd name="T52" fmla="*/ 116 w 185"/>
                <a:gd name="T53" fmla="*/ 159 h 174"/>
                <a:gd name="T54" fmla="*/ 112 w 185"/>
                <a:gd name="T55" fmla="*/ 162 h 174"/>
                <a:gd name="T56" fmla="*/ 110 w 185"/>
                <a:gd name="T57" fmla="*/ 167 h 174"/>
                <a:gd name="T58" fmla="*/ 105 w 185"/>
                <a:gd name="T59" fmla="*/ 171 h 174"/>
                <a:gd name="T60" fmla="*/ 100 w 185"/>
                <a:gd name="T61" fmla="*/ 173 h 174"/>
                <a:gd name="T62" fmla="*/ 90 w 185"/>
                <a:gd name="T63" fmla="*/ 171 h 174"/>
                <a:gd name="T64" fmla="*/ 75 w 185"/>
                <a:gd name="T65" fmla="*/ 169 h 174"/>
                <a:gd name="T66" fmla="*/ 65 w 185"/>
                <a:gd name="T67" fmla="*/ 162 h 174"/>
                <a:gd name="T68" fmla="*/ 55 w 185"/>
                <a:gd name="T69" fmla="*/ 154 h 174"/>
                <a:gd name="T70" fmla="*/ 41 w 185"/>
                <a:gd name="T71" fmla="*/ 142 h 174"/>
                <a:gd name="T72" fmla="*/ 36 w 185"/>
                <a:gd name="T73" fmla="*/ 137 h 174"/>
                <a:gd name="T74" fmla="*/ 29 w 185"/>
                <a:gd name="T75" fmla="*/ 135 h 174"/>
                <a:gd name="T76" fmla="*/ 16 w 185"/>
                <a:gd name="T77" fmla="*/ 133 h 174"/>
                <a:gd name="T78" fmla="*/ 7 w 185"/>
                <a:gd name="T79" fmla="*/ 133 h 174"/>
                <a:gd name="T80" fmla="*/ 4 w 185"/>
                <a:gd name="T81" fmla="*/ 128 h 174"/>
                <a:gd name="T82" fmla="*/ 2 w 185"/>
                <a:gd name="T83" fmla="*/ 120 h 174"/>
                <a:gd name="T84" fmla="*/ 4 w 185"/>
                <a:gd name="T85" fmla="*/ 108 h 174"/>
                <a:gd name="T86" fmla="*/ 7 w 185"/>
                <a:gd name="T87" fmla="*/ 99 h 174"/>
                <a:gd name="T88" fmla="*/ 5 w 185"/>
                <a:gd name="T89" fmla="*/ 96 h 174"/>
                <a:gd name="T90" fmla="*/ 4 w 185"/>
                <a:gd name="T91" fmla="*/ 87 h 174"/>
                <a:gd name="T92" fmla="*/ 0 w 185"/>
                <a:gd name="T93" fmla="*/ 79 h 174"/>
                <a:gd name="T94" fmla="*/ 0 w 185"/>
                <a:gd name="T95" fmla="*/ 72 h 174"/>
                <a:gd name="T96" fmla="*/ 4 w 185"/>
                <a:gd name="T97" fmla="*/ 69 h 174"/>
                <a:gd name="T98" fmla="*/ 7 w 185"/>
                <a:gd name="T99" fmla="*/ 67 h 174"/>
                <a:gd name="T100" fmla="*/ 5 w 185"/>
                <a:gd name="T101" fmla="*/ 59 h 174"/>
                <a:gd name="T102" fmla="*/ 7 w 185"/>
                <a:gd name="T103" fmla="*/ 53 h 174"/>
                <a:gd name="T104" fmla="*/ 16 w 185"/>
                <a:gd name="T105" fmla="*/ 45 h 174"/>
                <a:gd name="T106" fmla="*/ 24 w 185"/>
                <a:gd name="T107" fmla="*/ 45 h 174"/>
                <a:gd name="T108" fmla="*/ 33 w 185"/>
                <a:gd name="T109" fmla="*/ 42 h 174"/>
                <a:gd name="T110" fmla="*/ 38 w 185"/>
                <a:gd name="T111" fmla="*/ 35 h 174"/>
                <a:gd name="T112" fmla="*/ 36 w 185"/>
                <a:gd name="T113" fmla="*/ 30 h 174"/>
                <a:gd name="T114" fmla="*/ 48 w 185"/>
                <a:gd name="T115" fmla="*/ 18 h 174"/>
                <a:gd name="T116" fmla="*/ 62 w 185"/>
                <a:gd name="T117" fmla="*/ 19 h 174"/>
                <a:gd name="T118" fmla="*/ 67 w 185"/>
                <a:gd name="T119" fmla="*/ 12 h 174"/>
                <a:gd name="T120" fmla="*/ 79 w 185"/>
                <a:gd name="T121" fmla="*/ 10 h 174"/>
                <a:gd name="T122" fmla="*/ 87 w 185"/>
                <a:gd name="T123" fmla="*/ 5 h 174"/>
                <a:gd name="T124" fmla="*/ 95 w 185"/>
                <a:gd name="T125" fmla="*/ 0 h 17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85"/>
                <a:gd name="T190" fmla="*/ 0 h 174"/>
                <a:gd name="T191" fmla="*/ 185 w 185"/>
                <a:gd name="T192" fmla="*/ 174 h 17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85" h="174">
                  <a:moveTo>
                    <a:pt x="95" y="0"/>
                  </a:moveTo>
                  <a:lnTo>
                    <a:pt x="105" y="25"/>
                  </a:lnTo>
                  <a:lnTo>
                    <a:pt x="112" y="42"/>
                  </a:lnTo>
                  <a:lnTo>
                    <a:pt x="116" y="50"/>
                  </a:lnTo>
                  <a:lnTo>
                    <a:pt x="117" y="62"/>
                  </a:lnTo>
                  <a:lnTo>
                    <a:pt x="131" y="72"/>
                  </a:lnTo>
                  <a:lnTo>
                    <a:pt x="143" y="82"/>
                  </a:lnTo>
                  <a:lnTo>
                    <a:pt x="160" y="98"/>
                  </a:lnTo>
                  <a:lnTo>
                    <a:pt x="175" y="108"/>
                  </a:lnTo>
                  <a:lnTo>
                    <a:pt x="184" y="116"/>
                  </a:lnTo>
                  <a:lnTo>
                    <a:pt x="180" y="123"/>
                  </a:lnTo>
                  <a:lnTo>
                    <a:pt x="175" y="127"/>
                  </a:lnTo>
                  <a:lnTo>
                    <a:pt x="172" y="128"/>
                  </a:lnTo>
                  <a:lnTo>
                    <a:pt x="173" y="135"/>
                  </a:lnTo>
                  <a:lnTo>
                    <a:pt x="169" y="139"/>
                  </a:lnTo>
                  <a:lnTo>
                    <a:pt x="163" y="142"/>
                  </a:lnTo>
                  <a:lnTo>
                    <a:pt x="158" y="142"/>
                  </a:lnTo>
                  <a:lnTo>
                    <a:pt x="144" y="152"/>
                  </a:lnTo>
                  <a:lnTo>
                    <a:pt x="143" y="147"/>
                  </a:lnTo>
                  <a:lnTo>
                    <a:pt x="136" y="142"/>
                  </a:lnTo>
                  <a:lnTo>
                    <a:pt x="129" y="137"/>
                  </a:lnTo>
                  <a:lnTo>
                    <a:pt x="124" y="139"/>
                  </a:lnTo>
                  <a:lnTo>
                    <a:pt x="120" y="142"/>
                  </a:lnTo>
                  <a:lnTo>
                    <a:pt x="120" y="147"/>
                  </a:lnTo>
                  <a:lnTo>
                    <a:pt x="126" y="152"/>
                  </a:lnTo>
                  <a:lnTo>
                    <a:pt x="122" y="157"/>
                  </a:lnTo>
                  <a:lnTo>
                    <a:pt x="116" y="159"/>
                  </a:lnTo>
                  <a:lnTo>
                    <a:pt x="112" y="162"/>
                  </a:lnTo>
                  <a:lnTo>
                    <a:pt x="110" y="167"/>
                  </a:lnTo>
                  <a:lnTo>
                    <a:pt x="105" y="171"/>
                  </a:lnTo>
                  <a:lnTo>
                    <a:pt x="100" y="173"/>
                  </a:lnTo>
                  <a:lnTo>
                    <a:pt x="90" y="171"/>
                  </a:lnTo>
                  <a:lnTo>
                    <a:pt x="75" y="169"/>
                  </a:lnTo>
                  <a:lnTo>
                    <a:pt x="65" y="162"/>
                  </a:lnTo>
                  <a:lnTo>
                    <a:pt x="55" y="154"/>
                  </a:lnTo>
                  <a:lnTo>
                    <a:pt x="41" y="142"/>
                  </a:lnTo>
                  <a:lnTo>
                    <a:pt x="36" y="137"/>
                  </a:lnTo>
                  <a:lnTo>
                    <a:pt x="29" y="135"/>
                  </a:lnTo>
                  <a:lnTo>
                    <a:pt x="16" y="133"/>
                  </a:lnTo>
                  <a:lnTo>
                    <a:pt x="7" y="133"/>
                  </a:lnTo>
                  <a:lnTo>
                    <a:pt x="4" y="128"/>
                  </a:lnTo>
                  <a:lnTo>
                    <a:pt x="2" y="120"/>
                  </a:lnTo>
                  <a:lnTo>
                    <a:pt x="4" y="108"/>
                  </a:lnTo>
                  <a:lnTo>
                    <a:pt x="7" y="99"/>
                  </a:lnTo>
                  <a:lnTo>
                    <a:pt x="5" y="96"/>
                  </a:lnTo>
                  <a:lnTo>
                    <a:pt x="4" y="87"/>
                  </a:lnTo>
                  <a:lnTo>
                    <a:pt x="0" y="79"/>
                  </a:lnTo>
                  <a:lnTo>
                    <a:pt x="0" y="72"/>
                  </a:lnTo>
                  <a:lnTo>
                    <a:pt x="4" y="69"/>
                  </a:lnTo>
                  <a:lnTo>
                    <a:pt x="7" y="67"/>
                  </a:lnTo>
                  <a:lnTo>
                    <a:pt x="5" y="59"/>
                  </a:lnTo>
                  <a:lnTo>
                    <a:pt x="7" y="53"/>
                  </a:lnTo>
                  <a:lnTo>
                    <a:pt x="16" y="45"/>
                  </a:lnTo>
                  <a:lnTo>
                    <a:pt x="24" y="45"/>
                  </a:lnTo>
                  <a:lnTo>
                    <a:pt x="33" y="42"/>
                  </a:lnTo>
                  <a:lnTo>
                    <a:pt x="38" y="35"/>
                  </a:lnTo>
                  <a:lnTo>
                    <a:pt x="36" y="30"/>
                  </a:lnTo>
                  <a:lnTo>
                    <a:pt x="48" y="18"/>
                  </a:lnTo>
                  <a:lnTo>
                    <a:pt x="62" y="19"/>
                  </a:lnTo>
                  <a:lnTo>
                    <a:pt x="67" y="12"/>
                  </a:lnTo>
                  <a:lnTo>
                    <a:pt x="79" y="10"/>
                  </a:lnTo>
                  <a:lnTo>
                    <a:pt x="87" y="5"/>
                  </a:lnTo>
                  <a:lnTo>
                    <a:pt x="95" y="0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l" defTabSz="9143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endParaRPr>
            </a:p>
          </p:txBody>
        </p:sp>
        <p:sp>
          <p:nvSpPr>
            <p:cNvPr id="49" name="Freeform 4257"/>
            <p:cNvSpPr>
              <a:spLocks/>
            </p:cNvSpPr>
            <p:nvPr/>
          </p:nvSpPr>
          <p:spPr bwMode="auto">
            <a:xfrm>
              <a:off x="2212604" y="2593624"/>
              <a:ext cx="338290" cy="331267"/>
            </a:xfrm>
            <a:custGeom>
              <a:avLst/>
              <a:gdLst>
                <a:gd name="T0" fmla="*/ 149 w 153"/>
                <a:gd name="T1" fmla="*/ 129 h 181"/>
                <a:gd name="T2" fmla="*/ 128 w 153"/>
                <a:gd name="T3" fmla="*/ 111 h 181"/>
                <a:gd name="T4" fmla="*/ 111 w 153"/>
                <a:gd name="T5" fmla="*/ 101 h 181"/>
                <a:gd name="T6" fmla="*/ 109 w 153"/>
                <a:gd name="T7" fmla="*/ 74 h 181"/>
                <a:gd name="T8" fmla="*/ 107 w 153"/>
                <a:gd name="T9" fmla="*/ 46 h 181"/>
                <a:gd name="T10" fmla="*/ 85 w 153"/>
                <a:gd name="T11" fmla="*/ 31 h 181"/>
                <a:gd name="T12" fmla="*/ 67 w 153"/>
                <a:gd name="T13" fmla="*/ 19 h 181"/>
                <a:gd name="T14" fmla="*/ 53 w 153"/>
                <a:gd name="T15" fmla="*/ 9 h 181"/>
                <a:gd name="T16" fmla="*/ 46 w 153"/>
                <a:gd name="T17" fmla="*/ 0 h 181"/>
                <a:gd name="T18" fmla="*/ 34 w 153"/>
                <a:gd name="T19" fmla="*/ 4 h 181"/>
                <a:gd name="T20" fmla="*/ 36 w 153"/>
                <a:gd name="T21" fmla="*/ 22 h 181"/>
                <a:gd name="T22" fmla="*/ 43 w 153"/>
                <a:gd name="T23" fmla="*/ 41 h 181"/>
                <a:gd name="T24" fmla="*/ 29 w 153"/>
                <a:gd name="T25" fmla="*/ 46 h 181"/>
                <a:gd name="T26" fmla="*/ 15 w 153"/>
                <a:gd name="T27" fmla="*/ 58 h 181"/>
                <a:gd name="T28" fmla="*/ 19 w 153"/>
                <a:gd name="T29" fmla="*/ 75 h 181"/>
                <a:gd name="T30" fmla="*/ 17 w 153"/>
                <a:gd name="T31" fmla="*/ 80 h 181"/>
                <a:gd name="T32" fmla="*/ 12 w 153"/>
                <a:gd name="T33" fmla="*/ 94 h 181"/>
                <a:gd name="T34" fmla="*/ 2 w 153"/>
                <a:gd name="T35" fmla="*/ 106 h 181"/>
                <a:gd name="T36" fmla="*/ 0 w 153"/>
                <a:gd name="T37" fmla="*/ 116 h 181"/>
                <a:gd name="T38" fmla="*/ 9 w 153"/>
                <a:gd name="T39" fmla="*/ 125 h 181"/>
                <a:gd name="T40" fmla="*/ 0 w 153"/>
                <a:gd name="T41" fmla="*/ 136 h 181"/>
                <a:gd name="T42" fmla="*/ 14 w 153"/>
                <a:gd name="T43" fmla="*/ 141 h 181"/>
                <a:gd name="T44" fmla="*/ 31 w 153"/>
                <a:gd name="T45" fmla="*/ 144 h 181"/>
                <a:gd name="T46" fmla="*/ 36 w 153"/>
                <a:gd name="T47" fmla="*/ 161 h 181"/>
                <a:gd name="T48" fmla="*/ 44 w 153"/>
                <a:gd name="T49" fmla="*/ 168 h 181"/>
                <a:gd name="T50" fmla="*/ 54 w 153"/>
                <a:gd name="T51" fmla="*/ 178 h 181"/>
                <a:gd name="T52" fmla="*/ 73 w 153"/>
                <a:gd name="T53" fmla="*/ 180 h 181"/>
                <a:gd name="T54" fmla="*/ 82 w 153"/>
                <a:gd name="T55" fmla="*/ 171 h 181"/>
                <a:gd name="T56" fmla="*/ 96 w 153"/>
                <a:gd name="T57" fmla="*/ 165 h 181"/>
                <a:gd name="T58" fmla="*/ 111 w 153"/>
                <a:gd name="T59" fmla="*/ 158 h 181"/>
                <a:gd name="T60" fmla="*/ 118 w 153"/>
                <a:gd name="T61" fmla="*/ 148 h 181"/>
                <a:gd name="T62" fmla="*/ 133 w 153"/>
                <a:gd name="T63" fmla="*/ 148 h 181"/>
                <a:gd name="T64" fmla="*/ 152 w 153"/>
                <a:gd name="T65" fmla="*/ 137 h 18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53"/>
                <a:gd name="T100" fmla="*/ 0 h 181"/>
                <a:gd name="T101" fmla="*/ 153 w 153"/>
                <a:gd name="T102" fmla="*/ 181 h 18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53" h="181">
                  <a:moveTo>
                    <a:pt x="152" y="137"/>
                  </a:moveTo>
                  <a:lnTo>
                    <a:pt x="149" y="129"/>
                  </a:lnTo>
                  <a:lnTo>
                    <a:pt x="140" y="121"/>
                  </a:lnTo>
                  <a:lnTo>
                    <a:pt x="128" y="111"/>
                  </a:lnTo>
                  <a:lnTo>
                    <a:pt x="118" y="106"/>
                  </a:lnTo>
                  <a:lnTo>
                    <a:pt x="111" y="101"/>
                  </a:lnTo>
                  <a:lnTo>
                    <a:pt x="113" y="84"/>
                  </a:lnTo>
                  <a:lnTo>
                    <a:pt x="109" y="74"/>
                  </a:lnTo>
                  <a:lnTo>
                    <a:pt x="107" y="63"/>
                  </a:lnTo>
                  <a:lnTo>
                    <a:pt x="107" y="46"/>
                  </a:lnTo>
                  <a:lnTo>
                    <a:pt x="97" y="39"/>
                  </a:lnTo>
                  <a:lnTo>
                    <a:pt x="85" y="31"/>
                  </a:lnTo>
                  <a:lnTo>
                    <a:pt x="77" y="29"/>
                  </a:lnTo>
                  <a:lnTo>
                    <a:pt x="67" y="19"/>
                  </a:lnTo>
                  <a:lnTo>
                    <a:pt x="62" y="9"/>
                  </a:lnTo>
                  <a:lnTo>
                    <a:pt x="53" y="9"/>
                  </a:lnTo>
                  <a:lnTo>
                    <a:pt x="46" y="9"/>
                  </a:lnTo>
                  <a:lnTo>
                    <a:pt x="46" y="0"/>
                  </a:lnTo>
                  <a:lnTo>
                    <a:pt x="41" y="5"/>
                  </a:lnTo>
                  <a:lnTo>
                    <a:pt x="34" y="4"/>
                  </a:lnTo>
                  <a:lnTo>
                    <a:pt x="31" y="12"/>
                  </a:lnTo>
                  <a:lnTo>
                    <a:pt x="36" y="22"/>
                  </a:lnTo>
                  <a:lnTo>
                    <a:pt x="41" y="34"/>
                  </a:lnTo>
                  <a:lnTo>
                    <a:pt x="43" y="41"/>
                  </a:lnTo>
                  <a:lnTo>
                    <a:pt x="39" y="45"/>
                  </a:lnTo>
                  <a:lnTo>
                    <a:pt x="29" y="46"/>
                  </a:lnTo>
                  <a:lnTo>
                    <a:pt x="20" y="51"/>
                  </a:lnTo>
                  <a:lnTo>
                    <a:pt x="15" y="58"/>
                  </a:lnTo>
                  <a:lnTo>
                    <a:pt x="19" y="68"/>
                  </a:lnTo>
                  <a:lnTo>
                    <a:pt x="19" y="75"/>
                  </a:lnTo>
                  <a:lnTo>
                    <a:pt x="15" y="75"/>
                  </a:lnTo>
                  <a:lnTo>
                    <a:pt x="17" y="80"/>
                  </a:lnTo>
                  <a:lnTo>
                    <a:pt x="9" y="87"/>
                  </a:lnTo>
                  <a:lnTo>
                    <a:pt x="12" y="94"/>
                  </a:lnTo>
                  <a:lnTo>
                    <a:pt x="10" y="99"/>
                  </a:lnTo>
                  <a:lnTo>
                    <a:pt x="2" y="106"/>
                  </a:lnTo>
                  <a:lnTo>
                    <a:pt x="3" y="113"/>
                  </a:lnTo>
                  <a:lnTo>
                    <a:pt x="0" y="116"/>
                  </a:lnTo>
                  <a:lnTo>
                    <a:pt x="9" y="119"/>
                  </a:lnTo>
                  <a:lnTo>
                    <a:pt x="9" y="125"/>
                  </a:lnTo>
                  <a:lnTo>
                    <a:pt x="5" y="129"/>
                  </a:lnTo>
                  <a:lnTo>
                    <a:pt x="0" y="136"/>
                  </a:lnTo>
                  <a:lnTo>
                    <a:pt x="5" y="146"/>
                  </a:lnTo>
                  <a:lnTo>
                    <a:pt x="14" y="141"/>
                  </a:lnTo>
                  <a:lnTo>
                    <a:pt x="26" y="141"/>
                  </a:lnTo>
                  <a:lnTo>
                    <a:pt x="31" y="144"/>
                  </a:lnTo>
                  <a:lnTo>
                    <a:pt x="33" y="153"/>
                  </a:lnTo>
                  <a:lnTo>
                    <a:pt x="36" y="161"/>
                  </a:lnTo>
                  <a:lnTo>
                    <a:pt x="43" y="163"/>
                  </a:lnTo>
                  <a:lnTo>
                    <a:pt x="44" y="168"/>
                  </a:lnTo>
                  <a:lnTo>
                    <a:pt x="48" y="175"/>
                  </a:lnTo>
                  <a:lnTo>
                    <a:pt x="54" y="178"/>
                  </a:lnTo>
                  <a:lnTo>
                    <a:pt x="63" y="178"/>
                  </a:lnTo>
                  <a:lnTo>
                    <a:pt x="73" y="180"/>
                  </a:lnTo>
                  <a:lnTo>
                    <a:pt x="77" y="178"/>
                  </a:lnTo>
                  <a:lnTo>
                    <a:pt x="82" y="171"/>
                  </a:lnTo>
                  <a:lnTo>
                    <a:pt x="87" y="168"/>
                  </a:lnTo>
                  <a:lnTo>
                    <a:pt x="96" y="165"/>
                  </a:lnTo>
                  <a:lnTo>
                    <a:pt x="104" y="165"/>
                  </a:lnTo>
                  <a:lnTo>
                    <a:pt x="111" y="158"/>
                  </a:lnTo>
                  <a:lnTo>
                    <a:pt x="114" y="151"/>
                  </a:lnTo>
                  <a:lnTo>
                    <a:pt x="118" y="148"/>
                  </a:lnTo>
                  <a:lnTo>
                    <a:pt x="126" y="149"/>
                  </a:lnTo>
                  <a:lnTo>
                    <a:pt x="133" y="148"/>
                  </a:lnTo>
                  <a:lnTo>
                    <a:pt x="143" y="146"/>
                  </a:lnTo>
                  <a:lnTo>
                    <a:pt x="152" y="137"/>
                  </a:lnTo>
                </a:path>
              </a:pathLst>
            </a:custGeom>
            <a:solidFill>
              <a:srgbClr val="3397A5"/>
            </a:solidFill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140519" tIns="70257" rIns="140519" bIns="70257" anchor="ctr"/>
            <a:lstStyle/>
            <a:p>
              <a:pPr marL="0" marR="0" lvl="0" indent="0" algn="l" defTabSz="9143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endParaRPr>
            </a:p>
          </p:txBody>
        </p:sp>
        <p:sp>
          <p:nvSpPr>
            <p:cNvPr id="50" name="Freeform 4458"/>
            <p:cNvSpPr>
              <a:spLocks/>
            </p:cNvSpPr>
            <p:nvPr/>
          </p:nvSpPr>
          <p:spPr bwMode="auto">
            <a:xfrm>
              <a:off x="2099295" y="2796932"/>
              <a:ext cx="614176" cy="479129"/>
            </a:xfrm>
            <a:custGeom>
              <a:avLst/>
              <a:gdLst>
                <a:gd name="T0" fmla="*/ 57 w 277"/>
                <a:gd name="T1" fmla="*/ 8 h 262"/>
                <a:gd name="T2" fmla="*/ 50 w 277"/>
                <a:gd name="T3" fmla="*/ 23 h 262"/>
                <a:gd name="T4" fmla="*/ 62 w 277"/>
                <a:gd name="T5" fmla="*/ 30 h 262"/>
                <a:gd name="T6" fmla="*/ 76 w 277"/>
                <a:gd name="T7" fmla="*/ 30 h 262"/>
                <a:gd name="T8" fmla="*/ 84 w 277"/>
                <a:gd name="T9" fmla="*/ 43 h 262"/>
                <a:gd name="T10" fmla="*/ 88 w 277"/>
                <a:gd name="T11" fmla="*/ 52 h 262"/>
                <a:gd name="T12" fmla="*/ 96 w 277"/>
                <a:gd name="T13" fmla="*/ 60 h 262"/>
                <a:gd name="T14" fmla="*/ 103 w 277"/>
                <a:gd name="T15" fmla="*/ 67 h 262"/>
                <a:gd name="T16" fmla="*/ 117 w 277"/>
                <a:gd name="T17" fmla="*/ 67 h 262"/>
                <a:gd name="T18" fmla="*/ 132 w 277"/>
                <a:gd name="T19" fmla="*/ 60 h 262"/>
                <a:gd name="T20" fmla="*/ 144 w 277"/>
                <a:gd name="T21" fmla="*/ 53 h 262"/>
                <a:gd name="T22" fmla="*/ 157 w 277"/>
                <a:gd name="T23" fmla="*/ 50 h 262"/>
                <a:gd name="T24" fmla="*/ 170 w 277"/>
                <a:gd name="T25" fmla="*/ 36 h 262"/>
                <a:gd name="T26" fmla="*/ 180 w 277"/>
                <a:gd name="T27" fmla="*/ 36 h 262"/>
                <a:gd name="T28" fmla="*/ 192 w 277"/>
                <a:gd name="T29" fmla="*/ 33 h 262"/>
                <a:gd name="T30" fmla="*/ 205 w 277"/>
                <a:gd name="T31" fmla="*/ 33 h 262"/>
                <a:gd name="T32" fmla="*/ 199 w 277"/>
                <a:gd name="T33" fmla="*/ 40 h 262"/>
                <a:gd name="T34" fmla="*/ 187 w 277"/>
                <a:gd name="T35" fmla="*/ 45 h 262"/>
                <a:gd name="T36" fmla="*/ 175 w 277"/>
                <a:gd name="T37" fmla="*/ 57 h 262"/>
                <a:gd name="T38" fmla="*/ 176 w 277"/>
                <a:gd name="T39" fmla="*/ 67 h 262"/>
                <a:gd name="T40" fmla="*/ 170 w 277"/>
                <a:gd name="T41" fmla="*/ 74 h 262"/>
                <a:gd name="T42" fmla="*/ 175 w 277"/>
                <a:gd name="T43" fmla="*/ 93 h 262"/>
                <a:gd name="T44" fmla="*/ 175 w 277"/>
                <a:gd name="T45" fmla="*/ 104 h 262"/>
                <a:gd name="T46" fmla="*/ 171 w 277"/>
                <a:gd name="T47" fmla="*/ 129 h 262"/>
                <a:gd name="T48" fmla="*/ 187 w 277"/>
                <a:gd name="T49" fmla="*/ 132 h 262"/>
                <a:gd name="T50" fmla="*/ 210 w 277"/>
                <a:gd name="T51" fmla="*/ 142 h 262"/>
                <a:gd name="T52" fmla="*/ 243 w 277"/>
                <a:gd name="T53" fmla="*/ 169 h 262"/>
                <a:gd name="T54" fmla="*/ 261 w 277"/>
                <a:gd name="T55" fmla="*/ 173 h 262"/>
                <a:gd name="T56" fmla="*/ 274 w 277"/>
                <a:gd name="T57" fmla="*/ 195 h 262"/>
                <a:gd name="T58" fmla="*/ 274 w 277"/>
                <a:gd name="T59" fmla="*/ 209 h 262"/>
                <a:gd name="T60" fmla="*/ 269 w 277"/>
                <a:gd name="T61" fmla="*/ 217 h 262"/>
                <a:gd name="T62" fmla="*/ 262 w 277"/>
                <a:gd name="T63" fmla="*/ 219 h 262"/>
                <a:gd name="T64" fmla="*/ 261 w 277"/>
                <a:gd name="T65" fmla="*/ 234 h 262"/>
                <a:gd name="T66" fmla="*/ 252 w 277"/>
                <a:gd name="T67" fmla="*/ 246 h 262"/>
                <a:gd name="T68" fmla="*/ 248 w 277"/>
                <a:gd name="T69" fmla="*/ 256 h 262"/>
                <a:gd name="T70" fmla="*/ 229 w 277"/>
                <a:gd name="T71" fmla="*/ 261 h 262"/>
                <a:gd name="T72" fmla="*/ 216 w 277"/>
                <a:gd name="T73" fmla="*/ 251 h 262"/>
                <a:gd name="T74" fmla="*/ 193 w 277"/>
                <a:gd name="T75" fmla="*/ 243 h 262"/>
                <a:gd name="T76" fmla="*/ 164 w 277"/>
                <a:gd name="T77" fmla="*/ 246 h 262"/>
                <a:gd name="T78" fmla="*/ 154 w 277"/>
                <a:gd name="T79" fmla="*/ 226 h 262"/>
                <a:gd name="T80" fmla="*/ 129 w 277"/>
                <a:gd name="T81" fmla="*/ 210 h 262"/>
                <a:gd name="T82" fmla="*/ 98 w 277"/>
                <a:gd name="T83" fmla="*/ 185 h 262"/>
                <a:gd name="T84" fmla="*/ 71 w 277"/>
                <a:gd name="T85" fmla="*/ 149 h 262"/>
                <a:gd name="T86" fmla="*/ 52 w 277"/>
                <a:gd name="T87" fmla="*/ 127 h 262"/>
                <a:gd name="T88" fmla="*/ 29 w 277"/>
                <a:gd name="T89" fmla="*/ 98 h 262"/>
                <a:gd name="T90" fmla="*/ 0 w 277"/>
                <a:gd name="T91" fmla="*/ 67 h 262"/>
                <a:gd name="T92" fmla="*/ 17 w 277"/>
                <a:gd name="T93" fmla="*/ 49 h 262"/>
                <a:gd name="T94" fmla="*/ 20 w 277"/>
                <a:gd name="T95" fmla="*/ 30 h 262"/>
                <a:gd name="T96" fmla="*/ 34 w 277"/>
                <a:gd name="T97" fmla="*/ 19 h 262"/>
                <a:gd name="T98" fmla="*/ 34 w 277"/>
                <a:gd name="T99" fmla="*/ 5 h 262"/>
                <a:gd name="T100" fmla="*/ 49 w 277"/>
                <a:gd name="T101" fmla="*/ 5 h 2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77"/>
                <a:gd name="T154" fmla="*/ 0 h 262"/>
                <a:gd name="T155" fmla="*/ 277 w 277"/>
                <a:gd name="T156" fmla="*/ 262 h 2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77" h="262">
                  <a:moveTo>
                    <a:pt x="49" y="5"/>
                  </a:moveTo>
                  <a:lnTo>
                    <a:pt x="57" y="8"/>
                  </a:lnTo>
                  <a:lnTo>
                    <a:pt x="57" y="14"/>
                  </a:lnTo>
                  <a:lnTo>
                    <a:pt x="50" y="23"/>
                  </a:lnTo>
                  <a:lnTo>
                    <a:pt x="55" y="33"/>
                  </a:lnTo>
                  <a:lnTo>
                    <a:pt x="62" y="30"/>
                  </a:lnTo>
                  <a:lnTo>
                    <a:pt x="72" y="30"/>
                  </a:lnTo>
                  <a:lnTo>
                    <a:pt x="76" y="30"/>
                  </a:lnTo>
                  <a:lnTo>
                    <a:pt x="81" y="35"/>
                  </a:lnTo>
                  <a:lnTo>
                    <a:pt x="84" y="43"/>
                  </a:lnTo>
                  <a:lnTo>
                    <a:pt x="84" y="49"/>
                  </a:lnTo>
                  <a:lnTo>
                    <a:pt x="88" y="52"/>
                  </a:lnTo>
                  <a:lnTo>
                    <a:pt x="91" y="52"/>
                  </a:lnTo>
                  <a:lnTo>
                    <a:pt x="96" y="60"/>
                  </a:lnTo>
                  <a:lnTo>
                    <a:pt x="100" y="66"/>
                  </a:lnTo>
                  <a:lnTo>
                    <a:pt x="103" y="67"/>
                  </a:lnTo>
                  <a:lnTo>
                    <a:pt x="113" y="66"/>
                  </a:lnTo>
                  <a:lnTo>
                    <a:pt x="117" y="67"/>
                  </a:lnTo>
                  <a:lnTo>
                    <a:pt x="123" y="67"/>
                  </a:lnTo>
                  <a:lnTo>
                    <a:pt x="132" y="60"/>
                  </a:lnTo>
                  <a:lnTo>
                    <a:pt x="139" y="53"/>
                  </a:lnTo>
                  <a:lnTo>
                    <a:pt x="144" y="53"/>
                  </a:lnTo>
                  <a:lnTo>
                    <a:pt x="153" y="53"/>
                  </a:lnTo>
                  <a:lnTo>
                    <a:pt x="157" y="50"/>
                  </a:lnTo>
                  <a:lnTo>
                    <a:pt x="166" y="36"/>
                  </a:lnTo>
                  <a:lnTo>
                    <a:pt x="170" y="36"/>
                  </a:lnTo>
                  <a:lnTo>
                    <a:pt x="173" y="38"/>
                  </a:lnTo>
                  <a:lnTo>
                    <a:pt x="180" y="36"/>
                  </a:lnTo>
                  <a:lnTo>
                    <a:pt x="188" y="35"/>
                  </a:lnTo>
                  <a:lnTo>
                    <a:pt x="192" y="33"/>
                  </a:lnTo>
                  <a:lnTo>
                    <a:pt x="202" y="28"/>
                  </a:lnTo>
                  <a:lnTo>
                    <a:pt x="205" y="33"/>
                  </a:lnTo>
                  <a:lnTo>
                    <a:pt x="204" y="36"/>
                  </a:lnTo>
                  <a:lnTo>
                    <a:pt x="199" y="40"/>
                  </a:lnTo>
                  <a:lnTo>
                    <a:pt x="195" y="45"/>
                  </a:lnTo>
                  <a:lnTo>
                    <a:pt x="187" y="45"/>
                  </a:lnTo>
                  <a:lnTo>
                    <a:pt x="178" y="50"/>
                  </a:lnTo>
                  <a:lnTo>
                    <a:pt x="175" y="57"/>
                  </a:lnTo>
                  <a:lnTo>
                    <a:pt x="175" y="62"/>
                  </a:lnTo>
                  <a:lnTo>
                    <a:pt x="176" y="67"/>
                  </a:lnTo>
                  <a:lnTo>
                    <a:pt x="171" y="69"/>
                  </a:lnTo>
                  <a:lnTo>
                    <a:pt x="170" y="74"/>
                  </a:lnTo>
                  <a:lnTo>
                    <a:pt x="168" y="81"/>
                  </a:lnTo>
                  <a:lnTo>
                    <a:pt x="175" y="93"/>
                  </a:lnTo>
                  <a:lnTo>
                    <a:pt x="175" y="98"/>
                  </a:lnTo>
                  <a:lnTo>
                    <a:pt x="175" y="104"/>
                  </a:lnTo>
                  <a:lnTo>
                    <a:pt x="171" y="118"/>
                  </a:lnTo>
                  <a:lnTo>
                    <a:pt x="171" y="129"/>
                  </a:lnTo>
                  <a:lnTo>
                    <a:pt x="176" y="134"/>
                  </a:lnTo>
                  <a:lnTo>
                    <a:pt x="187" y="132"/>
                  </a:lnTo>
                  <a:lnTo>
                    <a:pt x="202" y="137"/>
                  </a:lnTo>
                  <a:lnTo>
                    <a:pt x="210" y="142"/>
                  </a:lnTo>
                  <a:lnTo>
                    <a:pt x="223" y="154"/>
                  </a:lnTo>
                  <a:lnTo>
                    <a:pt x="243" y="169"/>
                  </a:lnTo>
                  <a:lnTo>
                    <a:pt x="250" y="169"/>
                  </a:lnTo>
                  <a:lnTo>
                    <a:pt x="261" y="173"/>
                  </a:lnTo>
                  <a:lnTo>
                    <a:pt x="271" y="183"/>
                  </a:lnTo>
                  <a:lnTo>
                    <a:pt x="274" y="195"/>
                  </a:lnTo>
                  <a:lnTo>
                    <a:pt x="276" y="203"/>
                  </a:lnTo>
                  <a:lnTo>
                    <a:pt x="274" y="209"/>
                  </a:lnTo>
                  <a:lnTo>
                    <a:pt x="274" y="214"/>
                  </a:lnTo>
                  <a:lnTo>
                    <a:pt x="269" y="217"/>
                  </a:lnTo>
                  <a:lnTo>
                    <a:pt x="266" y="219"/>
                  </a:lnTo>
                  <a:lnTo>
                    <a:pt x="262" y="219"/>
                  </a:lnTo>
                  <a:lnTo>
                    <a:pt x="261" y="226"/>
                  </a:lnTo>
                  <a:lnTo>
                    <a:pt x="261" y="234"/>
                  </a:lnTo>
                  <a:lnTo>
                    <a:pt x="258" y="241"/>
                  </a:lnTo>
                  <a:lnTo>
                    <a:pt x="252" y="246"/>
                  </a:lnTo>
                  <a:lnTo>
                    <a:pt x="248" y="251"/>
                  </a:lnTo>
                  <a:lnTo>
                    <a:pt x="248" y="256"/>
                  </a:lnTo>
                  <a:lnTo>
                    <a:pt x="241" y="258"/>
                  </a:lnTo>
                  <a:lnTo>
                    <a:pt x="229" y="261"/>
                  </a:lnTo>
                  <a:lnTo>
                    <a:pt x="224" y="258"/>
                  </a:lnTo>
                  <a:lnTo>
                    <a:pt x="216" y="251"/>
                  </a:lnTo>
                  <a:lnTo>
                    <a:pt x="204" y="244"/>
                  </a:lnTo>
                  <a:lnTo>
                    <a:pt x="193" y="243"/>
                  </a:lnTo>
                  <a:lnTo>
                    <a:pt x="178" y="244"/>
                  </a:lnTo>
                  <a:lnTo>
                    <a:pt x="164" y="246"/>
                  </a:lnTo>
                  <a:lnTo>
                    <a:pt x="153" y="233"/>
                  </a:lnTo>
                  <a:lnTo>
                    <a:pt x="154" y="226"/>
                  </a:lnTo>
                  <a:lnTo>
                    <a:pt x="144" y="216"/>
                  </a:lnTo>
                  <a:lnTo>
                    <a:pt x="129" y="210"/>
                  </a:lnTo>
                  <a:lnTo>
                    <a:pt x="115" y="200"/>
                  </a:lnTo>
                  <a:lnTo>
                    <a:pt x="98" y="185"/>
                  </a:lnTo>
                  <a:lnTo>
                    <a:pt x="77" y="163"/>
                  </a:lnTo>
                  <a:lnTo>
                    <a:pt x="71" y="149"/>
                  </a:lnTo>
                  <a:lnTo>
                    <a:pt x="60" y="140"/>
                  </a:lnTo>
                  <a:lnTo>
                    <a:pt x="52" y="127"/>
                  </a:lnTo>
                  <a:lnTo>
                    <a:pt x="42" y="113"/>
                  </a:lnTo>
                  <a:lnTo>
                    <a:pt x="29" y="98"/>
                  </a:lnTo>
                  <a:lnTo>
                    <a:pt x="17" y="83"/>
                  </a:lnTo>
                  <a:lnTo>
                    <a:pt x="0" y="67"/>
                  </a:lnTo>
                  <a:lnTo>
                    <a:pt x="10" y="57"/>
                  </a:lnTo>
                  <a:lnTo>
                    <a:pt x="17" y="49"/>
                  </a:lnTo>
                  <a:lnTo>
                    <a:pt x="20" y="38"/>
                  </a:lnTo>
                  <a:lnTo>
                    <a:pt x="20" y="30"/>
                  </a:lnTo>
                  <a:lnTo>
                    <a:pt x="29" y="26"/>
                  </a:lnTo>
                  <a:lnTo>
                    <a:pt x="34" y="19"/>
                  </a:lnTo>
                  <a:lnTo>
                    <a:pt x="37" y="16"/>
                  </a:lnTo>
                  <a:lnTo>
                    <a:pt x="34" y="5"/>
                  </a:lnTo>
                  <a:lnTo>
                    <a:pt x="39" y="0"/>
                  </a:lnTo>
                  <a:lnTo>
                    <a:pt x="49" y="5"/>
                  </a:lnTo>
                </a:path>
              </a:pathLst>
            </a:custGeom>
            <a:solidFill>
              <a:srgbClr val="3397A5"/>
            </a:solidFill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140519" tIns="70257" rIns="140519" bIns="70257" anchor="ctr"/>
            <a:lstStyle/>
            <a:p>
              <a:pPr marL="0" marR="0" lvl="0" indent="0" algn="l" defTabSz="9143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endParaRPr>
            </a:p>
          </p:txBody>
        </p:sp>
        <p:sp>
          <p:nvSpPr>
            <p:cNvPr id="51" name="Freeform 4559"/>
            <p:cNvSpPr>
              <a:spLocks/>
            </p:cNvSpPr>
            <p:nvPr/>
          </p:nvSpPr>
          <p:spPr bwMode="auto">
            <a:xfrm>
              <a:off x="1624716" y="2131955"/>
              <a:ext cx="816163" cy="409464"/>
            </a:xfrm>
            <a:custGeom>
              <a:avLst/>
              <a:gdLst>
                <a:gd name="T0" fmla="*/ 352 w 368"/>
                <a:gd name="T1" fmla="*/ 181 h 222"/>
                <a:gd name="T2" fmla="*/ 340 w 368"/>
                <a:gd name="T3" fmla="*/ 154 h 222"/>
                <a:gd name="T4" fmla="*/ 328 w 368"/>
                <a:gd name="T5" fmla="*/ 134 h 222"/>
                <a:gd name="T6" fmla="*/ 323 w 368"/>
                <a:gd name="T7" fmla="*/ 119 h 222"/>
                <a:gd name="T8" fmla="*/ 328 w 368"/>
                <a:gd name="T9" fmla="*/ 101 h 222"/>
                <a:gd name="T10" fmla="*/ 326 w 368"/>
                <a:gd name="T11" fmla="*/ 78 h 222"/>
                <a:gd name="T12" fmla="*/ 326 w 368"/>
                <a:gd name="T13" fmla="*/ 65 h 222"/>
                <a:gd name="T14" fmla="*/ 309 w 368"/>
                <a:gd name="T15" fmla="*/ 49 h 222"/>
                <a:gd name="T16" fmla="*/ 291 w 368"/>
                <a:gd name="T17" fmla="*/ 49 h 222"/>
                <a:gd name="T18" fmla="*/ 278 w 368"/>
                <a:gd name="T19" fmla="*/ 56 h 222"/>
                <a:gd name="T20" fmla="*/ 251 w 368"/>
                <a:gd name="T21" fmla="*/ 53 h 222"/>
                <a:gd name="T22" fmla="*/ 230 w 368"/>
                <a:gd name="T23" fmla="*/ 44 h 222"/>
                <a:gd name="T24" fmla="*/ 215 w 368"/>
                <a:gd name="T25" fmla="*/ 42 h 222"/>
                <a:gd name="T26" fmla="*/ 182 w 368"/>
                <a:gd name="T27" fmla="*/ 44 h 222"/>
                <a:gd name="T28" fmla="*/ 162 w 368"/>
                <a:gd name="T29" fmla="*/ 32 h 222"/>
                <a:gd name="T30" fmla="*/ 148 w 368"/>
                <a:gd name="T31" fmla="*/ 39 h 222"/>
                <a:gd name="T32" fmla="*/ 136 w 368"/>
                <a:gd name="T33" fmla="*/ 31 h 222"/>
                <a:gd name="T34" fmla="*/ 116 w 368"/>
                <a:gd name="T35" fmla="*/ 31 h 222"/>
                <a:gd name="T36" fmla="*/ 94 w 368"/>
                <a:gd name="T37" fmla="*/ 15 h 222"/>
                <a:gd name="T38" fmla="*/ 73 w 368"/>
                <a:gd name="T39" fmla="*/ 6 h 222"/>
                <a:gd name="T40" fmla="*/ 55 w 368"/>
                <a:gd name="T41" fmla="*/ 5 h 222"/>
                <a:gd name="T42" fmla="*/ 40 w 368"/>
                <a:gd name="T43" fmla="*/ 0 h 222"/>
                <a:gd name="T44" fmla="*/ 31 w 368"/>
                <a:gd name="T45" fmla="*/ 8 h 222"/>
                <a:gd name="T46" fmla="*/ 28 w 368"/>
                <a:gd name="T47" fmla="*/ 39 h 222"/>
                <a:gd name="T48" fmla="*/ 19 w 368"/>
                <a:gd name="T49" fmla="*/ 56 h 222"/>
                <a:gd name="T50" fmla="*/ 7 w 368"/>
                <a:gd name="T51" fmla="*/ 73 h 222"/>
                <a:gd name="T52" fmla="*/ 9 w 368"/>
                <a:gd name="T53" fmla="*/ 85 h 222"/>
                <a:gd name="T54" fmla="*/ 28 w 368"/>
                <a:gd name="T55" fmla="*/ 89 h 222"/>
                <a:gd name="T56" fmla="*/ 36 w 368"/>
                <a:gd name="T57" fmla="*/ 107 h 222"/>
                <a:gd name="T58" fmla="*/ 53 w 368"/>
                <a:gd name="T59" fmla="*/ 115 h 222"/>
                <a:gd name="T60" fmla="*/ 56 w 368"/>
                <a:gd name="T61" fmla="*/ 136 h 222"/>
                <a:gd name="T62" fmla="*/ 67 w 368"/>
                <a:gd name="T63" fmla="*/ 147 h 222"/>
                <a:gd name="T64" fmla="*/ 76 w 368"/>
                <a:gd name="T65" fmla="*/ 139 h 222"/>
                <a:gd name="T66" fmla="*/ 85 w 368"/>
                <a:gd name="T67" fmla="*/ 125 h 222"/>
                <a:gd name="T68" fmla="*/ 92 w 368"/>
                <a:gd name="T69" fmla="*/ 127 h 222"/>
                <a:gd name="T70" fmla="*/ 112 w 368"/>
                <a:gd name="T71" fmla="*/ 137 h 222"/>
                <a:gd name="T72" fmla="*/ 139 w 368"/>
                <a:gd name="T73" fmla="*/ 142 h 222"/>
                <a:gd name="T74" fmla="*/ 164 w 368"/>
                <a:gd name="T75" fmla="*/ 156 h 222"/>
                <a:gd name="T76" fmla="*/ 179 w 368"/>
                <a:gd name="T77" fmla="*/ 168 h 222"/>
                <a:gd name="T78" fmla="*/ 199 w 368"/>
                <a:gd name="T79" fmla="*/ 168 h 222"/>
                <a:gd name="T80" fmla="*/ 218 w 368"/>
                <a:gd name="T81" fmla="*/ 178 h 222"/>
                <a:gd name="T82" fmla="*/ 235 w 368"/>
                <a:gd name="T83" fmla="*/ 178 h 222"/>
                <a:gd name="T84" fmla="*/ 252 w 368"/>
                <a:gd name="T85" fmla="*/ 178 h 222"/>
                <a:gd name="T86" fmla="*/ 264 w 368"/>
                <a:gd name="T87" fmla="*/ 181 h 222"/>
                <a:gd name="T88" fmla="*/ 265 w 368"/>
                <a:gd name="T89" fmla="*/ 198 h 222"/>
                <a:gd name="T90" fmla="*/ 282 w 368"/>
                <a:gd name="T91" fmla="*/ 204 h 222"/>
                <a:gd name="T92" fmla="*/ 294 w 368"/>
                <a:gd name="T93" fmla="*/ 216 h 222"/>
                <a:gd name="T94" fmla="*/ 306 w 368"/>
                <a:gd name="T95" fmla="*/ 216 h 222"/>
                <a:gd name="T96" fmla="*/ 310 w 368"/>
                <a:gd name="T97" fmla="*/ 200 h 222"/>
                <a:gd name="T98" fmla="*/ 328 w 368"/>
                <a:gd name="T99" fmla="*/ 200 h 222"/>
                <a:gd name="T100" fmla="*/ 345 w 368"/>
                <a:gd name="T101" fmla="*/ 207 h 222"/>
                <a:gd name="T102" fmla="*/ 357 w 368"/>
                <a:gd name="T103" fmla="*/ 212 h 222"/>
                <a:gd name="T104" fmla="*/ 367 w 368"/>
                <a:gd name="T105" fmla="*/ 200 h 22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368"/>
                <a:gd name="T160" fmla="*/ 0 h 222"/>
                <a:gd name="T161" fmla="*/ 368 w 368"/>
                <a:gd name="T162" fmla="*/ 222 h 22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368" h="222">
                  <a:moveTo>
                    <a:pt x="364" y="190"/>
                  </a:moveTo>
                  <a:lnTo>
                    <a:pt x="352" y="181"/>
                  </a:lnTo>
                  <a:lnTo>
                    <a:pt x="347" y="173"/>
                  </a:lnTo>
                  <a:lnTo>
                    <a:pt x="340" y="154"/>
                  </a:lnTo>
                  <a:lnTo>
                    <a:pt x="337" y="147"/>
                  </a:lnTo>
                  <a:lnTo>
                    <a:pt x="328" y="134"/>
                  </a:lnTo>
                  <a:lnTo>
                    <a:pt x="323" y="127"/>
                  </a:lnTo>
                  <a:lnTo>
                    <a:pt x="323" y="119"/>
                  </a:lnTo>
                  <a:lnTo>
                    <a:pt x="330" y="111"/>
                  </a:lnTo>
                  <a:lnTo>
                    <a:pt x="328" y="101"/>
                  </a:lnTo>
                  <a:lnTo>
                    <a:pt x="328" y="87"/>
                  </a:lnTo>
                  <a:lnTo>
                    <a:pt x="326" y="78"/>
                  </a:lnTo>
                  <a:lnTo>
                    <a:pt x="331" y="72"/>
                  </a:lnTo>
                  <a:lnTo>
                    <a:pt x="326" y="65"/>
                  </a:lnTo>
                  <a:lnTo>
                    <a:pt x="318" y="51"/>
                  </a:lnTo>
                  <a:lnTo>
                    <a:pt x="309" y="49"/>
                  </a:lnTo>
                  <a:lnTo>
                    <a:pt x="297" y="46"/>
                  </a:lnTo>
                  <a:lnTo>
                    <a:pt x="291" y="49"/>
                  </a:lnTo>
                  <a:lnTo>
                    <a:pt x="286" y="54"/>
                  </a:lnTo>
                  <a:lnTo>
                    <a:pt x="278" y="56"/>
                  </a:lnTo>
                  <a:lnTo>
                    <a:pt x="272" y="53"/>
                  </a:lnTo>
                  <a:lnTo>
                    <a:pt x="251" y="53"/>
                  </a:lnTo>
                  <a:lnTo>
                    <a:pt x="239" y="48"/>
                  </a:lnTo>
                  <a:lnTo>
                    <a:pt x="230" y="44"/>
                  </a:lnTo>
                  <a:lnTo>
                    <a:pt x="223" y="37"/>
                  </a:lnTo>
                  <a:lnTo>
                    <a:pt x="215" y="42"/>
                  </a:lnTo>
                  <a:lnTo>
                    <a:pt x="199" y="42"/>
                  </a:lnTo>
                  <a:lnTo>
                    <a:pt x="182" y="44"/>
                  </a:lnTo>
                  <a:lnTo>
                    <a:pt x="172" y="42"/>
                  </a:lnTo>
                  <a:lnTo>
                    <a:pt x="162" y="32"/>
                  </a:lnTo>
                  <a:lnTo>
                    <a:pt x="155" y="37"/>
                  </a:lnTo>
                  <a:lnTo>
                    <a:pt x="148" y="39"/>
                  </a:lnTo>
                  <a:lnTo>
                    <a:pt x="139" y="34"/>
                  </a:lnTo>
                  <a:lnTo>
                    <a:pt x="136" y="31"/>
                  </a:lnTo>
                  <a:lnTo>
                    <a:pt x="126" y="32"/>
                  </a:lnTo>
                  <a:lnTo>
                    <a:pt x="116" y="31"/>
                  </a:lnTo>
                  <a:lnTo>
                    <a:pt x="107" y="25"/>
                  </a:lnTo>
                  <a:lnTo>
                    <a:pt x="94" y="15"/>
                  </a:lnTo>
                  <a:lnTo>
                    <a:pt x="81" y="5"/>
                  </a:lnTo>
                  <a:lnTo>
                    <a:pt x="73" y="6"/>
                  </a:lnTo>
                  <a:lnTo>
                    <a:pt x="63" y="10"/>
                  </a:lnTo>
                  <a:lnTo>
                    <a:pt x="55" y="5"/>
                  </a:lnTo>
                  <a:lnTo>
                    <a:pt x="48" y="0"/>
                  </a:lnTo>
                  <a:lnTo>
                    <a:pt x="40" y="0"/>
                  </a:lnTo>
                  <a:lnTo>
                    <a:pt x="33" y="5"/>
                  </a:lnTo>
                  <a:lnTo>
                    <a:pt x="31" y="8"/>
                  </a:lnTo>
                  <a:lnTo>
                    <a:pt x="31" y="24"/>
                  </a:lnTo>
                  <a:lnTo>
                    <a:pt x="28" y="39"/>
                  </a:lnTo>
                  <a:lnTo>
                    <a:pt x="24" y="49"/>
                  </a:lnTo>
                  <a:lnTo>
                    <a:pt x="19" y="56"/>
                  </a:lnTo>
                  <a:lnTo>
                    <a:pt x="14" y="67"/>
                  </a:lnTo>
                  <a:lnTo>
                    <a:pt x="7" y="73"/>
                  </a:lnTo>
                  <a:lnTo>
                    <a:pt x="0" y="78"/>
                  </a:lnTo>
                  <a:lnTo>
                    <a:pt x="9" y="85"/>
                  </a:lnTo>
                  <a:lnTo>
                    <a:pt x="17" y="87"/>
                  </a:lnTo>
                  <a:lnTo>
                    <a:pt x="28" y="89"/>
                  </a:lnTo>
                  <a:lnTo>
                    <a:pt x="26" y="102"/>
                  </a:lnTo>
                  <a:lnTo>
                    <a:pt x="36" y="107"/>
                  </a:lnTo>
                  <a:lnTo>
                    <a:pt x="50" y="112"/>
                  </a:lnTo>
                  <a:lnTo>
                    <a:pt x="53" y="115"/>
                  </a:lnTo>
                  <a:lnTo>
                    <a:pt x="55" y="122"/>
                  </a:lnTo>
                  <a:lnTo>
                    <a:pt x="56" y="136"/>
                  </a:lnTo>
                  <a:lnTo>
                    <a:pt x="59" y="144"/>
                  </a:lnTo>
                  <a:lnTo>
                    <a:pt x="67" y="147"/>
                  </a:lnTo>
                  <a:lnTo>
                    <a:pt x="75" y="145"/>
                  </a:lnTo>
                  <a:lnTo>
                    <a:pt x="76" y="139"/>
                  </a:lnTo>
                  <a:lnTo>
                    <a:pt x="76" y="132"/>
                  </a:lnTo>
                  <a:lnTo>
                    <a:pt x="85" y="125"/>
                  </a:lnTo>
                  <a:lnTo>
                    <a:pt x="88" y="122"/>
                  </a:lnTo>
                  <a:lnTo>
                    <a:pt x="92" y="127"/>
                  </a:lnTo>
                  <a:lnTo>
                    <a:pt x="100" y="134"/>
                  </a:lnTo>
                  <a:lnTo>
                    <a:pt x="112" y="137"/>
                  </a:lnTo>
                  <a:lnTo>
                    <a:pt x="128" y="140"/>
                  </a:lnTo>
                  <a:lnTo>
                    <a:pt x="139" y="142"/>
                  </a:lnTo>
                  <a:lnTo>
                    <a:pt x="155" y="149"/>
                  </a:lnTo>
                  <a:lnTo>
                    <a:pt x="164" y="156"/>
                  </a:lnTo>
                  <a:lnTo>
                    <a:pt x="173" y="166"/>
                  </a:lnTo>
                  <a:lnTo>
                    <a:pt x="179" y="168"/>
                  </a:lnTo>
                  <a:lnTo>
                    <a:pt x="192" y="168"/>
                  </a:lnTo>
                  <a:lnTo>
                    <a:pt x="199" y="168"/>
                  </a:lnTo>
                  <a:lnTo>
                    <a:pt x="209" y="176"/>
                  </a:lnTo>
                  <a:lnTo>
                    <a:pt x="218" y="178"/>
                  </a:lnTo>
                  <a:lnTo>
                    <a:pt x="228" y="176"/>
                  </a:lnTo>
                  <a:lnTo>
                    <a:pt x="235" y="178"/>
                  </a:lnTo>
                  <a:lnTo>
                    <a:pt x="240" y="178"/>
                  </a:lnTo>
                  <a:lnTo>
                    <a:pt x="252" y="178"/>
                  </a:lnTo>
                  <a:lnTo>
                    <a:pt x="256" y="175"/>
                  </a:lnTo>
                  <a:lnTo>
                    <a:pt x="264" y="181"/>
                  </a:lnTo>
                  <a:lnTo>
                    <a:pt x="264" y="188"/>
                  </a:lnTo>
                  <a:lnTo>
                    <a:pt x="265" y="198"/>
                  </a:lnTo>
                  <a:lnTo>
                    <a:pt x="270" y="202"/>
                  </a:lnTo>
                  <a:lnTo>
                    <a:pt x="282" y="204"/>
                  </a:lnTo>
                  <a:lnTo>
                    <a:pt x="289" y="210"/>
                  </a:lnTo>
                  <a:lnTo>
                    <a:pt x="294" y="216"/>
                  </a:lnTo>
                  <a:lnTo>
                    <a:pt x="299" y="221"/>
                  </a:lnTo>
                  <a:lnTo>
                    <a:pt x="306" y="216"/>
                  </a:lnTo>
                  <a:lnTo>
                    <a:pt x="308" y="207"/>
                  </a:lnTo>
                  <a:lnTo>
                    <a:pt x="310" y="200"/>
                  </a:lnTo>
                  <a:lnTo>
                    <a:pt x="319" y="203"/>
                  </a:lnTo>
                  <a:lnTo>
                    <a:pt x="328" y="200"/>
                  </a:lnTo>
                  <a:lnTo>
                    <a:pt x="335" y="200"/>
                  </a:lnTo>
                  <a:lnTo>
                    <a:pt x="345" y="207"/>
                  </a:lnTo>
                  <a:lnTo>
                    <a:pt x="352" y="212"/>
                  </a:lnTo>
                  <a:lnTo>
                    <a:pt x="357" y="212"/>
                  </a:lnTo>
                  <a:lnTo>
                    <a:pt x="364" y="206"/>
                  </a:lnTo>
                  <a:lnTo>
                    <a:pt x="367" y="200"/>
                  </a:lnTo>
                  <a:lnTo>
                    <a:pt x="364" y="190"/>
                  </a:lnTo>
                </a:path>
              </a:pathLst>
            </a:custGeom>
            <a:solidFill>
              <a:srgbClr val="3397A5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27844" tIns="63920" rIns="127844" bIns="63920" anchor="ctr"/>
            <a:lstStyle/>
            <a:p>
              <a:pPr marL="0" marR="0" lvl="0" indent="0" algn="ctr" defTabSz="95882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endParaRPr>
            </a:p>
          </p:txBody>
        </p:sp>
        <p:sp>
          <p:nvSpPr>
            <p:cNvPr id="52" name="Freeform 4660"/>
            <p:cNvSpPr>
              <a:spLocks/>
            </p:cNvSpPr>
            <p:nvPr/>
          </p:nvSpPr>
          <p:spPr bwMode="auto">
            <a:xfrm>
              <a:off x="1205949" y="2260933"/>
              <a:ext cx="633880" cy="204731"/>
            </a:xfrm>
            <a:custGeom>
              <a:avLst/>
              <a:gdLst>
                <a:gd name="T0" fmla="*/ 161 w 286"/>
                <a:gd name="T1" fmla="*/ 0 h 113"/>
                <a:gd name="T2" fmla="*/ 146 w 286"/>
                <a:gd name="T3" fmla="*/ 14 h 113"/>
                <a:gd name="T4" fmla="*/ 129 w 286"/>
                <a:gd name="T5" fmla="*/ 9 h 113"/>
                <a:gd name="T6" fmla="*/ 112 w 286"/>
                <a:gd name="T7" fmla="*/ 14 h 113"/>
                <a:gd name="T8" fmla="*/ 98 w 286"/>
                <a:gd name="T9" fmla="*/ 5 h 113"/>
                <a:gd name="T10" fmla="*/ 76 w 286"/>
                <a:gd name="T11" fmla="*/ 5 h 113"/>
                <a:gd name="T12" fmla="*/ 79 w 286"/>
                <a:gd name="T13" fmla="*/ 14 h 113"/>
                <a:gd name="T14" fmla="*/ 72 w 286"/>
                <a:gd name="T15" fmla="*/ 22 h 113"/>
                <a:gd name="T16" fmla="*/ 66 w 286"/>
                <a:gd name="T17" fmla="*/ 34 h 113"/>
                <a:gd name="T18" fmla="*/ 66 w 286"/>
                <a:gd name="T19" fmla="*/ 47 h 113"/>
                <a:gd name="T20" fmla="*/ 47 w 286"/>
                <a:gd name="T21" fmla="*/ 54 h 113"/>
                <a:gd name="T22" fmla="*/ 20 w 286"/>
                <a:gd name="T23" fmla="*/ 62 h 113"/>
                <a:gd name="T24" fmla="*/ 5 w 286"/>
                <a:gd name="T25" fmla="*/ 76 h 113"/>
                <a:gd name="T26" fmla="*/ 0 w 286"/>
                <a:gd name="T27" fmla="*/ 98 h 113"/>
                <a:gd name="T28" fmla="*/ 15 w 286"/>
                <a:gd name="T29" fmla="*/ 107 h 113"/>
                <a:gd name="T30" fmla="*/ 36 w 286"/>
                <a:gd name="T31" fmla="*/ 112 h 113"/>
                <a:gd name="T32" fmla="*/ 62 w 286"/>
                <a:gd name="T33" fmla="*/ 101 h 113"/>
                <a:gd name="T34" fmla="*/ 72 w 286"/>
                <a:gd name="T35" fmla="*/ 80 h 113"/>
                <a:gd name="T36" fmla="*/ 81 w 286"/>
                <a:gd name="T37" fmla="*/ 64 h 113"/>
                <a:gd name="T38" fmla="*/ 100 w 286"/>
                <a:gd name="T39" fmla="*/ 56 h 113"/>
                <a:gd name="T40" fmla="*/ 125 w 286"/>
                <a:gd name="T41" fmla="*/ 33 h 113"/>
                <a:gd name="T42" fmla="*/ 157 w 286"/>
                <a:gd name="T43" fmla="*/ 36 h 113"/>
                <a:gd name="T44" fmla="*/ 180 w 286"/>
                <a:gd name="T45" fmla="*/ 49 h 113"/>
                <a:gd name="T46" fmla="*/ 207 w 286"/>
                <a:gd name="T47" fmla="*/ 59 h 113"/>
                <a:gd name="T48" fmla="*/ 239 w 286"/>
                <a:gd name="T49" fmla="*/ 84 h 113"/>
                <a:gd name="T50" fmla="*/ 276 w 286"/>
                <a:gd name="T51" fmla="*/ 110 h 113"/>
                <a:gd name="T52" fmla="*/ 285 w 286"/>
                <a:gd name="T53" fmla="*/ 100 h 113"/>
                <a:gd name="T54" fmla="*/ 264 w 286"/>
                <a:gd name="T55" fmla="*/ 79 h 113"/>
                <a:gd name="T56" fmla="*/ 247 w 286"/>
                <a:gd name="T57" fmla="*/ 69 h 113"/>
                <a:gd name="T58" fmla="*/ 242 w 286"/>
                <a:gd name="T59" fmla="*/ 57 h 113"/>
                <a:gd name="T60" fmla="*/ 237 w 286"/>
                <a:gd name="T61" fmla="*/ 42 h 113"/>
                <a:gd name="T62" fmla="*/ 224 w 286"/>
                <a:gd name="T63" fmla="*/ 33 h 113"/>
                <a:gd name="T64" fmla="*/ 210 w 286"/>
                <a:gd name="T65" fmla="*/ 22 h 113"/>
                <a:gd name="T66" fmla="*/ 210 w 286"/>
                <a:gd name="T67" fmla="*/ 12 h 113"/>
                <a:gd name="T68" fmla="*/ 200 w 286"/>
                <a:gd name="T69" fmla="*/ 9 h 113"/>
                <a:gd name="T70" fmla="*/ 186 w 286"/>
                <a:gd name="T71" fmla="*/ 3 h 11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86"/>
                <a:gd name="T109" fmla="*/ 0 h 113"/>
                <a:gd name="T110" fmla="*/ 286 w 286"/>
                <a:gd name="T111" fmla="*/ 113 h 113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86" h="113">
                  <a:moveTo>
                    <a:pt x="186" y="3"/>
                  </a:moveTo>
                  <a:lnTo>
                    <a:pt x="161" y="0"/>
                  </a:lnTo>
                  <a:lnTo>
                    <a:pt x="152" y="14"/>
                  </a:lnTo>
                  <a:lnTo>
                    <a:pt x="146" y="14"/>
                  </a:lnTo>
                  <a:lnTo>
                    <a:pt x="137" y="7"/>
                  </a:lnTo>
                  <a:lnTo>
                    <a:pt x="129" y="9"/>
                  </a:lnTo>
                  <a:lnTo>
                    <a:pt x="120" y="11"/>
                  </a:lnTo>
                  <a:lnTo>
                    <a:pt x="112" y="14"/>
                  </a:lnTo>
                  <a:lnTo>
                    <a:pt x="108" y="12"/>
                  </a:lnTo>
                  <a:lnTo>
                    <a:pt x="98" y="5"/>
                  </a:lnTo>
                  <a:lnTo>
                    <a:pt x="91" y="2"/>
                  </a:lnTo>
                  <a:lnTo>
                    <a:pt x="76" y="5"/>
                  </a:lnTo>
                  <a:lnTo>
                    <a:pt x="76" y="11"/>
                  </a:lnTo>
                  <a:lnTo>
                    <a:pt x="79" y="14"/>
                  </a:lnTo>
                  <a:lnTo>
                    <a:pt x="78" y="21"/>
                  </a:lnTo>
                  <a:lnTo>
                    <a:pt x="72" y="22"/>
                  </a:lnTo>
                  <a:lnTo>
                    <a:pt x="67" y="29"/>
                  </a:lnTo>
                  <a:lnTo>
                    <a:pt x="66" y="34"/>
                  </a:lnTo>
                  <a:lnTo>
                    <a:pt x="67" y="40"/>
                  </a:lnTo>
                  <a:lnTo>
                    <a:pt x="66" y="47"/>
                  </a:lnTo>
                  <a:lnTo>
                    <a:pt x="61" y="50"/>
                  </a:lnTo>
                  <a:lnTo>
                    <a:pt x="47" y="54"/>
                  </a:lnTo>
                  <a:lnTo>
                    <a:pt x="20" y="56"/>
                  </a:lnTo>
                  <a:lnTo>
                    <a:pt x="20" y="62"/>
                  </a:lnTo>
                  <a:lnTo>
                    <a:pt x="12" y="69"/>
                  </a:lnTo>
                  <a:lnTo>
                    <a:pt x="5" y="76"/>
                  </a:lnTo>
                  <a:lnTo>
                    <a:pt x="0" y="84"/>
                  </a:lnTo>
                  <a:lnTo>
                    <a:pt x="0" y="98"/>
                  </a:lnTo>
                  <a:lnTo>
                    <a:pt x="7" y="112"/>
                  </a:lnTo>
                  <a:lnTo>
                    <a:pt x="15" y="107"/>
                  </a:lnTo>
                  <a:lnTo>
                    <a:pt x="27" y="110"/>
                  </a:lnTo>
                  <a:lnTo>
                    <a:pt x="36" y="112"/>
                  </a:lnTo>
                  <a:lnTo>
                    <a:pt x="50" y="108"/>
                  </a:lnTo>
                  <a:lnTo>
                    <a:pt x="62" y="101"/>
                  </a:lnTo>
                  <a:lnTo>
                    <a:pt x="70" y="93"/>
                  </a:lnTo>
                  <a:lnTo>
                    <a:pt x="72" y="80"/>
                  </a:lnTo>
                  <a:lnTo>
                    <a:pt x="74" y="71"/>
                  </a:lnTo>
                  <a:lnTo>
                    <a:pt x="81" y="64"/>
                  </a:lnTo>
                  <a:lnTo>
                    <a:pt x="93" y="59"/>
                  </a:lnTo>
                  <a:lnTo>
                    <a:pt x="100" y="56"/>
                  </a:lnTo>
                  <a:lnTo>
                    <a:pt x="112" y="45"/>
                  </a:lnTo>
                  <a:lnTo>
                    <a:pt x="125" y="33"/>
                  </a:lnTo>
                  <a:lnTo>
                    <a:pt x="147" y="31"/>
                  </a:lnTo>
                  <a:lnTo>
                    <a:pt x="157" y="36"/>
                  </a:lnTo>
                  <a:lnTo>
                    <a:pt x="171" y="45"/>
                  </a:lnTo>
                  <a:lnTo>
                    <a:pt x="180" y="49"/>
                  </a:lnTo>
                  <a:lnTo>
                    <a:pt x="195" y="50"/>
                  </a:lnTo>
                  <a:lnTo>
                    <a:pt x="207" y="59"/>
                  </a:lnTo>
                  <a:lnTo>
                    <a:pt x="224" y="69"/>
                  </a:lnTo>
                  <a:lnTo>
                    <a:pt x="239" y="84"/>
                  </a:lnTo>
                  <a:lnTo>
                    <a:pt x="261" y="103"/>
                  </a:lnTo>
                  <a:lnTo>
                    <a:pt x="276" y="110"/>
                  </a:lnTo>
                  <a:lnTo>
                    <a:pt x="280" y="107"/>
                  </a:lnTo>
                  <a:lnTo>
                    <a:pt x="285" y="100"/>
                  </a:lnTo>
                  <a:lnTo>
                    <a:pt x="278" y="86"/>
                  </a:lnTo>
                  <a:lnTo>
                    <a:pt x="264" y="79"/>
                  </a:lnTo>
                  <a:lnTo>
                    <a:pt x="258" y="70"/>
                  </a:lnTo>
                  <a:lnTo>
                    <a:pt x="247" y="69"/>
                  </a:lnTo>
                  <a:lnTo>
                    <a:pt x="242" y="64"/>
                  </a:lnTo>
                  <a:lnTo>
                    <a:pt x="242" y="57"/>
                  </a:lnTo>
                  <a:lnTo>
                    <a:pt x="241" y="50"/>
                  </a:lnTo>
                  <a:lnTo>
                    <a:pt x="237" y="42"/>
                  </a:lnTo>
                  <a:lnTo>
                    <a:pt x="234" y="38"/>
                  </a:lnTo>
                  <a:lnTo>
                    <a:pt x="224" y="33"/>
                  </a:lnTo>
                  <a:lnTo>
                    <a:pt x="214" y="28"/>
                  </a:lnTo>
                  <a:lnTo>
                    <a:pt x="210" y="22"/>
                  </a:lnTo>
                  <a:lnTo>
                    <a:pt x="212" y="17"/>
                  </a:lnTo>
                  <a:lnTo>
                    <a:pt x="210" y="12"/>
                  </a:lnTo>
                  <a:lnTo>
                    <a:pt x="205" y="12"/>
                  </a:lnTo>
                  <a:lnTo>
                    <a:pt x="200" y="9"/>
                  </a:lnTo>
                  <a:lnTo>
                    <a:pt x="195" y="11"/>
                  </a:lnTo>
                  <a:lnTo>
                    <a:pt x="186" y="3"/>
                  </a:lnTo>
                </a:path>
              </a:pathLst>
            </a:custGeom>
            <a:solidFill>
              <a:srgbClr val="3397A5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27844" tIns="63920" rIns="127844" bIns="63920" anchor="ctr"/>
            <a:lstStyle/>
            <a:p>
              <a:pPr marL="0" marR="0" lvl="0" indent="0" algn="ctr" defTabSz="95882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endParaRPr>
            </a:p>
          </p:txBody>
        </p:sp>
        <p:sp>
          <p:nvSpPr>
            <p:cNvPr id="53" name="Freeform 4761"/>
            <p:cNvSpPr>
              <a:spLocks/>
            </p:cNvSpPr>
            <p:nvPr/>
          </p:nvSpPr>
          <p:spPr bwMode="auto">
            <a:xfrm>
              <a:off x="1112346" y="1851474"/>
              <a:ext cx="249611" cy="164923"/>
            </a:xfrm>
            <a:custGeom>
              <a:avLst/>
              <a:gdLst>
                <a:gd name="T0" fmla="*/ 107 w 114"/>
                <a:gd name="T1" fmla="*/ 5 h 91"/>
                <a:gd name="T2" fmla="*/ 89 w 114"/>
                <a:gd name="T3" fmla="*/ 2 h 91"/>
                <a:gd name="T4" fmla="*/ 81 w 114"/>
                <a:gd name="T5" fmla="*/ 2 h 91"/>
                <a:gd name="T6" fmla="*/ 71 w 114"/>
                <a:gd name="T7" fmla="*/ 14 h 91"/>
                <a:gd name="T8" fmla="*/ 66 w 114"/>
                <a:gd name="T9" fmla="*/ 20 h 91"/>
                <a:gd name="T10" fmla="*/ 58 w 114"/>
                <a:gd name="T11" fmla="*/ 22 h 91"/>
                <a:gd name="T12" fmla="*/ 46 w 114"/>
                <a:gd name="T13" fmla="*/ 17 h 91"/>
                <a:gd name="T14" fmla="*/ 39 w 114"/>
                <a:gd name="T15" fmla="*/ 12 h 91"/>
                <a:gd name="T16" fmla="*/ 29 w 114"/>
                <a:gd name="T17" fmla="*/ 3 h 91"/>
                <a:gd name="T18" fmla="*/ 24 w 114"/>
                <a:gd name="T19" fmla="*/ 0 h 91"/>
                <a:gd name="T20" fmla="*/ 15 w 114"/>
                <a:gd name="T21" fmla="*/ 8 h 91"/>
                <a:gd name="T22" fmla="*/ 8 w 114"/>
                <a:gd name="T23" fmla="*/ 17 h 91"/>
                <a:gd name="T24" fmla="*/ 0 w 114"/>
                <a:gd name="T25" fmla="*/ 26 h 91"/>
                <a:gd name="T26" fmla="*/ 6 w 114"/>
                <a:gd name="T27" fmla="*/ 41 h 91"/>
                <a:gd name="T28" fmla="*/ 13 w 114"/>
                <a:gd name="T29" fmla="*/ 51 h 91"/>
                <a:gd name="T30" fmla="*/ 15 w 114"/>
                <a:gd name="T31" fmla="*/ 56 h 91"/>
                <a:gd name="T32" fmla="*/ 10 w 114"/>
                <a:gd name="T33" fmla="*/ 65 h 91"/>
                <a:gd name="T34" fmla="*/ 12 w 114"/>
                <a:gd name="T35" fmla="*/ 75 h 91"/>
                <a:gd name="T36" fmla="*/ 12 w 114"/>
                <a:gd name="T37" fmla="*/ 85 h 91"/>
                <a:gd name="T38" fmla="*/ 15 w 114"/>
                <a:gd name="T39" fmla="*/ 90 h 91"/>
                <a:gd name="T40" fmla="*/ 22 w 114"/>
                <a:gd name="T41" fmla="*/ 82 h 91"/>
                <a:gd name="T42" fmla="*/ 34 w 114"/>
                <a:gd name="T43" fmla="*/ 78 h 91"/>
                <a:gd name="T44" fmla="*/ 39 w 114"/>
                <a:gd name="T45" fmla="*/ 75 h 91"/>
                <a:gd name="T46" fmla="*/ 48 w 114"/>
                <a:gd name="T47" fmla="*/ 77 h 91"/>
                <a:gd name="T48" fmla="*/ 58 w 114"/>
                <a:gd name="T49" fmla="*/ 75 h 91"/>
                <a:gd name="T50" fmla="*/ 66 w 114"/>
                <a:gd name="T51" fmla="*/ 77 h 91"/>
                <a:gd name="T52" fmla="*/ 76 w 114"/>
                <a:gd name="T53" fmla="*/ 78 h 91"/>
                <a:gd name="T54" fmla="*/ 83 w 114"/>
                <a:gd name="T55" fmla="*/ 75 h 91"/>
                <a:gd name="T56" fmla="*/ 94 w 114"/>
                <a:gd name="T57" fmla="*/ 71 h 91"/>
                <a:gd name="T58" fmla="*/ 98 w 114"/>
                <a:gd name="T59" fmla="*/ 63 h 91"/>
                <a:gd name="T60" fmla="*/ 101 w 114"/>
                <a:gd name="T61" fmla="*/ 58 h 91"/>
                <a:gd name="T62" fmla="*/ 107 w 114"/>
                <a:gd name="T63" fmla="*/ 60 h 91"/>
                <a:gd name="T64" fmla="*/ 113 w 114"/>
                <a:gd name="T65" fmla="*/ 58 h 91"/>
                <a:gd name="T66" fmla="*/ 111 w 114"/>
                <a:gd name="T67" fmla="*/ 51 h 91"/>
                <a:gd name="T68" fmla="*/ 111 w 114"/>
                <a:gd name="T69" fmla="*/ 37 h 91"/>
                <a:gd name="T70" fmla="*/ 108 w 114"/>
                <a:gd name="T71" fmla="*/ 32 h 91"/>
                <a:gd name="T72" fmla="*/ 108 w 114"/>
                <a:gd name="T73" fmla="*/ 22 h 91"/>
                <a:gd name="T74" fmla="*/ 107 w 114"/>
                <a:gd name="T75" fmla="*/ 15 h 91"/>
                <a:gd name="T76" fmla="*/ 107 w 114"/>
                <a:gd name="T77" fmla="*/ 5 h 9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14"/>
                <a:gd name="T118" fmla="*/ 0 h 91"/>
                <a:gd name="T119" fmla="*/ 114 w 114"/>
                <a:gd name="T120" fmla="*/ 91 h 9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14" h="91">
                  <a:moveTo>
                    <a:pt x="107" y="5"/>
                  </a:moveTo>
                  <a:lnTo>
                    <a:pt x="89" y="2"/>
                  </a:lnTo>
                  <a:lnTo>
                    <a:pt x="81" y="2"/>
                  </a:lnTo>
                  <a:lnTo>
                    <a:pt x="71" y="14"/>
                  </a:lnTo>
                  <a:lnTo>
                    <a:pt x="66" y="20"/>
                  </a:lnTo>
                  <a:lnTo>
                    <a:pt x="58" y="22"/>
                  </a:lnTo>
                  <a:lnTo>
                    <a:pt x="46" y="17"/>
                  </a:lnTo>
                  <a:lnTo>
                    <a:pt x="39" y="12"/>
                  </a:lnTo>
                  <a:lnTo>
                    <a:pt x="29" y="3"/>
                  </a:lnTo>
                  <a:lnTo>
                    <a:pt x="24" y="0"/>
                  </a:lnTo>
                  <a:lnTo>
                    <a:pt x="15" y="8"/>
                  </a:lnTo>
                  <a:lnTo>
                    <a:pt x="8" y="17"/>
                  </a:lnTo>
                  <a:lnTo>
                    <a:pt x="0" y="26"/>
                  </a:lnTo>
                  <a:lnTo>
                    <a:pt x="6" y="41"/>
                  </a:lnTo>
                  <a:lnTo>
                    <a:pt x="13" y="51"/>
                  </a:lnTo>
                  <a:lnTo>
                    <a:pt x="15" y="56"/>
                  </a:lnTo>
                  <a:lnTo>
                    <a:pt x="10" y="65"/>
                  </a:lnTo>
                  <a:lnTo>
                    <a:pt x="12" y="75"/>
                  </a:lnTo>
                  <a:lnTo>
                    <a:pt x="12" y="85"/>
                  </a:lnTo>
                  <a:lnTo>
                    <a:pt x="15" y="90"/>
                  </a:lnTo>
                  <a:lnTo>
                    <a:pt x="22" y="82"/>
                  </a:lnTo>
                  <a:lnTo>
                    <a:pt x="34" y="78"/>
                  </a:lnTo>
                  <a:lnTo>
                    <a:pt x="39" y="75"/>
                  </a:lnTo>
                  <a:lnTo>
                    <a:pt x="48" y="77"/>
                  </a:lnTo>
                  <a:lnTo>
                    <a:pt x="58" y="75"/>
                  </a:lnTo>
                  <a:lnTo>
                    <a:pt x="66" y="77"/>
                  </a:lnTo>
                  <a:lnTo>
                    <a:pt x="76" y="78"/>
                  </a:lnTo>
                  <a:lnTo>
                    <a:pt x="83" y="75"/>
                  </a:lnTo>
                  <a:lnTo>
                    <a:pt x="94" y="71"/>
                  </a:lnTo>
                  <a:lnTo>
                    <a:pt x="98" y="63"/>
                  </a:lnTo>
                  <a:lnTo>
                    <a:pt x="101" y="58"/>
                  </a:lnTo>
                  <a:lnTo>
                    <a:pt x="107" y="60"/>
                  </a:lnTo>
                  <a:lnTo>
                    <a:pt x="113" y="58"/>
                  </a:lnTo>
                  <a:lnTo>
                    <a:pt x="111" y="51"/>
                  </a:lnTo>
                  <a:lnTo>
                    <a:pt x="111" y="37"/>
                  </a:lnTo>
                  <a:lnTo>
                    <a:pt x="108" y="32"/>
                  </a:lnTo>
                  <a:lnTo>
                    <a:pt x="108" y="22"/>
                  </a:lnTo>
                  <a:lnTo>
                    <a:pt x="107" y="15"/>
                  </a:lnTo>
                  <a:lnTo>
                    <a:pt x="107" y="5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140519" tIns="70257" rIns="140519" bIns="70257" anchor="ctr"/>
            <a:lstStyle/>
            <a:p>
              <a:pPr marL="0" marR="0" lvl="0" indent="0" algn="l" defTabSz="9143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endParaRPr>
            </a:p>
          </p:txBody>
        </p:sp>
        <p:sp>
          <p:nvSpPr>
            <p:cNvPr id="54" name="Freeform 4862"/>
            <p:cNvSpPr>
              <a:spLocks/>
            </p:cNvSpPr>
            <p:nvPr/>
          </p:nvSpPr>
          <p:spPr bwMode="auto">
            <a:xfrm>
              <a:off x="1051588" y="1733465"/>
              <a:ext cx="587900" cy="636943"/>
            </a:xfrm>
            <a:custGeom>
              <a:avLst/>
              <a:gdLst>
                <a:gd name="T0" fmla="*/ 147 w 266"/>
                <a:gd name="T1" fmla="*/ 61 h 348"/>
                <a:gd name="T2" fmla="*/ 163 w 266"/>
                <a:gd name="T3" fmla="*/ 44 h 348"/>
                <a:gd name="T4" fmla="*/ 161 w 266"/>
                <a:gd name="T5" fmla="*/ 22 h 348"/>
                <a:gd name="T6" fmla="*/ 188 w 266"/>
                <a:gd name="T7" fmla="*/ 12 h 348"/>
                <a:gd name="T8" fmla="*/ 205 w 266"/>
                <a:gd name="T9" fmla="*/ 0 h 348"/>
                <a:gd name="T10" fmla="*/ 209 w 266"/>
                <a:gd name="T11" fmla="*/ 22 h 348"/>
                <a:gd name="T12" fmla="*/ 226 w 266"/>
                <a:gd name="T13" fmla="*/ 49 h 348"/>
                <a:gd name="T14" fmla="*/ 222 w 266"/>
                <a:gd name="T15" fmla="*/ 72 h 348"/>
                <a:gd name="T16" fmla="*/ 209 w 266"/>
                <a:gd name="T17" fmla="*/ 81 h 348"/>
                <a:gd name="T18" fmla="*/ 200 w 266"/>
                <a:gd name="T19" fmla="*/ 86 h 348"/>
                <a:gd name="T20" fmla="*/ 202 w 266"/>
                <a:gd name="T21" fmla="*/ 115 h 348"/>
                <a:gd name="T22" fmla="*/ 212 w 266"/>
                <a:gd name="T23" fmla="*/ 135 h 348"/>
                <a:gd name="T24" fmla="*/ 222 w 266"/>
                <a:gd name="T25" fmla="*/ 159 h 348"/>
                <a:gd name="T26" fmla="*/ 226 w 266"/>
                <a:gd name="T27" fmla="*/ 171 h 348"/>
                <a:gd name="T28" fmla="*/ 219 w 266"/>
                <a:gd name="T29" fmla="*/ 178 h 348"/>
                <a:gd name="T30" fmla="*/ 200 w 266"/>
                <a:gd name="T31" fmla="*/ 171 h 348"/>
                <a:gd name="T32" fmla="*/ 190 w 266"/>
                <a:gd name="T33" fmla="*/ 183 h 348"/>
                <a:gd name="T34" fmla="*/ 197 w 266"/>
                <a:gd name="T35" fmla="*/ 212 h 348"/>
                <a:gd name="T36" fmla="*/ 207 w 266"/>
                <a:gd name="T37" fmla="*/ 221 h 348"/>
                <a:gd name="T38" fmla="*/ 229 w 266"/>
                <a:gd name="T39" fmla="*/ 217 h 348"/>
                <a:gd name="T40" fmla="*/ 248 w 266"/>
                <a:gd name="T41" fmla="*/ 248 h 348"/>
                <a:gd name="T42" fmla="*/ 260 w 266"/>
                <a:gd name="T43" fmla="*/ 263 h 348"/>
                <a:gd name="T44" fmla="*/ 265 w 266"/>
                <a:gd name="T45" fmla="*/ 284 h 348"/>
                <a:gd name="T46" fmla="*/ 258 w 266"/>
                <a:gd name="T47" fmla="*/ 295 h 348"/>
                <a:gd name="T48" fmla="*/ 227 w 266"/>
                <a:gd name="T49" fmla="*/ 294 h 348"/>
                <a:gd name="T50" fmla="*/ 214 w 266"/>
                <a:gd name="T51" fmla="*/ 306 h 348"/>
                <a:gd name="T52" fmla="*/ 202 w 266"/>
                <a:gd name="T53" fmla="*/ 301 h 348"/>
                <a:gd name="T54" fmla="*/ 190 w 266"/>
                <a:gd name="T55" fmla="*/ 304 h 348"/>
                <a:gd name="T56" fmla="*/ 173 w 266"/>
                <a:gd name="T57" fmla="*/ 299 h 348"/>
                <a:gd name="T58" fmla="*/ 157 w 266"/>
                <a:gd name="T59" fmla="*/ 292 h 348"/>
                <a:gd name="T60" fmla="*/ 146 w 266"/>
                <a:gd name="T61" fmla="*/ 299 h 348"/>
                <a:gd name="T62" fmla="*/ 149 w 266"/>
                <a:gd name="T63" fmla="*/ 306 h 348"/>
                <a:gd name="T64" fmla="*/ 139 w 266"/>
                <a:gd name="T65" fmla="*/ 316 h 348"/>
                <a:gd name="T66" fmla="*/ 135 w 266"/>
                <a:gd name="T67" fmla="*/ 329 h 348"/>
                <a:gd name="T68" fmla="*/ 132 w 266"/>
                <a:gd name="T69" fmla="*/ 341 h 348"/>
                <a:gd name="T70" fmla="*/ 104 w 266"/>
                <a:gd name="T71" fmla="*/ 345 h 348"/>
                <a:gd name="T72" fmla="*/ 85 w 266"/>
                <a:gd name="T73" fmla="*/ 339 h 348"/>
                <a:gd name="T74" fmla="*/ 68 w 266"/>
                <a:gd name="T75" fmla="*/ 326 h 348"/>
                <a:gd name="T76" fmla="*/ 58 w 266"/>
                <a:gd name="T77" fmla="*/ 334 h 348"/>
                <a:gd name="T78" fmla="*/ 49 w 266"/>
                <a:gd name="T79" fmla="*/ 342 h 348"/>
                <a:gd name="T80" fmla="*/ 36 w 266"/>
                <a:gd name="T81" fmla="*/ 329 h 348"/>
                <a:gd name="T82" fmla="*/ 20 w 266"/>
                <a:gd name="T83" fmla="*/ 314 h 348"/>
                <a:gd name="T84" fmla="*/ 14 w 266"/>
                <a:gd name="T85" fmla="*/ 292 h 348"/>
                <a:gd name="T86" fmla="*/ 10 w 266"/>
                <a:gd name="T87" fmla="*/ 280 h 348"/>
                <a:gd name="T88" fmla="*/ 24 w 266"/>
                <a:gd name="T89" fmla="*/ 265 h 348"/>
                <a:gd name="T90" fmla="*/ 31 w 266"/>
                <a:gd name="T91" fmla="*/ 246 h 348"/>
                <a:gd name="T92" fmla="*/ 32 w 266"/>
                <a:gd name="T93" fmla="*/ 231 h 348"/>
                <a:gd name="T94" fmla="*/ 12 w 266"/>
                <a:gd name="T95" fmla="*/ 210 h 348"/>
                <a:gd name="T96" fmla="*/ 0 w 266"/>
                <a:gd name="T97" fmla="*/ 196 h 348"/>
                <a:gd name="T98" fmla="*/ 17 w 266"/>
                <a:gd name="T99" fmla="*/ 187 h 348"/>
                <a:gd name="T100" fmla="*/ 26 w 266"/>
                <a:gd name="T101" fmla="*/ 176 h 348"/>
                <a:gd name="T102" fmla="*/ 41 w 266"/>
                <a:gd name="T103" fmla="*/ 166 h 348"/>
                <a:gd name="T104" fmla="*/ 46 w 266"/>
                <a:gd name="T105" fmla="*/ 154 h 348"/>
                <a:gd name="T106" fmla="*/ 65 w 266"/>
                <a:gd name="T107" fmla="*/ 143 h 348"/>
                <a:gd name="T108" fmla="*/ 80 w 266"/>
                <a:gd name="T109" fmla="*/ 140 h 348"/>
                <a:gd name="T110" fmla="*/ 104 w 266"/>
                <a:gd name="T111" fmla="*/ 143 h 348"/>
                <a:gd name="T112" fmla="*/ 125 w 266"/>
                <a:gd name="T113" fmla="*/ 135 h 348"/>
                <a:gd name="T114" fmla="*/ 127 w 266"/>
                <a:gd name="T115" fmla="*/ 128 h 348"/>
                <a:gd name="T116" fmla="*/ 137 w 266"/>
                <a:gd name="T117" fmla="*/ 125 h 348"/>
                <a:gd name="T118" fmla="*/ 140 w 266"/>
                <a:gd name="T119" fmla="*/ 100 h 348"/>
                <a:gd name="T120" fmla="*/ 137 w 266"/>
                <a:gd name="T121" fmla="*/ 82 h 34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66"/>
                <a:gd name="T184" fmla="*/ 0 h 348"/>
                <a:gd name="T185" fmla="*/ 266 w 266"/>
                <a:gd name="T186" fmla="*/ 348 h 34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66" h="348">
                  <a:moveTo>
                    <a:pt x="137" y="69"/>
                  </a:moveTo>
                  <a:lnTo>
                    <a:pt x="147" y="61"/>
                  </a:lnTo>
                  <a:lnTo>
                    <a:pt x="159" y="49"/>
                  </a:lnTo>
                  <a:lnTo>
                    <a:pt x="163" y="44"/>
                  </a:lnTo>
                  <a:lnTo>
                    <a:pt x="159" y="27"/>
                  </a:lnTo>
                  <a:lnTo>
                    <a:pt x="161" y="22"/>
                  </a:lnTo>
                  <a:lnTo>
                    <a:pt x="180" y="13"/>
                  </a:lnTo>
                  <a:lnTo>
                    <a:pt x="188" y="12"/>
                  </a:lnTo>
                  <a:lnTo>
                    <a:pt x="199" y="0"/>
                  </a:lnTo>
                  <a:lnTo>
                    <a:pt x="205" y="0"/>
                  </a:lnTo>
                  <a:lnTo>
                    <a:pt x="207" y="8"/>
                  </a:lnTo>
                  <a:lnTo>
                    <a:pt x="209" y="22"/>
                  </a:lnTo>
                  <a:lnTo>
                    <a:pt x="219" y="37"/>
                  </a:lnTo>
                  <a:lnTo>
                    <a:pt x="226" y="49"/>
                  </a:lnTo>
                  <a:lnTo>
                    <a:pt x="226" y="61"/>
                  </a:lnTo>
                  <a:lnTo>
                    <a:pt x="222" y="72"/>
                  </a:lnTo>
                  <a:lnTo>
                    <a:pt x="214" y="81"/>
                  </a:lnTo>
                  <a:lnTo>
                    <a:pt x="209" y="81"/>
                  </a:lnTo>
                  <a:lnTo>
                    <a:pt x="203" y="81"/>
                  </a:lnTo>
                  <a:lnTo>
                    <a:pt x="200" y="86"/>
                  </a:lnTo>
                  <a:lnTo>
                    <a:pt x="203" y="96"/>
                  </a:lnTo>
                  <a:lnTo>
                    <a:pt x="202" y="115"/>
                  </a:lnTo>
                  <a:lnTo>
                    <a:pt x="210" y="123"/>
                  </a:lnTo>
                  <a:lnTo>
                    <a:pt x="212" y="135"/>
                  </a:lnTo>
                  <a:lnTo>
                    <a:pt x="217" y="151"/>
                  </a:lnTo>
                  <a:lnTo>
                    <a:pt x="222" y="159"/>
                  </a:lnTo>
                  <a:lnTo>
                    <a:pt x="227" y="164"/>
                  </a:lnTo>
                  <a:lnTo>
                    <a:pt x="226" y="171"/>
                  </a:lnTo>
                  <a:lnTo>
                    <a:pt x="222" y="176"/>
                  </a:lnTo>
                  <a:lnTo>
                    <a:pt x="219" y="178"/>
                  </a:lnTo>
                  <a:lnTo>
                    <a:pt x="210" y="171"/>
                  </a:lnTo>
                  <a:lnTo>
                    <a:pt x="200" y="171"/>
                  </a:lnTo>
                  <a:lnTo>
                    <a:pt x="193" y="176"/>
                  </a:lnTo>
                  <a:lnTo>
                    <a:pt x="190" y="183"/>
                  </a:lnTo>
                  <a:lnTo>
                    <a:pt x="197" y="191"/>
                  </a:lnTo>
                  <a:lnTo>
                    <a:pt x="197" y="212"/>
                  </a:lnTo>
                  <a:lnTo>
                    <a:pt x="202" y="219"/>
                  </a:lnTo>
                  <a:lnTo>
                    <a:pt x="207" y="221"/>
                  </a:lnTo>
                  <a:lnTo>
                    <a:pt x="217" y="219"/>
                  </a:lnTo>
                  <a:lnTo>
                    <a:pt x="229" y="217"/>
                  </a:lnTo>
                  <a:lnTo>
                    <a:pt x="237" y="236"/>
                  </a:lnTo>
                  <a:lnTo>
                    <a:pt x="248" y="248"/>
                  </a:lnTo>
                  <a:lnTo>
                    <a:pt x="254" y="256"/>
                  </a:lnTo>
                  <a:lnTo>
                    <a:pt x="260" y="263"/>
                  </a:lnTo>
                  <a:lnTo>
                    <a:pt x="260" y="277"/>
                  </a:lnTo>
                  <a:lnTo>
                    <a:pt x="265" y="284"/>
                  </a:lnTo>
                  <a:lnTo>
                    <a:pt x="265" y="287"/>
                  </a:lnTo>
                  <a:lnTo>
                    <a:pt x="258" y="295"/>
                  </a:lnTo>
                  <a:lnTo>
                    <a:pt x="231" y="292"/>
                  </a:lnTo>
                  <a:lnTo>
                    <a:pt x="227" y="294"/>
                  </a:lnTo>
                  <a:lnTo>
                    <a:pt x="222" y="304"/>
                  </a:lnTo>
                  <a:lnTo>
                    <a:pt x="214" y="306"/>
                  </a:lnTo>
                  <a:lnTo>
                    <a:pt x="203" y="297"/>
                  </a:lnTo>
                  <a:lnTo>
                    <a:pt x="202" y="301"/>
                  </a:lnTo>
                  <a:lnTo>
                    <a:pt x="195" y="301"/>
                  </a:lnTo>
                  <a:lnTo>
                    <a:pt x="190" y="304"/>
                  </a:lnTo>
                  <a:lnTo>
                    <a:pt x="180" y="304"/>
                  </a:lnTo>
                  <a:lnTo>
                    <a:pt x="173" y="299"/>
                  </a:lnTo>
                  <a:lnTo>
                    <a:pt x="163" y="295"/>
                  </a:lnTo>
                  <a:lnTo>
                    <a:pt x="157" y="292"/>
                  </a:lnTo>
                  <a:lnTo>
                    <a:pt x="151" y="295"/>
                  </a:lnTo>
                  <a:lnTo>
                    <a:pt x="146" y="299"/>
                  </a:lnTo>
                  <a:lnTo>
                    <a:pt x="147" y="302"/>
                  </a:lnTo>
                  <a:lnTo>
                    <a:pt x="149" y="306"/>
                  </a:lnTo>
                  <a:lnTo>
                    <a:pt x="147" y="311"/>
                  </a:lnTo>
                  <a:lnTo>
                    <a:pt x="139" y="316"/>
                  </a:lnTo>
                  <a:lnTo>
                    <a:pt x="135" y="321"/>
                  </a:lnTo>
                  <a:lnTo>
                    <a:pt x="135" y="329"/>
                  </a:lnTo>
                  <a:lnTo>
                    <a:pt x="135" y="336"/>
                  </a:lnTo>
                  <a:lnTo>
                    <a:pt x="132" y="341"/>
                  </a:lnTo>
                  <a:lnTo>
                    <a:pt x="123" y="344"/>
                  </a:lnTo>
                  <a:lnTo>
                    <a:pt x="104" y="345"/>
                  </a:lnTo>
                  <a:lnTo>
                    <a:pt x="90" y="347"/>
                  </a:lnTo>
                  <a:lnTo>
                    <a:pt x="85" y="339"/>
                  </a:lnTo>
                  <a:lnTo>
                    <a:pt x="77" y="332"/>
                  </a:lnTo>
                  <a:lnTo>
                    <a:pt x="68" y="326"/>
                  </a:lnTo>
                  <a:lnTo>
                    <a:pt x="65" y="329"/>
                  </a:lnTo>
                  <a:lnTo>
                    <a:pt x="58" y="334"/>
                  </a:lnTo>
                  <a:lnTo>
                    <a:pt x="53" y="339"/>
                  </a:lnTo>
                  <a:lnTo>
                    <a:pt x="49" y="342"/>
                  </a:lnTo>
                  <a:lnTo>
                    <a:pt x="44" y="336"/>
                  </a:lnTo>
                  <a:lnTo>
                    <a:pt x="36" y="329"/>
                  </a:lnTo>
                  <a:lnTo>
                    <a:pt x="26" y="326"/>
                  </a:lnTo>
                  <a:lnTo>
                    <a:pt x="20" y="314"/>
                  </a:lnTo>
                  <a:lnTo>
                    <a:pt x="17" y="301"/>
                  </a:lnTo>
                  <a:lnTo>
                    <a:pt x="14" y="292"/>
                  </a:lnTo>
                  <a:lnTo>
                    <a:pt x="10" y="287"/>
                  </a:lnTo>
                  <a:lnTo>
                    <a:pt x="10" y="280"/>
                  </a:lnTo>
                  <a:lnTo>
                    <a:pt x="14" y="272"/>
                  </a:lnTo>
                  <a:lnTo>
                    <a:pt x="24" y="265"/>
                  </a:lnTo>
                  <a:lnTo>
                    <a:pt x="29" y="255"/>
                  </a:lnTo>
                  <a:lnTo>
                    <a:pt x="31" y="246"/>
                  </a:lnTo>
                  <a:lnTo>
                    <a:pt x="34" y="238"/>
                  </a:lnTo>
                  <a:lnTo>
                    <a:pt x="32" y="231"/>
                  </a:lnTo>
                  <a:lnTo>
                    <a:pt x="24" y="222"/>
                  </a:lnTo>
                  <a:lnTo>
                    <a:pt x="12" y="210"/>
                  </a:lnTo>
                  <a:lnTo>
                    <a:pt x="3" y="204"/>
                  </a:lnTo>
                  <a:lnTo>
                    <a:pt x="0" y="196"/>
                  </a:lnTo>
                  <a:lnTo>
                    <a:pt x="2" y="191"/>
                  </a:lnTo>
                  <a:lnTo>
                    <a:pt x="17" y="187"/>
                  </a:lnTo>
                  <a:lnTo>
                    <a:pt x="26" y="187"/>
                  </a:lnTo>
                  <a:lnTo>
                    <a:pt x="26" y="176"/>
                  </a:lnTo>
                  <a:lnTo>
                    <a:pt x="31" y="171"/>
                  </a:lnTo>
                  <a:lnTo>
                    <a:pt x="41" y="166"/>
                  </a:lnTo>
                  <a:lnTo>
                    <a:pt x="43" y="161"/>
                  </a:lnTo>
                  <a:lnTo>
                    <a:pt x="46" y="154"/>
                  </a:lnTo>
                  <a:lnTo>
                    <a:pt x="53" y="145"/>
                  </a:lnTo>
                  <a:lnTo>
                    <a:pt x="65" y="143"/>
                  </a:lnTo>
                  <a:lnTo>
                    <a:pt x="68" y="140"/>
                  </a:lnTo>
                  <a:lnTo>
                    <a:pt x="80" y="140"/>
                  </a:lnTo>
                  <a:lnTo>
                    <a:pt x="88" y="140"/>
                  </a:lnTo>
                  <a:lnTo>
                    <a:pt x="104" y="143"/>
                  </a:lnTo>
                  <a:lnTo>
                    <a:pt x="115" y="139"/>
                  </a:lnTo>
                  <a:lnTo>
                    <a:pt x="125" y="135"/>
                  </a:lnTo>
                  <a:lnTo>
                    <a:pt x="129" y="135"/>
                  </a:lnTo>
                  <a:lnTo>
                    <a:pt x="127" y="128"/>
                  </a:lnTo>
                  <a:lnTo>
                    <a:pt x="132" y="122"/>
                  </a:lnTo>
                  <a:lnTo>
                    <a:pt x="137" y="125"/>
                  </a:lnTo>
                  <a:lnTo>
                    <a:pt x="144" y="122"/>
                  </a:lnTo>
                  <a:lnTo>
                    <a:pt x="140" y="100"/>
                  </a:lnTo>
                  <a:lnTo>
                    <a:pt x="137" y="98"/>
                  </a:lnTo>
                  <a:lnTo>
                    <a:pt x="137" y="82"/>
                  </a:lnTo>
                  <a:lnTo>
                    <a:pt x="137" y="69"/>
                  </a:lnTo>
                </a:path>
              </a:pathLst>
            </a:custGeom>
            <a:solidFill>
              <a:srgbClr val="3397A5"/>
            </a:solidFill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140519" tIns="70257" rIns="140519" bIns="70257" anchor="ctr"/>
            <a:lstStyle/>
            <a:p>
              <a:pPr marL="0" marR="0" lvl="0" indent="0" algn="l" defTabSz="9143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800" b="0" i="0" u="none" strike="noStrike" kern="0" cap="none" spc="0" normalizeH="0" baseline="0" noProof="0" dirty="0">
                <a:ln>
                  <a:noFill/>
                </a:ln>
                <a:solidFill>
                  <a:srgbClr val="474E4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endParaRPr>
            </a:p>
          </p:txBody>
        </p:sp>
        <p:sp>
          <p:nvSpPr>
            <p:cNvPr id="55" name="Freeform 4963"/>
            <p:cNvSpPr>
              <a:spLocks/>
            </p:cNvSpPr>
            <p:nvPr/>
          </p:nvSpPr>
          <p:spPr bwMode="auto">
            <a:xfrm>
              <a:off x="1471988" y="1726356"/>
              <a:ext cx="643734" cy="527467"/>
            </a:xfrm>
            <a:custGeom>
              <a:avLst/>
              <a:gdLst>
                <a:gd name="T0" fmla="*/ 56 w 290"/>
                <a:gd name="T1" fmla="*/ 58 h 287"/>
                <a:gd name="T2" fmla="*/ 53 w 290"/>
                <a:gd name="T3" fmla="*/ 77 h 287"/>
                <a:gd name="T4" fmla="*/ 58 w 290"/>
                <a:gd name="T5" fmla="*/ 96 h 287"/>
                <a:gd name="T6" fmla="*/ 80 w 290"/>
                <a:gd name="T7" fmla="*/ 74 h 287"/>
                <a:gd name="T8" fmla="*/ 99 w 290"/>
                <a:gd name="T9" fmla="*/ 54 h 287"/>
                <a:gd name="T10" fmla="*/ 111 w 290"/>
                <a:gd name="T11" fmla="*/ 12 h 287"/>
                <a:gd name="T12" fmla="*/ 127 w 290"/>
                <a:gd name="T13" fmla="*/ 19 h 287"/>
                <a:gd name="T14" fmla="*/ 141 w 290"/>
                <a:gd name="T15" fmla="*/ 44 h 287"/>
                <a:gd name="T16" fmla="*/ 163 w 290"/>
                <a:gd name="T17" fmla="*/ 37 h 287"/>
                <a:gd name="T18" fmla="*/ 175 w 290"/>
                <a:gd name="T19" fmla="*/ 27 h 287"/>
                <a:gd name="T20" fmla="*/ 197 w 290"/>
                <a:gd name="T21" fmla="*/ 0 h 287"/>
                <a:gd name="T22" fmla="*/ 218 w 290"/>
                <a:gd name="T23" fmla="*/ 22 h 287"/>
                <a:gd name="T24" fmla="*/ 230 w 290"/>
                <a:gd name="T25" fmla="*/ 42 h 287"/>
                <a:gd name="T26" fmla="*/ 226 w 290"/>
                <a:gd name="T27" fmla="*/ 79 h 287"/>
                <a:gd name="T28" fmla="*/ 222 w 290"/>
                <a:gd name="T29" fmla="*/ 117 h 287"/>
                <a:gd name="T30" fmla="*/ 231 w 290"/>
                <a:gd name="T31" fmla="*/ 142 h 287"/>
                <a:gd name="T32" fmla="*/ 252 w 290"/>
                <a:gd name="T33" fmla="*/ 132 h 287"/>
                <a:gd name="T34" fmla="*/ 253 w 290"/>
                <a:gd name="T35" fmla="*/ 163 h 287"/>
                <a:gd name="T36" fmla="*/ 235 w 290"/>
                <a:gd name="T37" fmla="*/ 183 h 287"/>
                <a:gd name="T38" fmla="*/ 243 w 290"/>
                <a:gd name="T39" fmla="*/ 209 h 287"/>
                <a:gd name="T40" fmla="*/ 252 w 290"/>
                <a:gd name="T41" fmla="*/ 210 h 287"/>
                <a:gd name="T42" fmla="*/ 267 w 290"/>
                <a:gd name="T43" fmla="*/ 234 h 287"/>
                <a:gd name="T44" fmla="*/ 284 w 290"/>
                <a:gd name="T45" fmla="*/ 253 h 287"/>
                <a:gd name="T46" fmla="*/ 258 w 290"/>
                <a:gd name="T47" fmla="*/ 260 h 287"/>
                <a:gd name="T48" fmla="*/ 228 w 290"/>
                <a:gd name="T49" fmla="*/ 251 h 287"/>
                <a:gd name="T50" fmla="*/ 209 w 290"/>
                <a:gd name="T51" fmla="*/ 257 h 287"/>
                <a:gd name="T52" fmla="*/ 190 w 290"/>
                <a:gd name="T53" fmla="*/ 251 h 287"/>
                <a:gd name="T54" fmla="*/ 156 w 290"/>
                <a:gd name="T55" fmla="*/ 233 h 287"/>
                <a:gd name="T56" fmla="*/ 135 w 290"/>
                <a:gd name="T57" fmla="*/ 227 h 287"/>
                <a:gd name="T58" fmla="*/ 113 w 290"/>
                <a:gd name="T59" fmla="*/ 217 h 287"/>
                <a:gd name="T60" fmla="*/ 99 w 290"/>
                <a:gd name="T61" fmla="*/ 224 h 287"/>
                <a:gd name="T62" fmla="*/ 96 w 290"/>
                <a:gd name="T63" fmla="*/ 248 h 287"/>
                <a:gd name="T64" fmla="*/ 84 w 290"/>
                <a:gd name="T65" fmla="*/ 275 h 287"/>
                <a:gd name="T66" fmla="*/ 73 w 290"/>
                <a:gd name="T67" fmla="*/ 282 h 287"/>
                <a:gd name="T68" fmla="*/ 45 w 290"/>
                <a:gd name="T69" fmla="*/ 234 h 287"/>
                <a:gd name="T70" fmla="*/ 24 w 290"/>
                <a:gd name="T71" fmla="*/ 219 h 287"/>
                <a:gd name="T72" fmla="*/ 11 w 290"/>
                <a:gd name="T73" fmla="*/ 215 h 287"/>
                <a:gd name="T74" fmla="*/ 7 w 290"/>
                <a:gd name="T75" fmla="*/ 190 h 287"/>
                <a:gd name="T76" fmla="*/ 3 w 290"/>
                <a:gd name="T77" fmla="*/ 180 h 287"/>
                <a:gd name="T78" fmla="*/ 20 w 290"/>
                <a:gd name="T79" fmla="*/ 173 h 287"/>
                <a:gd name="T80" fmla="*/ 37 w 290"/>
                <a:gd name="T81" fmla="*/ 168 h 287"/>
                <a:gd name="T82" fmla="*/ 24 w 290"/>
                <a:gd name="T83" fmla="*/ 145 h 287"/>
                <a:gd name="T84" fmla="*/ 12 w 290"/>
                <a:gd name="T85" fmla="*/ 117 h 287"/>
                <a:gd name="T86" fmla="*/ 12 w 290"/>
                <a:gd name="T87" fmla="*/ 94 h 287"/>
                <a:gd name="T88" fmla="*/ 12 w 290"/>
                <a:gd name="T89" fmla="*/ 83 h 287"/>
                <a:gd name="T90" fmla="*/ 31 w 290"/>
                <a:gd name="T91" fmla="*/ 74 h 287"/>
                <a:gd name="T92" fmla="*/ 36 w 290"/>
                <a:gd name="T93" fmla="*/ 51 h 28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90"/>
                <a:gd name="T142" fmla="*/ 0 h 287"/>
                <a:gd name="T143" fmla="*/ 290 w 290"/>
                <a:gd name="T144" fmla="*/ 287 h 28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90" h="287">
                  <a:moveTo>
                    <a:pt x="36" y="51"/>
                  </a:moveTo>
                  <a:lnTo>
                    <a:pt x="48" y="51"/>
                  </a:lnTo>
                  <a:lnTo>
                    <a:pt x="56" y="58"/>
                  </a:lnTo>
                  <a:lnTo>
                    <a:pt x="56" y="63"/>
                  </a:lnTo>
                  <a:lnTo>
                    <a:pt x="56" y="71"/>
                  </a:lnTo>
                  <a:lnTo>
                    <a:pt x="53" y="77"/>
                  </a:lnTo>
                  <a:lnTo>
                    <a:pt x="48" y="79"/>
                  </a:lnTo>
                  <a:lnTo>
                    <a:pt x="51" y="89"/>
                  </a:lnTo>
                  <a:lnTo>
                    <a:pt x="58" y="96"/>
                  </a:lnTo>
                  <a:lnTo>
                    <a:pt x="67" y="88"/>
                  </a:lnTo>
                  <a:lnTo>
                    <a:pt x="72" y="83"/>
                  </a:lnTo>
                  <a:lnTo>
                    <a:pt x="80" y="74"/>
                  </a:lnTo>
                  <a:lnTo>
                    <a:pt x="80" y="65"/>
                  </a:lnTo>
                  <a:lnTo>
                    <a:pt x="87" y="61"/>
                  </a:lnTo>
                  <a:lnTo>
                    <a:pt x="99" y="54"/>
                  </a:lnTo>
                  <a:lnTo>
                    <a:pt x="107" y="42"/>
                  </a:lnTo>
                  <a:lnTo>
                    <a:pt x="109" y="37"/>
                  </a:lnTo>
                  <a:lnTo>
                    <a:pt x="111" y="12"/>
                  </a:lnTo>
                  <a:lnTo>
                    <a:pt x="118" y="8"/>
                  </a:lnTo>
                  <a:lnTo>
                    <a:pt x="127" y="10"/>
                  </a:lnTo>
                  <a:lnTo>
                    <a:pt x="127" y="19"/>
                  </a:lnTo>
                  <a:lnTo>
                    <a:pt x="125" y="32"/>
                  </a:lnTo>
                  <a:lnTo>
                    <a:pt x="134" y="39"/>
                  </a:lnTo>
                  <a:lnTo>
                    <a:pt x="141" y="44"/>
                  </a:lnTo>
                  <a:lnTo>
                    <a:pt x="142" y="49"/>
                  </a:lnTo>
                  <a:lnTo>
                    <a:pt x="149" y="53"/>
                  </a:lnTo>
                  <a:lnTo>
                    <a:pt x="163" y="37"/>
                  </a:lnTo>
                  <a:lnTo>
                    <a:pt x="171" y="41"/>
                  </a:lnTo>
                  <a:lnTo>
                    <a:pt x="177" y="34"/>
                  </a:lnTo>
                  <a:lnTo>
                    <a:pt x="175" y="27"/>
                  </a:lnTo>
                  <a:lnTo>
                    <a:pt x="183" y="10"/>
                  </a:lnTo>
                  <a:lnTo>
                    <a:pt x="188" y="2"/>
                  </a:lnTo>
                  <a:lnTo>
                    <a:pt x="197" y="0"/>
                  </a:lnTo>
                  <a:lnTo>
                    <a:pt x="205" y="2"/>
                  </a:lnTo>
                  <a:lnTo>
                    <a:pt x="211" y="14"/>
                  </a:lnTo>
                  <a:lnTo>
                    <a:pt x="218" y="22"/>
                  </a:lnTo>
                  <a:lnTo>
                    <a:pt x="228" y="29"/>
                  </a:lnTo>
                  <a:lnTo>
                    <a:pt x="231" y="34"/>
                  </a:lnTo>
                  <a:lnTo>
                    <a:pt x="230" y="42"/>
                  </a:lnTo>
                  <a:lnTo>
                    <a:pt x="230" y="59"/>
                  </a:lnTo>
                  <a:lnTo>
                    <a:pt x="230" y="69"/>
                  </a:lnTo>
                  <a:lnTo>
                    <a:pt x="226" y="79"/>
                  </a:lnTo>
                  <a:lnTo>
                    <a:pt x="226" y="89"/>
                  </a:lnTo>
                  <a:lnTo>
                    <a:pt x="222" y="100"/>
                  </a:lnTo>
                  <a:lnTo>
                    <a:pt x="222" y="117"/>
                  </a:lnTo>
                  <a:lnTo>
                    <a:pt x="222" y="127"/>
                  </a:lnTo>
                  <a:lnTo>
                    <a:pt x="226" y="139"/>
                  </a:lnTo>
                  <a:lnTo>
                    <a:pt x="231" y="142"/>
                  </a:lnTo>
                  <a:lnTo>
                    <a:pt x="239" y="136"/>
                  </a:lnTo>
                  <a:lnTo>
                    <a:pt x="245" y="127"/>
                  </a:lnTo>
                  <a:lnTo>
                    <a:pt x="252" y="132"/>
                  </a:lnTo>
                  <a:lnTo>
                    <a:pt x="250" y="140"/>
                  </a:lnTo>
                  <a:lnTo>
                    <a:pt x="252" y="156"/>
                  </a:lnTo>
                  <a:lnTo>
                    <a:pt x="253" y="163"/>
                  </a:lnTo>
                  <a:lnTo>
                    <a:pt x="248" y="166"/>
                  </a:lnTo>
                  <a:lnTo>
                    <a:pt x="239" y="175"/>
                  </a:lnTo>
                  <a:lnTo>
                    <a:pt x="235" y="183"/>
                  </a:lnTo>
                  <a:lnTo>
                    <a:pt x="233" y="192"/>
                  </a:lnTo>
                  <a:lnTo>
                    <a:pt x="236" y="204"/>
                  </a:lnTo>
                  <a:lnTo>
                    <a:pt x="243" y="209"/>
                  </a:lnTo>
                  <a:lnTo>
                    <a:pt x="248" y="204"/>
                  </a:lnTo>
                  <a:lnTo>
                    <a:pt x="255" y="205"/>
                  </a:lnTo>
                  <a:lnTo>
                    <a:pt x="252" y="210"/>
                  </a:lnTo>
                  <a:lnTo>
                    <a:pt x="255" y="223"/>
                  </a:lnTo>
                  <a:lnTo>
                    <a:pt x="258" y="227"/>
                  </a:lnTo>
                  <a:lnTo>
                    <a:pt x="267" y="234"/>
                  </a:lnTo>
                  <a:lnTo>
                    <a:pt x="272" y="240"/>
                  </a:lnTo>
                  <a:lnTo>
                    <a:pt x="279" y="246"/>
                  </a:lnTo>
                  <a:lnTo>
                    <a:pt x="284" y="253"/>
                  </a:lnTo>
                  <a:lnTo>
                    <a:pt x="289" y="257"/>
                  </a:lnTo>
                  <a:lnTo>
                    <a:pt x="282" y="260"/>
                  </a:lnTo>
                  <a:lnTo>
                    <a:pt x="258" y="260"/>
                  </a:lnTo>
                  <a:lnTo>
                    <a:pt x="252" y="263"/>
                  </a:lnTo>
                  <a:lnTo>
                    <a:pt x="241" y="262"/>
                  </a:lnTo>
                  <a:lnTo>
                    <a:pt x="228" y="251"/>
                  </a:lnTo>
                  <a:lnTo>
                    <a:pt x="221" y="255"/>
                  </a:lnTo>
                  <a:lnTo>
                    <a:pt x="214" y="258"/>
                  </a:lnTo>
                  <a:lnTo>
                    <a:pt x="209" y="257"/>
                  </a:lnTo>
                  <a:lnTo>
                    <a:pt x="200" y="248"/>
                  </a:lnTo>
                  <a:lnTo>
                    <a:pt x="197" y="250"/>
                  </a:lnTo>
                  <a:lnTo>
                    <a:pt x="190" y="251"/>
                  </a:lnTo>
                  <a:lnTo>
                    <a:pt x="182" y="248"/>
                  </a:lnTo>
                  <a:lnTo>
                    <a:pt x="168" y="241"/>
                  </a:lnTo>
                  <a:lnTo>
                    <a:pt x="156" y="233"/>
                  </a:lnTo>
                  <a:lnTo>
                    <a:pt x="146" y="223"/>
                  </a:lnTo>
                  <a:lnTo>
                    <a:pt x="141" y="224"/>
                  </a:lnTo>
                  <a:lnTo>
                    <a:pt x="135" y="227"/>
                  </a:lnTo>
                  <a:lnTo>
                    <a:pt x="129" y="227"/>
                  </a:lnTo>
                  <a:lnTo>
                    <a:pt x="119" y="221"/>
                  </a:lnTo>
                  <a:lnTo>
                    <a:pt x="113" y="217"/>
                  </a:lnTo>
                  <a:lnTo>
                    <a:pt x="107" y="219"/>
                  </a:lnTo>
                  <a:lnTo>
                    <a:pt x="102" y="221"/>
                  </a:lnTo>
                  <a:lnTo>
                    <a:pt x="99" y="224"/>
                  </a:lnTo>
                  <a:lnTo>
                    <a:pt x="96" y="229"/>
                  </a:lnTo>
                  <a:lnTo>
                    <a:pt x="98" y="240"/>
                  </a:lnTo>
                  <a:lnTo>
                    <a:pt x="96" y="248"/>
                  </a:lnTo>
                  <a:lnTo>
                    <a:pt x="92" y="262"/>
                  </a:lnTo>
                  <a:lnTo>
                    <a:pt x="89" y="267"/>
                  </a:lnTo>
                  <a:lnTo>
                    <a:pt x="84" y="275"/>
                  </a:lnTo>
                  <a:lnTo>
                    <a:pt x="82" y="279"/>
                  </a:lnTo>
                  <a:lnTo>
                    <a:pt x="75" y="286"/>
                  </a:lnTo>
                  <a:lnTo>
                    <a:pt x="73" y="282"/>
                  </a:lnTo>
                  <a:lnTo>
                    <a:pt x="70" y="279"/>
                  </a:lnTo>
                  <a:lnTo>
                    <a:pt x="70" y="263"/>
                  </a:lnTo>
                  <a:lnTo>
                    <a:pt x="45" y="234"/>
                  </a:lnTo>
                  <a:lnTo>
                    <a:pt x="39" y="219"/>
                  </a:lnTo>
                  <a:lnTo>
                    <a:pt x="31" y="219"/>
                  </a:lnTo>
                  <a:lnTo>
                    <a:pt x="24" y="219"/>
                  </a:lnTo>
                  <a:lnTo>
                    <a:pt x="20" y="221"/>
                  </a:lnTo>
                  <a:lnTo>
                    <a:pt x="15" y="221"/>
                  </a:lnTo>
                  <a:lnTo>
                    <a:pt x="11" y="215"/>
                  </a:lnTo>
                  <a:lnTo>
                    <a:pt x="7" y="212"/>
                  </a:lnTo>
                  <a:lnTo>
                    <a:pt x="7" y="204"/>
                  </a:lnTo>
                  <a:lnTo>
                    <a:pt x="7" y="190"/>
                  </a:lnTo>
                  <a:lnTo>
                    <a:pt x="2" y="187"/>
                  </a:lnTo>
                  <a:lnTo>
                    <a:pt x="0" y="183"/>
                  </a:lnTo>
                  <a:lnTo>
                    <a:pt x="3" y="180"/>
                  </a:lnTo>
                  <a:lnTo>
                    <a:pt x="9" y="173"/>
                  </a:lnTo>
                  <a:lnTo>
                    <a:pt x="12" y="171"/>
                  </a:lnTo>
                  <a:lnTo>
                    <a:pt x="20" y="173"/>
                  </a:lnTo>
                  <a:lnTo>
                    <a:pt x="29" y="178"/>
                  </a:lnTo>
                  <a:lnTo>
                    <a:pt x="34" y="173"/>
                  </a:lnTo>
                  <a:lnTo>
                    <a:pt x="37" y="168"/>
                  </a:lnTo>
                  <a:lnTo>
                    <a:pt x="37" y="164"/>
                  </a:lnTo>
                  <a:lnTo>
                    <a:pt x="33" y="156"/>
                  </a:lnTo>
                  <a:lnTo>
                    <a:pt x="24" y="145"/>
                  </a:lnTo>
                  <a:lnTo>
                    <a:pt x="22" y="137"/>
                  </a:lnTo>
                  <a:lnTo>
                    <a:pt x="20" y="125"/>
                  </a:lnTo>
                  <a:lnTo>
                    <a:pt x="12" y="117"/>
                  </a:lnTo>
                  <a:lnTo>
                    <a:pt x="12" y="108"/>
                  </a:lnTo>
                  <a:lnTo>
                    <a:pt x="14" y="101"/>
                  </a:lnTo>
                  <a:lnTo>
                    <a:pt x="12" y="94"/>
                  </a:lnTo>
                  <a:lnTo>
                    <a:pt x="9" y="91"/>
                  </a:lnTo>
                  <a:lnTo>
                    <a:pt x="11" y="86"/>
                  </a:lnTo>
                  <a:lnTo>
                    <a:pt x="12" y="83"/>
                  </a:lnTo>
                  <a:lnTo>
                    <a:pt x="15" y="83"/>
                  </a:lnTo>
                  <a:lnTo>
                    <a:pt x="22" y="83"/>
                  </a:lnTo>
                  <a:lnTo>
                    <a:pt x="31" y="74"/>
                  </a:lnTo>
                  <a:lnTo>
                    <a:pt x="34" y="66"/>
                  </a:lnTo>
                  <a:lnTo>
                    <a:pt x="34" y="63"/>
                  </a:lnTo>
                  <a:lnTo>
                    <a:pt x="36" y="51"/>
                  </a:lnTo>
                </a:path>
              </a:pathLst>
            </a:custGeom>
            <a:solidFill>
              <a:srgbClr val="3397A5"/>
            </a:solidFill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140519" tIns="70257" rIns="140519" bIns="70257" anchor="ctr"/>
            <a:lstStyle/>
            <a:p>
              <a:pPr marL="0" marR="0" lvl="0" indent="0" algn="l" defTabSz="9143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endParaRPr>
            </a:p>
          </p:txBody>
        </p:sp>
        <p:sp>
          <p:nvSpPr>
            <p:cNvPr id="56" name="Freeform 5064"/>
            <p:cNvSpPr>
              <a:spLocks/>
            </p:cNvSpPr>
            <p:nvPr/>
          </p:nvSpPr>
          <p:spPr bwMode="auto">
            <a:xfrm>
              <a:off x="1930158" y="1609775"/>
              <a:ext cx="504150" cy="376763"/>
            </a:xfrm>
            <a:custGeom>
              <a:avLst/>
              <a:gdLst>
                <a:gd name="T0" fmla="*/ 2 w 227"/>
                <a:gd name="T1" fmla="*/ 51 h 205"/>
                <a:gd name="T2" fmla="*/ 20 w 227"/>
                <a:gd name="T3" fmla="*/ 36 h 205"/>
                <a:gd name="T4" fmla="*/ 17 w 227"/>
                <a:gd name="T5" fmla="*/ 24 h 205"/>
                <a:gd name="T6" fmla="*/ 44 w 227"/>
                <a:gd name="T7" fmla="*/ 5 h 205"/>
                <a:gd name="T8" fmla="*/ 48 w 227"/>
                <a:gd name="T9" fmla="*/ 17 h 205"/>
                <a:gd name="T10" fmla="*/ 87 w 227"/>
                <a:gd name="T11" fmla="*/ 29 h 205"/>
                <a:gd name="T12" fmla="*/ 102 w 227"/>
                <a:gd name="T13" fmla="*/ 22 h 205"/>
                <a:gd name="T14" fmla="*/ 129 w 227"/>
                <a:gd name="T15" fmla="*/ 7 h 205"/>
                <a:gd name="T16" fmla="*/ 153 w 227"/>
                <a:gd name="T17" fmla="*/ 17 h 205"/>
                <a:gd name="T18" fmla="*/ 177 w 227"/>
                <a:gd name="T19" fmla="*/ 7 h 205"/>
                <a:gd name="T20" fmla="*/ 194 w 227"/>
                <a:gd name="T21" fmla="*/ 3 h 205"/>
                <a:gd name="T22" fmla="*/ 197 w 227"/>
                <a:gd name="T23" fmla="*/ 20 h 205"/>
                <a:gd name="T24" fmla="*/ 207 w 227"/>
                <a:gd name="T25" fmla="*/ 34 h 205"/>
                <a:gd name="T26" fmla="*/ 218 w 227"/>
                <a:gd name="T27" fmla="*/ 53 h 205"/>
                <a:gd name="T28" fmla="*/ 226 w 227"/>
                <a:gd name="T29" fmla="*/ 72 h 205"/>
                <a:gd name="T30" fmla="*/ 204 w 227"/>
                <a:gd name="T31" fmla="*/ 79 h 205"/>
                <a:gd name="T32" fmla="*/ 184 w 227"/>
                <a:gd name="T33" fmla="*/ 97 h 205"/>
                <a:gd name="T34" fmla="*/ 166 w 227"/>
                <a:gd name="T35" fmla="*/ 107 h 205"/>
                <a:gd name="T36" fmla="*/ 149 w 227"/>
                <a:gd name="T37" fmla="*/ 116 h 205"/>
                <a:gd name="T38" fmla="*/ 156 w 227"/>
                <a:gd name="T39" fmla="*/ 126 h 205"/>
                <a:gd name="T40" fmla="*/ 168 w 227"/>
                <a:gd name="T41" fmla="*/ 136 h 205"/>
                <a:gd name="T42" fmla="*/ 158 w 227"/>
                <a:gd name="T43" fmla="*/ 146 h 205"/>
                <a:gd name="T44" fmla="*/ 146 w 227"/>
                <a:gd name="T45" fmla="*/ 149 h 205"/>
                <a:gd name="T46" fmla="*/ 144 w 227"/>
                <a:gd name="T47" fmla="*/ 163 h 205"/>
                <a:gd name="T48" fmla="*/ 134 w 227"/>
                <a:gd name="T49" fmla="*/ 168 h 205"/>
                <a:gd name="T50" fmla="*/ 119 w 227"/>
                <a:gd name="T51" fmla="*/ 165 h 205"/>
                <a:gd name="T52" fmla="*/ 108 w 227"/>
                <a:gd name="T53" fmla="*/ 173 h 205"/>
                <a:gd name="T54" fmla="*/ 97 w 227"/>
                <a:gd name="T55" fmla="*/ 192 h 205"/>
                <a:gd name="T56" fmla="*/ 87 w 227"/>
                <a:gd name="T57" fmla="*/ 199 h 205"/>
                <a:gd name="T58" fmla="*/ 66 w 227"/>
                <a:gd name="T59" fmla="*/ 202 h 205"/>
                <a:gd name="T60" fmla="*/ 55 w 227"/>
                <a:gd name="T61" fmla="*/ 195 h 205"/>
                <a:gd name="T62" fmla="*/ 42 w 227"/>
                <a:gd name="T63" fmla="*/ 199 h 205"/>
                <a:gd name="T64" fmla="*/ 36 w 227"/>
                <a:gd name="T65" fmla="*/ 192 h 205"/>
                <a:gd name="T66" fmla="*/ 29 w 227"/>
                <a:gd name="T67" fmla="*/ 199 h 205"/>
                <a:gd name="T68" fmla="*/ 19 w 227"/>
                <a:gd name="T69" fmla="*/ 202 h 205"/>
                <a:gd name="T70" fmla="*/ 14 w 227"/>
                <a:gd name="T71" fmla="*/ 190 h 205"/>
                <a:gd name="T72" fmla="*/ 15 w 227"/>
                <a:gd name="T73" fmla="*/ 168 h 205"/>
                <a:gd name="T74" fmla="*/ 20 w 227"/>
                <a:gd name="T75" fmla="*/ 146 h 205"/>
                <a:gd name="T76" fmla="*/ 20 w 227"/>
                <a:gd name="T77" fmla="*/ 131 h 205"/>
                <a:gd name="T78" fmla="*/ 22 w 227"/>
                <a:gd name="T79" fmla="*/ 107 h 205"/>
                <a:gd name="T80" fmla="*/ 24 w 227"/>
                <a:gd name="T81" fmla="*/ 96 h 205"/>
                <a:gd name="T82" fmla="*/ 12 w 227"/>
                <a:gd name="T83" fmla="*/ 87 h 205"/>
                <a:gd name="T84" fmla="*/ 3 w 227"/>
                <a:gd name="T85" fmla="*/ 75 h 20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27"/>
                <a:gd name="T130" fmla="*/ 0 h 205"/>
                <a:gd name="T131" fmla="*/ 227 w 227"/>
                <a:gd name="T132" fmla="*/ 205 h 20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27" h="205">
                  <a:moveTo>
                    <a:pt x="0" y="65"/>
                  </a:moveTo>
                  <a:lnTo>
                    <a:pt x="2" y="51"/>
                  </a:lnTo>
                  <a:lnTo>
                    <a:pt x="8" y="46"/>
                  </a:lnTo>
                  <a:lnTo>
                    <a:pt x="20" y="36"/>
                  </a:lnTo>
                  <a:lnTo>
                    <a:pt x="22" y="31"/>
                  </a:lnTo>
                  <a:lnTo>
                    <a:pt x="17" y="24"/>
                  </a:lnTo>
                  <a:lnTo>
                    <a:pt x="39" y="0"/>
                  </a:lnTo>
                  <a:lnTo>
                    <a:pt x="44" y="5"/>
                  </a:lnTo>
                  <a:lnTo>
                    <a:pt x="48" y="12"/>
                  </a:lnTo>
                  <a:lnTo>
                    <a:pt x="48" y="17"/>
                  </a:lnTo>
                  <a:lnTo>
                    <a:pt x="60" y="20"/>
                  </a:lnTo>
                  <a:lnTo>
                    <a:pt x="87" y="29"/>
                  </a:lnTo>
                  <a:lnTo>
                    <a:pt x="89" y="31"/>
                  </a:lnTo>
                  <a:lnTo>
                    <a:pt x="102" y="22"/>
                  </a:lnTo>
                  <a:lnTo>
                    <a:pt x="119" y="7"/>
                  </a:lnTo>
                  <a:lnTo>
                    <a:pt x="129" y="7"/>
                  </a:lnTo>
                  <a:lnTo>
                    <a:pt x="139" y="14"/>
                  </a:lnTo>
                  <a:lnTo>
                    <a:pt x="153" y="17"/>
                  </a:lnTo>
                  <a:lnTo>
                    <a:pt x="170" y="12"/>
                  </a:lnTo>
                  <a:lnTo>
                    <a:pt x="177" y="7"/>
                  </a:lnTo>
                  <a:lnTo>
                    <a:pt x="185" y="7"/>
                  </a:lnTo>
                  <a:lnTo>
                    <a:pt x="194" y="3"/>
                  </a:lnTo>
                  <a:lnTo>
                    <a:pt x="199" y="12"/>
                  </a:lnTo>
                  <a:lnTo>
                    <a:pt x="197" y="20"/>
                  </a:lnTo>
                  <a:lnTo>
                    <a:pt x="199" y="31"/>
                  </a:lnTo>
                  <a:lnTo>
                    <a:pt x="207" y="34"/>
                  </a:lnTo>
                  <a:lnTo>
                    <a:pt x="215" y="43"/>
                  </a:lnTo>
                  <a:lnTo>
                    <a:pt x="218" y="53"/>
                  </a:lnTo>
                  <a:lnTo>
                    <a:pt x="226" y="65"/>
                  </a:lnTo>
                  <a:lnTo>
                    <a:pt x="226" y="72"/>
                  </a:lnTo>
                  <a:lnTo>
                    <a:pt x="215" y="73"/>
                  </a:lnTo>
                  <a:lnTo>
                    <a:pt x="204" y="79"/>
                  </a:lnTo>
                  <a:lnTo>
                    <a:pt x="194" y="89"/>
                  </a:lnTo>
                  <a:lnTo>
                    <a:pt x="184" y="97"/>
                  </a:lnTo>
                  <a:lnTo>
                    <a:pt x="175" y="104"/>
                  </a:lnTo>
                  <a:lnTo>
                    <a:pt x="166" y="107"/>
                  </a:lnTo>
                  <a:lnTo>
                    <a:pt x="153" y="109"/>
                  </a:lnTo>
                  <a:lnTo>
                    <a:pt x="149" y="116"/>
                  </a:lnTo>
                  <a:lnTo>
                    <a:pt x="151" y="123"/>
                  </a:lnTo>
                  <a:lnTo>
                    <a:pt x="156" y="126"/>
                  </a:lnTo>
                  <a:lnTo>
                    <a:pt x="163" y="130"/>
                  </a:lnTo>
                  <a:lnTo>
                    <a:pt x="168" y="136"/>
                  </a:lnTo>
                  <a:lnTo>
                    <a:pt x="165" y="139"/>
                  </a:lnTo>
                  <a:lnTo>
                    <a:pt x="158" y="146"/>
                  </a:lnTo>
                  <a:lnTo>
                    <a:pt x="151" y="148"/>
                  </a:lnTo>
                  <a:lnTo>
                    <a:pt x="146" y="149"/>
                  </a:lnTo>
                  <a:lnTo>
                    <a:pt x="148" y="156"/>
                  </a:lnTo>
                  <a:lnTo>
                    <a:pt x="144" y="163"/>
                  </a:lnTo>
                  <a:lnTo>
                    <a:pt x="141" y="168"/>
                  </a:lnTo>
                  <a:lnTo>
                    <a:pt x="134" y="168"/>
                  </a:lnTo>
                  <a:lnTo>
                    <a:pt x="127" y="167"/>
                  </a:lnTo>
                  <a:lnTo>
                    <a:pt x="119" y="165"/>
                  </a:lnTo>
                  <a:lnTo>
                    <a:pt x="111" y="165"/>
                  </a:lnTo>
                  <a:lnTo>
                    <a:pt x="108" y="173"/>
                  </a:lnTo>
                  <a:lnTo>
                    <a:pt x="104" y="182"/>
                  </a:lnTo>
                  <a:lnTo>
                    <a:pt x="97" y="192"/>
                  </a:lnTo>
                  <a:lnTo>
                    <a:pt x="92" y="197"/>
                  </a:lnTo>
                  <a:lnTo>
                    <a:pt x="87" y="199"/>
                  </a:lnTo>
                  <a:lnTo>
                    <a:pt x="77" y="202"/>
                  </a:lnTo>
                  <a:lnTo>
                    <a:pt x="66" y="202"/>
                  </a:lnTo>
                  <a:lnTo>
                    <a:pt x="60" y="199"/>
                  </a:lnTo>
                  <a:lnTo>
                    <a:pt x="55" y="195"/>
                  </a:lnTo>
                  <a:lnTo>
                    <a:pt x="48" y="197"/>
                  </a:lnTo>
                  <a:lnTo>
                    <a:pt x="42" y="199"/>
                  </a:lnTo>
                  <a:lnTo>
                    <a:pt x="41" y="195"/>
                  </a:lnTo>
                  <a:lnTo>
                    <a:pt x="36" y="192"/>
                  </a:lnTo>
                  <a:lnTo>
                    <a:pt x="32" y="195"/>
                  </a:lnTo>
                  <a:lnTo>
                    <a:pt x="29" y="199"/>
                  </a:lnTo>
                  <a:lnTo>
                    <a:pt x="24" y="204"/>
                  </a:lnTo>
                  <a:lnTo>
                    <a:pt x="19" y="202"/>
                  </a:lnTo>
                  <a:lnTo>
                    <a:pt x="15" y="195"/>
                  </a:lnTo>
                  <a:lnTo>
                    <a:pt x="14" y="190"/>
                  </a:lnTo>
                  <a:lnTo>
                    <a:pt x="15" y="180"/>
                  </a:lnTo>
                  <a:lnTo>
                    <a:pt x="15" y="168"/>
                  </a:lnTo>
                  <a:lnTo>
                    <a:pt x="17" y="158"/>
                  </a:lnTo>
                  <a:lnTo>
                    <a:pt x="20" y="146"/>
                  </a:lnTo>
                  <a:lnTo>
                    <a:pt x="20" y="139"/>
                  </a:lnTo>
                  <a:lnTo>
                    <a:pt x="20" y="131"/>
                  </a:lnTo>
                  <a:lnTo>
                    <a:pt x="20" y="123"/>
                  </a:lnTo>
                  <a:lnTo>
                    <a:pt x="22" y="107"/>
                  </a:lnTo>
                  <a:lnTo>
                    <a:pt x="25" y="101"/>
                  </a:lnTo>
                  <a:lnTo>
                    <a:pt x="24" y="96"/>
                  </a:lnTo>
                  <a:lnTo>
                    <a:pt x="19" y="90"/>
                  </a:lnTo>
                  <a:lnTo>
                    <a:pt x="12" y="87"/>
                  </a:lnTo>
                  <a:lnTo>
                    <a:pt x="5" y="79"/>
                  </a:lnTo>
                  <a:lnTo>
                    <a:pt x="3" y="75"/>
                  </a:lnTo>
                  <a:lnTo>
                    <a:pt x="0" y="65"/>
                  </a:lnTo>
                </a:path>
              </a:pathLst>
            </a:custGeom>
            <a:solidFill>
              <a:srgbClr val="3397A5"/>
            </a:solidFill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140519" tIns="70257" rIns="140519" bIns="70257" anchor="ctr"/>
            <a:lstStyle/>
            <a:p>
              <a:pPr marL="0" marR="0" lvl="0" indent="0" algn="l" defTabSz="9143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endParaRPr>
            </a:p>
          </p:txBody>
        </p:sp>
        <p:sp>
          <p:nvSpPr>
            <p:cNvPr id="57" name="Freeform 5165"/>
            <p:cNvSpPr>
              <a:spLocks/>
            </p:cNvSpPr>
            <p:nvPr/>
          </p:nvSpPr>
          <p:spPr bwMode="auto">
            <a:xfrm>
              <a:off x="2388332" y="1763324"/>
              <a:ext cx="339931" cy="299987"/>
            </a:xfrm>
            <a:custGeom>
              <a:avLst/>
              <a:gdLst>
                <a:gd name="T0" fmla="*/ 49 w 153"/>
                <a:gd name="T1" fmla="*/ 5 h 163"/>
                <a:gd name="T2" fmla="*/ 54 w 153"/>
                <a:gd name="T3" fmla="*/ 0 h 163"/>
                <a:gd name="T4" fmla="*/ 78 w 153"/>
                <a:gd name="T5" fmla="*/ 6 h 163"/>
                <a:gd name="T6" fmla="*/ 105 w 153"/>
                <a:gd name="T7" fmla="*/ 15 h 163"/>
                <a:gd name="T8" fmla="*/ 146 w 153"/>
                <a:gd name="T9" fmla="*/ 34 h 163"/>
                <a:gd name="T10" fmla="*/ 147 w 153"/>
                <a:gd name="T11" fmla="*/ 44 h 163"/>
                <a:gd name="T12" fmla="*/ 135 w 153"/>
                <a:gd name="T13" fmla="*/ 49 h 163"/>
                <a:gd name="T14" fmla="*/ 130 w 153"/>
                <a:gd name="T15" fmla="*/ 62 h 163"/>
                <a:gd name="T16" fmla="*/ 146 w 153"/>
                <a:gd name="T17" fmla="*/ 83 h 163"/>
                <a:gd name="T18" fmla="*/ 137 w 153"/>
                <a:gd name="T19" fmla="*/ 104 h 163"/>
                <a:gd name="T20" fmla="*/ 140 w 153"/>
                <a:gd name="T21" fmla="*/ 123 h 163"/>
                <a:gd name="T22" fmla="*/ 150 w 153"/>
                <a:gd name="T23" fmla="*/ 140 h 163"/>
                <a:gd name="T24" fmla="*/ 152 w 153"/>
                <a:gd name="T25" fmla="*/ 161 h 163"/>
                <a:gd name="T26" fmla="*/ 139 w 153"/>
                <a:gd name="T27" fmla="*/ 162 h 163"/>
                <a:gd name="T28" fmla="*/ 132 w 153"/>
                <a:gd name="T29" fmla="*/ 147 h 163"/>
                <a:gd name="T30" fmla="*/ 124 w 153"/>
                <a:gd name="T31" fmla="*/ 140 h 163"/>
                <a:gd name="T32" fmla="*/ 112 w 153"/>
                <a:gd name="T33" fmla="*/ 151 h 163"/>
                <a:gd name="T34" fmla="*/ 98 w 153"/>
                <a:gd name="T35" fmla="*/ 152 h 163"/>
                <a:gd name="T36" fmla="*/ 83 w 153"/>
                <a:gd name="T37" fmla="*/ 149 h 163"/>
                <a:gd name="T38" fmla="*/ 75 w 153"/>
                <a:gd name="T39" fmla="*/ 149 h 163"/>
                <a:gd name="T40" fmla="*/ 63 w 153"/>
                <a:gd name="T41" fmla="*/ 139 h 163"/>
                <a:gd name="T42" fmla="*/ 53 w 153"/>
                <a:gd name="T43" fmla="*/ 130 h 163"/>
                <a:gd name="T44" fmla="*/ 35 w 153"/>
                <a:gd name="T45" fmla="*/ 137 h 163"/>
                <a:gd name="T46" fmla="*/ 24 w 153"/>
                <a:gd name="T47" fmla="*/ 132 h 163"/>
                <a:gd name="T48" fmla="*/ 20 w 153"/>
                <a:gd name="T49" fmla="*/ 120 h 163"/>
                <a:gd name="T50" fmla="*/ 15 w 153"/>
                <a:gd name="T51" fmla="*/ 108 h 163"/>
                <a:gd name="T52" fmla="*/ 6 w 153"/>
                <a:gd name="T53" fmla="*/ 98 h 163"/>
                <a:gd name="T54" fmla="*/ 5 w 153"/>
                <a:gd name="T55" fmla="*/ 91 h 163"/>
                <a:gd name="T56" fmla="*/ 1 w 153"/>
                <a:gd name="T57" fmla="*/ 77 h 163"/>
                <a:gd name="T58" fmla="*/ 5 w 153"/>
                <a:gd name="T59" fmla="*/ 64 h 163"/>
                <a:gd name="T60" fmla="*/ 25 w 153"/>
                <a:gd name="T61" fmla="*/ 37 h 163"/>
                <a:gd name="T62" fmla="*/ 28 w 153"/>
                <a:gd name="T63" fmla="*/ 29 h 163"/>
                <a:gd name="T64" fmla="*/ 41 w 153"/>
                <a:gd name="T65" fmla="*/ 19 h 163"/>
                <a:gd name="T66" fmla="*/ 46 w 153"/>
                <a:gd name="T67" fmla="*/ 13 h 16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53"/>
                <a:gd name="T103" fmla="*/ 0 h 163"/>
                <a:gd name="T104" fmla="*/ 153 w 153"/>
                <a:gd name="T105" fmla="*/ 163 h 163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53" h="163">
                  <a:moveTo>
                    <a:pt x="51" y="5"/>
                  </a:moveTo>
                  <a:lnTo>
                    <a:pt x="49" y="5"/>
                  </a:lnTo>
                  <a:lnTo>
                    <a:pt x="51" y="6"/>
                  </a:lnTo>
                  <a:lnTo>
                    <a:pt x="54" y="0"/>
                  </a:lnTo>
                  <a:lnTo>
                    <a:pt x="64" y="2"/>
                  </a:lnTo>
                  <a:lnTo>
                    <a:pt x="78" y="6"/>
                  </a:lnTo>
                  <a:lnTo>
                    <a:pt x="100" y="17"/>
                  </a:lnTo>
                  <a:lnTo>
                    <a:pt x="105" y="15"/>
                  </a:lnTo>
                  <a:lnTo>
                    <a:pt x="135" y="27"/>
                  </a:lnTo>
                  <a:lnTo>
                    <a:pt x="146" y="34"/>
                  </a:lnTo>
                  <a:lnTo>
                    <a:pt x="149" y="39"/>
                  </a:lnTo>
                  <a:lnTo>
                    <a:pt x="147" y="44"/>
                  </a:lnTo>
                  <a:lnTo>
                    <a:pt x="142" y="47"/>
                  </a:lnTo>
                  <a:lnTo>
                    <a:pt x="135" y="49"/>
                  </a:lnTo>
                  <a:lnTo>
                    <a:pt x="129" y="52"/>
                  </a:lnTo>
                  <a:lnTo>
                    <a:pt x="130" y="62"/>
                  </a:lnTo>
                  <a:lnTo>
                    <a:pt x="144" y="74"/>
                  </a:lnTo>
                  <a:lnTo>
                    <a:pt x="146" y="83"/>
                  </a:lnTo>
                  <a:lnTo>
                    <a:pt x="144" y="92"/>
                  </a:lnTo>
                  <a:lnTo>
                    <a:pt x="137" y="104"/>
                  </a:lnTo>
                  <a:lnTo>
                    <a:pt x="133" y="115"/>
                  </a:lnTo>
                  <a:lnTo>
                    <a:pt x="140" y="123"/>
                  </a:lnTo>
                  <a:lnTo>
                    <a:pt x="149" y="135"/>
                  </a:lnTo>
                  <a:lnTo>
                    <a:pt x="150" y="140"/>
                  </a:lnTo>
                  <a:lnTo>
                    <a:pt x="152" y="156"/>
                  </a:lnTo>
                  <a:lnTo>
                    <a:pt x="152" y="161"/>
                  </a:lnTo>
                  <a:lnTo>
                    <a:pt x="147" y="162"/>
                  </a:lnTo>
                  <a:lnTo>
                    <a:pt x="139" y="162"/>
                  </a:lnTo>
                  <a:lnTo>
                    <a:pt x="135" y="157"/>
                  </a:lnTo>
                  <a:lnTo>
                    <a:pt x="132" y="147"/>
                  </a:lnTo>
                  <a:lnTo>
                    <a:pt x="127" y="140"/>
                  </a:lnTo>
                  <a:lnTo>
                    <a:pt x="124" y="140"/>
                  </a:lnTo>
                  <a:lnTo>
                    <a:pt x="119" y="144"/>
                  </a:lnTo>
                  <a:lnTo>
                    <a:pt x="112" y="151"/>
                  </a:lnTo>
                  <a:lnTo>
                    <a:pt x="109" y="152"/>
                  </a:lnTo>
                  <a:lnTo>
                    <a:pt x="98" y="152"/>
                  </a:lnTo>
                  <a:lnTo>
                    <a:pt x="94" y="149"/>
                  </a:lnTo>
                  <a:lnTo>
                    <a:pt x="83" y="149"/>
                  </a:lnTo>
                  <a:lnTo>
                    <a:pt x="78" y="151"/>
                  </a:lnTo>
                  <a:lnTo>
                    <a:pt x="75" y="149"/>
                  </a:lnTo>
                  <a:lnTo>
                    <a:pt x="70" y="145"/>
                  </a:lnTo>
                  <a:lnTo>
                    <a:pt x="63" y="139"/>
                  </a:lnTo>
                  <a:lnTo>
                    <a:pt x="58" y="132"/>
                  </a:lnTo>
                  <a:lnTo>
                    <a:pt x="53" y="130"/>
                  </a:lnTo>
                  <a:lnTo>
                    <a:pt x="42" y="135"/>
                  </a:lnTo>
                  <a:lnTo>
                    <a:pt x="35" y="137"/>
                  </a:lnTo>
                  <a:lnTo>
                    <a:pt x="30" y="137"/>
                  </a:lnTo>
                  <a:lnTo>
                    <a:pt x="24" y="132"/>
                  </a:lnTo>
                  <a:lnTo>
                    <a:pt x="20" y="125"/>
                  </a:lnTo>
                  <a:lnTo>
                    <a:pt x="20" y="120"/>
                  </a:lnTo>
                  <a:lnTo>
                    <a:pt x="20" y="113"/>
                  </a:lnTo>
                  <a:lnTo>
                    <a:pt x="15" y="108"/>
                  </a:lnTo>
                  <a:lnTo>
                    <a:pt x="11" y="101"/>
                  </a:lnTo>
                  <a:lnTo>
                    <a:pt x="6" y="98"/>
                  </a:lnTo>
                  <a:lnTo>
                    <a:pt x="3" y="98"/>
                  </a:lnTo>
                  <a:lnTo>
                    <a:pt x="5" y="91"/>
                  </a:lnTo>
                  <a:lnTo>
                    <a:pt x="3" y="86"/>
                  </a:lnTo>
                  <a:lnTo>
                    <a:pt x="1" y="77"/>
                  </a:lnTo>
                  <a:lnTo>
                    <a:pt x="0" y="70"/>
                  </a:lnTo>
                  <a:lnTo>
                    <a:pt x="5" y="64"/>
                  </a:lnTo>
                  <a:lnTo>
                    <a:pt x="15" y="52"/>
                  </a:lnTo>
                  <a:lnTo>
                    <a:pt x="25" y="37"/>
                  </a:lnTo>
                  <a:lnTo>
                    <a:pt x="28" y="36"/>
                  </a:lnTo>
                  <a:lnTo>
                    <a:pt x="28" y="29"/>
                  </a:lnTo>
                  <a:lnTo>
                    <a:pt x="34" y="23"/>
                  </a:lnTo>
                  <a:lnTo>
                    <a:pt x="41" y="19"/>
                  </a:lnTo>
                  <a:lnTo>
                    <a:pt x="49" y="17"/>
                  </a:lnTo>
                  <a:lnTo>
                    <a:pt x="46" y="13"/>
                  </a:lnTo>
                  <a:lnTo>
                    <a:pt x="51" y="5"/>
                  </a:lnTo>
                </a:path>
              </a:pathLst>
            </a:custGeom>
            <a:solidFill>
              <a:srgbClr val="3397A5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27844" tIns="63920" rIns="127844" bIns="63920" anchor="ctr"/>
            <a:lstStyle/>
            <a:p>
              <a:pPr marL="0" marR="0" lvl="0" indent="0" algn="ctr" defTabSz="95882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endParaRPr>
            </a:p>
          </p:txBody>
        </p:sp>
        <p:sp>
          <p:nvSpPr>
            <p:cNvPr id="58" name="Freeform 5266"/>
            <p:cNvSpPr>
              <a:spLocks/>
            </p:cNvSpPr>
            <p:nvPr/>
          </p:nvSpPr>
          <p:spPr bwMode="auto">
            <a:xfrm>
              <a:off x="1992890" y="1736314"/>
              <a:ext cx="563268" cy="524625"/>
            </a:xfrm>
            <a:custGeom>
              <a:avLst/>
              <a:gdLst>
                <a:gd name="T0" fmla="*/ 215 w 255"/>
                <a:gd name="T1" fmla="*/ 2 h 289"/>
                <a:gd name="T2" fmla="*/ 235 w 255"/>
                <a:gd name="T3" fmla="*/ 15 h 289"/>
                <a:gd name="T4" fmla="*/ 227 w 255"/>
                <a:gd name="T5" fmla="*/ 31 h 289"/>
                <a:gd name="T6" fmla="*/ 208 w 255"/>
                <a:gd name="T7" fmla="*/ 45 h 289"/>
                <a:gd name="T8" fmla="*/ 203 w 255"/>
                <a:gd name="T9" fmla="*/ 53 h 289"/>
                <a:gd name="T10" fmla="*/ 188 w 255"/>
                <a:gd name="T11" fmla="*/ 72 h 289"/>
                <a:gd name="T12" fmla="*/ 181 w 255"/>
                <a:gd name="T13" fmla="*/ 93 h 289"/>
                <a:gd name="T14" fmla="*/ 181 w 255"/>
                <a:gd name="T15" fmla="*/ 112 h 289"/>
                <a:gd name="T16" fmla="*/ 198 w 255"/>
                <a:gd name="T17" fmla="*/ 127 h 289"/>
                <a:gd name="T18" fmla="*/ 201 w 255"/>
                <a:gd name="T19" fmla="*/ 144 h 289"/>
                <a:gd name="T20" fmla="*/ 218 w 255"/>
                <a:gd name="T21" fmla="*/ 151 h 289"/>
                <a:gd name="T22" fmla="*/ 237 w 255"/>
                <a:gd name="T23" fmla="*/ 148 h 289"/>
                <a:gd name="T24" fmla="*/ 254 w 255"/>
                <a:gd name="T25" fmla="*/ 168 h 289"/>
                <a:gd name="T26" fmla="*/ 222 w 255"/>
                <a:gd name="T27" fmla="*/ 177 h 289"/>
                <a:gd name="T28" fmla="*/ 172 w 255"/>
                <a:gd name="T29" fmla="*/ 195 h 289"/>
                <a:gd name="T30" fmla="*/ 167 w 255"/>
                <a:gd name="T31" fmla="*/ 220 h 289"/>
                <a:gd name="T32" fmla="*/ 169 w 255"/>
                <a:gd name="T33" fmla="*/ 255 h 289"/>
                <a:gd name="T34" fmla="*/ 181 w 255"/>
                <a:gd name="T35" fmla="*/ 281 h 289"/>
                <a:gd name="T36" fmla="*/ 163 w 255"/>
                <a:gd name="T37" fmla="*/ 286 h 289"/>
                <a:gd name="T38" fmla="*/ 150 w 255"/>
                <a:gd name="T39" fmla="*/ 267 h 289"/>
                <a:gd name="T40" fmla="*/ 121 w 255"/>
                <a:gd name="T41" fmla="*/ 265 h 289"/>
                <a:gd name="T42" fmla="*/ 104 w 255"/>
                <a:gd name="T43" fmla="*/ 267 h 289"/>
                <a:gd name="T44" fmla="*/ 83 w 255"/>
                <a:gd name="T45" fmla="*/ 267 h 289"/>
                <a:gd name="T46" fmla="*/ 70 w 255"/>
                <a:gd name="T47" fmla="*/ 262 h 289"/>
                <a:gd name="T48" fmla="*/ 54 w 255"/>
                <a:gd name="T49" fmla="*/ 252 h 289"/>
                <a:gd name="T50" fmla="*/ 34 w 255"/>
                <a:gd name="T51" fmla="*/ 230 h 289"/>
                <a:gd name="T52" fmla="*/ 20 w 255"/>
                <a:gd name="T53" fmla="*/ 216 h 289"/>
                <a:gd name="T54" fmla="*/ 19 w 255"/>
                <a:gd name="T55" fmla="*/ 203 h 289"/>
                <a:gd name="T56" fmla="*/ 5 w 255"/>
                <a:gd name="T57" fmla="*/ 199 h 289"/>
                <a:gd name="T58" fmla="*/ 2 w 255"/>
                <a:gd name="T59" fmla="*/ 178 h 289"/>
                <a:gd name="T60" fmla="*/ 14 w 255"/>
                <a:gd name="T61" fmla="*/ 163 h 289"/>
                <a:gd name="T62" fmla="*/ 17 w 255"/>
                <a:gd name="T63" fmla="*/ 148 h 289"/>
                <a:gd name="T64" fmla="*/ 19 w 255"/>
                <a:gd name="T65" fmla="*/ 133 h 289"/>
                <a:gd name="T66" fmla="*/ 37 w 255"/>
                <a:gd name="T67" fmla="*/ 134 h 289"/>
                <a:gd name="T68" fmla="*/ 66 w 255"/>
                <a:gd name="T69" fmla="*/ 127 h 289"/>
                <a:gd name="T70" fmla="*/ 82 w 255"/>
                <a:gd name="T71" fmla="*/ 105 h 289"/>
                <a:gd name="T72" fmla="*/ 99 w 255"/>
                <a:gd name="T73" fmla="*/ 98 h 289"/>
                <a:gd name="T74" fmla="*/ 115 w 255"/>
                <a:gd name="T75" fmla="*/ 100 h 289"/>
                <a:gd name="T76" fmla="*/ 121 w 255"/>
                <a:gd name="T77" fmla="*/ 80 h 289"/>
                <a:gd name="T78" fmla="*/ 142 w 255"/>
                <a:gd name="T79" fmla="*/ 67 h 289"/>
                <a:gd name="T80" fmla="*/ 130 w 255"/>
                <a:gd name="T81" fmla="*/ 58 h 289"/>
                <a:gd name="T82" fmla="*/ 125 w 255"/>
                <a:gd name="T83" fmla="*/ 50 h 289"/>
                <a:gd name="T84" fmla="*/ 125 w 255"/>
                <a:gd name="T85" fmla="*/ 41 h 289"/>
                <a:gd name="T86" fmla="*/ 142 w 255"/>
                <a:gd name="T87" fmla="*/ 37 h 289"/>
                <a:gd name="T88" fmla="*/ 157 w 255"/>
                <a:gd name="T89" fmla="*/ 29 h 289"/>
                <a:gd name="T90" fmla="*/ 174 w 255"/>
                <a:gd name="T91" fmla="*/ 14 h 289"/>
                <a:gd name="T92" fmla="*/ 189 w 255"/>
                <a:gd name="T93" fmla="*/ 7 h 289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55"/>
                <a:gd name="T142" fmla="*/ 0 h 289"/>
                <a:gd name="T143" fmla="*/ 255 w 255"/>
                <a:gd name="T144" fmla="*/ 289 h 289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55" h="289">
                  <a:moveTo>
                    <a:pt x="198" y="3"/>
                  </a:moveTo>
                  <a:lnTo>
                    <a:pt x="208" y="0"/>
                  </a:lnTo>
                  <a:lnTo>
                    <a:pt x="215" y="2"/>
                  </a:lnTo>
                  <a:lnTo>
                    <a:pt x="225" y="7"/>
                  </a:lnTo>
                  <a:lnTo>
                    <a:pt x="235" y="12"/>
                  </a:lnTo>
                  <a:lnTo>
                    <a:pt x="235" y="15"/>
                  </a:lnTo>
                  <a:lnTo>
                    <a:pt x="232" y="19"/>
                  </a:lnTo>
                  <a:lnTo>
                    <a:pt x="225" y="28"/>
                  </a:lnTo>
                  <a:lnTo>
                    <a:pt x="227" y="31"/>
                  </a:lnTo>
                  <a:lnTo>
                    <a:pt x="220" y="33"/>
                  </a:lnTo>
                  <a:lnTo>
                    <a:pt x="215" y="37"/>
                  </a:lnTo>
                  <a:lnTo>
                    <a:pt x="208" y="45"/>
                  </a:lnTo>
                  <a:lnTo>
                    <a:pt x="206" y="48"/>
                  </a:lnTo>
                  <a:lnTo>
                    <a:pt x="208" y="51"/>
                  </a:lnTo>
                  <a:lnTo>
                    <a:pt x="203" y="53"/>
                  </a:lnTo>
                  <a:lnTo>
                    <a:pt x="200" y="60"/>
                  </a:lnTo>
                  <a:lnTo>
                    <a:pt x="195" y="64"/>
                  </a:lnTo>
                  <a:lnTo>
                    <a:pt x="188" y="72"/>
                  </a:lnTo>
                  <a:lnTo>
                    <a:pt x="183" y="80"/>
                  </a:lnTo>
                  <a:lnTo>
                    <a:pt x="180" y="84"/>
                  </a:lnTo>
                  <a:lnTo>
                    <a:pt x="181" y="93"/>
                  </a:lnTo>
                  <a:lnTo>
                    <a:pt x="184" y="100"/>
                  </a:lnTo>
                  <a:lnTo>
                    <a:pt x="183" y="105"/>
                  </a:lnTo>
                  <a:lnTo>
                    <a:pt x="181" y="112"/>
                  </a:lnTo>
                  <a:lnTo>
                    <a:pt x="189" y="117"/>
                  </a:lnTo>
                  <a:lnTo>
                    <a:pt x="195" y="124"/>
                  </a:lnTo>
                  <a:lnTo>
                    <a:pt x="198" y="127"/>
                  </a:lnTo>
                  <a:lnTo>
                    <a:pt x="200" y="131"/>
                  </a:lnTo>
                  <a:lnTo>
                    <a:pt x="198" y="137"/>
                  </a:lnTo>
                  <a:lnTo>
                    <a:pt x="201" y="144"/>
                  </a:lnTo>
                  <a:lnTo>
                    <a:pt x="205" y="151"/>
                  </a:lnTo>
                  <a:lnTo>
                    <a:pt x="210" y="154"/>
                  </a:lnTo>
                  <a:lnTo>
                    <a:pt x="218" y="151"/>
                  </a:lnTo>
                  <a:lnTo>
                    <a:pt x="225" y="148"/>
                  </a:lnTo>
                  <a:lnTo>
                    <a:pt x="231" y="144"/>
                  </a:lnTo>
                  <a:lnTo>
                    <a:pt x="237" y="148"/>
                  </a:lnTo>
                  <a:lnTo>
                    <a:pt x="242" y="154"/>
                  </a:lnTo>
                  <a:lnTo>
                    <a:pt x="249" y="161"/>
                  </a:lnTo>
                  <a:lnTo>
                    <a:pt x="254" y="168"/>
                  </a:lnTo>
                  <a:lnTo>
                    <a:pt x="246" y="172"/>
                  </a:lnTo>
                  <a:lnTo>
                    <a:pt x="231" y="173"/>
                  </a:lnTo>
                  <a:lnTo>
                    <a:pt x="222" y="177"/>
                  </a:lnTo>
                  <a:lnTo>
                    <a:pt x="200" y="182"/>
                  </a:lnTo>
                  <a:lnTo>
                    <a:pt x="184" y="189"/>
                  </a:lnTo>
                  <a:lnTo>
                    <a:pt x="172" y="195"/>
                  </a:lnTo>
                  <a:lnTo>
                    <a:pt x="167" y="199"/>
                  </a:lnTo>
                  <a:lnTo>
                    <a:pt x="167" y="207"/>
                  </a:lnTo>
                  <a:lnTo>
                    <a:pt x="167" y="220"/>
                  </a:lnTo>
                  <a:lnTo>
                    <a:pt x="163" y="242"/>
                  </a:lnTo>
                  <a:lnTo>
                    <a:pt x="161" y="248"/>
                  </a:lnTo>
                  <a:lnTo>
                    <a:pt x="169" y="255"/>
                  </a:lnTo>
                  <a:lnTo>
                    <a:pt x="181" y="267"/>
                  </a:lnTo>
                  <a:lnTo>
                    <a:pt x="183" y="274"/>
                  </a:lnTo>
                  <a:lnTo>
                    <a:pt x="181" y="281"/>
                  </a:lnTo>
                  <a:lnTo>
                    <a:pt x="172" y="284"/>
                  </a:lnTo>
                  <a:lnTo>
                    <a:pt x="163" y="288"/>
                  </a:lnTo>
                  <a:lnTo>
                    <a:pt x="163" y="286"/>
                  </a:lnTo>
                  <a:lnTo>
                    <a:pt x="157" y="279"/>
                  </a:lnTo>
                  <a:lnTo>
                    <a:pt x="154" y="271"/>
                  </a:lnTo>
                  <a:lnTo>
                    <a:pt x="150" y="267"/>
                  </a:lnTo>
                  <a:lnTo>
                    <a:pt x="140" y="264"/>
                  </a:lnTo>
                  <a:lnTo>
                    <a:pt x="130" y="262"/>
                  </a:lnTo>
                  <a:lnTo>
                    <a:pt x="121" y="265"/>
                  </a:lnTo>
                  <a:lnTo>
                    <a:pt x="118" y="271"/>
                  </a:lnTo>
                  <a:lnTo>
                    <a:pt x="111" y="273"/>
                  </a:lnTo>
                  <a:lnTo>
                    <a:pt x="104" y="267"/>
                  </a:lnTo>
                  <a:lnTo>
                    <a:pt x="97" y="267"/>
                  </a:lnTo>
                  <a:lnTo>
                    <a:pt x="88" y="269"/>
                  </a:lnTo>
                  <a:lnTo>
                    <a:pt x="83" y="267"/>
                  </a:lnTo>
                  <a:lnTo>
                    <a:pt x="76" y="265"/>
                  </a:lnTo>
                  <a:lnTo>
                    <a:pt x="71" y="264"/>
                  </a:lnTo>
                  <a:lnTo>
                    <a:pt x="70" y="262"/>
                  </a:lnTo>
                  <a:lnTo>
                    <a:pt x="65" y="260"/>
                  </a:lnTo>
                  <a:lnTo>
                    <a:pt x="58" y="257"/>
                  </a:lnTo>
                  <a:lnTo>
                    <a:pt x="54" y="252"/>
                  </a:lnTo>
                  <a:lnTo>
                    <a:pt x="46" y="242"/>
                  </a:lnTo>
                  <a:lnTo>
                    <a:pt x="40" y="237"/>
                  </a:lnTo>
                  <a:lnTo>
                    <a:pt x="34" y="230"/>
                  </a:lnTo>
                  <a:lnTo>
                    <a:pt x="29" y="226"/>
                  </a:lnTo>
                  <a:lnTo>
                    <a:pt x="23" y="221"/>
                  </a:lnTo>
                  <a:lnTo>
                    <a:pt x="20" y="216"/>
                  </a:lnTo>
                  <a:lnTo>
                    <a:pt x="20" y="212"/>
                  </a:lnTo>
                  <a:lnTo>
                    <a:pt x="19" y="204"/>
                  </a:lnTo>
                  <a:lnTo>
                    <a:pt x="19" y="203"/>
                  </a:lnTo>
                  <a:lnTo>
                    <a:pt x="15" y="201"/>
                  </a:lnTo>
                  <a:lnTo>
                    <a:pt x="10" y="204"/>
                  </a:lnTo>
                  <a:lnTo>
                    <a:pt x="5" y="199"/>
                  </a:lnTo>
                  <a:lnTo>
                    <a:pt x="3" y="192"/>
                  </a:lnTo>
                  <a:lnTo>
                    <a:pt x="0" y="185"/>
                  </a:lnTo>
                  <a:lnTo>
                    <a:pt x="2" y="178"/>
                  </a:lnTo>
                  <a:lnTo>
                    <a:pt x="3" y="173"/>
                  </a:lnTo>
                  <a:lnTo>
                    <a:pt x="8" y="168"/>
                  </a:lnTo>
                  <a:lnTo>
                    <a:pt x="14" y="163"/>
                  </a:lnTo>
                  <a:lnTo>
                    <a:pt x="20" y="158"/>
                  </a:lnTo>
                  <a:lnTo>
                    <a:pt x="19" y="153"/>
                  </a:lnTo>
                  <a:lnTo>
                    <a:pt x="17" y="148"/>
                  </a:lnTo>
                  <a:lnTo>
                    <a:pt x="17" y="141"/>
                  </a:lnTo>
                  <a:lnTo>
                    <a:pt x="17" y="136"/>
                  </a:lnTo>
                  <a:lnTo>
                    <a:pt x="19" y="133"/>
                  </a:lnTo>
                  <a:lnTo>
                    <a:pt x="27" y="125"/>
                  </a:lnTo>
                  <a:lnTo>
                    <a:pt x="34" y="133"/>
                  </a:lnTo>
                  <a:lnTo>
                    <a:pt x="37" y="134"/>
                  </a:lnTo>
                  <a:lnTo>
                    <a:pt x="48" y="134"/>
                  </a:lnTo>
                  <a:lnTo>
                    <a:pt x="61" y="131"/>
                  </a:lnTo>
                  <a:lnTo>
                    <a:pt x="66" y="127"/>
                  </a:lnTo>
                  <a:lnTo>
                    <a:pt x="71" y="122"/>
                  </a:lnTo>
                  <a:lnTo>
                    <a:pt x="76" y="115"/>
                  </a:lnTo>
                  <a:lnTo>
                    <a:pt x="82" y="105"/>
                  </a:lnTo>
                  <a:lnTo>
                    <a:pt x="83" y="97"/>
                  </a:lnTo>
                  <a:lnTo>
                    <a:pt x="93" y="95"/>
                  </a:lnTo>
                  <a:lnTo>
                    <a:pt x="99" y="98"/>
                  </a:lnTo>
                  <a:lnTo>
                    <a:pt x="106" y="100"/>
                  </a:lnTo>
                  <a:lnTo>
                    <a:pt x="111" y="100"/>
                  </a:lnTo>
                  <a:lnTo>
                    <a:pt x="115" y="100"/>
                  </a:lnTo>
                  <a:lnTo>
                    <a:pt x="121" y="86"/>
                  </a:lnTo>
                  <a:lnTo>
                    <a:pt x="118" y="83"/>
                  </a:lnTo>
                  <a:lnTo>
                    <a:pt x="121" y="80"/>
                  </a:lnTo>
                  <a:lnTo>
                    <a:pt x="125" y="80"/>
                  </a:lnTo>
                  <a:lnTo>
                    <a:pt x="128" y="80"/>
                  </a:lnTo>
                  <a:lnTo>
                    <a:pt x="142" y="67"/>
                  </a:lnTo>
                  <a:lnTo>
                    <a:pt x="140" y="64"/>
                  </a:lnTo>
                  <a:lnTo>
                    <a:pt x="137" y="62"/>
                  </a:lnTo>
                  <a:lnTo>
                    <a:pt x="130" y="58"/>
                  </a:lnTo>
                  <a:lnTo>
                    <a:pt x="127" y="55"/>
                  </a:lnTo>
                  <a:lnTo>
                    <a:pt x="125" y="53"/>
                  </a:lnTo>
                  <a:lnTo>
                    <a:pt x="125" y="50"/>
                  </a:lnTo>
                  <a:lnTo>
                    <a:pt x="123" y="48"/>
                  </a:lnTo>
                  <a:lnTo>
                    <a:pt x="123" y="43"/>
                  </a:lnTo>
                  <a:lnTo>
                    <a:pt x="125" y="41"/>
                  </a:lnTo>
                  <a:lnTo>
                    <a:pt x="128" y="41"/>
                  </a:lnTo>
                  <a:lnTo>
                    <a:pt x="137" y="37"/>
                  </a:lnTo>
                  <a:lnTo>
                    <a:pt x="142" y="37"/>
                  </a:lnTo>
                  <a:lnTo>
                    <a:pt x="149" y="36"/>
                  </a:lnTo>
                  <a:lnTo>
                    <a:pt x="152" y="33"/>
                  </a:lnTo>
                  <a:lnTo>
                    <a:pt x="157" y="29"/>
                  </a:lnTo>
                  <a:lnTo>
                    <a:pt x="163" y="24"/>
                  </a:lnTo>
                  <a:lnTo>
                    <a:pt x="169" y="19"/>
                  </a:lnTo>
                  <a:lnTo>
                    <a:pt x="174" y="14"/>
                  </a:lnTo>
                  <a:lnTo>
                    <a:pt x="178" y="11"/>
                  </a:lnTo>
                  <a:lnTo>
                    <a:pt x="183" y="7"/>
                  </a:lnTo>
                  <a:lnTo>
                    <a:pt x="189" y="7"/>
                  </a:lnTo>
                  <a:lnTo>
                    <a:pt x="198" y="3"/>
                  </a:lnTo>
                </a:path>
              </a:pathLst>
            </a:custGeom>
            <a:solidFill>
              <a:srgbClr val="3397A5"/>
            </a:solidFill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140519" tIns="70257" rIns="140519" bIns="70257" anchor="ctr"/>
            <a:lstStyle/>
            <a:p>
              <a:pPr marL="0" marR="0" lvl="0" indent="0" algn="l" defTabSz="9143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endParaRPr>
            </a:p>
          </p:txBody>
        </p:sp>
        <p:sp>
          <p:nvSpPr>
            <p:cNvPr id="59" name="Freeform 5367"/>
            <p:cNvSpPr>
              <a:spLocks/>
            </p:cNvSpPr>
            <p:nvPr/>
          </p:nvSpPr>
          <p:spPr bwMode="auto">
            <a:xfrm>
              <a:off x="1784003" y="2768498"/>
              <a:ext cx="91962" cy="41231"/>
            </a:xfrm>
            <a:custGeom>
              <a:avLst/>
              <a:gdLst>
                <a:gd name="T0" fmla="*/ 17 w 41"/>
                <a:gd name="T1" fmla="*/ 0 h 24"/>
                <a:gd name="T2" fmla="*/ 11 w 41"/>
                <a:gd name="T3" fmla="*/ 6 h 24"/>
                <a:gd name="T4" fmla="*/ 6 w 41"/>
                <a:gd name="T5" fmla="*/ 6 h 24"/>
                <a:gd name="T6" fmla="*/ 0 w 41"/>
                <a:gd name="T7" fmla="*/ 6 h 24"/>
                <a:gd name="T8" fmla="*/ 1 w 41"/>
                <a:gd name="T9" fmla="*/ 11 h 24"/>
                <a:gd name="T10" fmla="*/ 3 w 41"/>
                <a:gd name="T11" fmla="*/ 14 h 24"/>
                <a:gd name="T12" fmla="*/ 15 w 41"/>
                <a:gd name="T13" fmla="*/ 17 h 24"/>
                <a:gd name="T14" fmla="*/ 27 w 41"/>
                <a:gd name="T15" fmla="*/ 21 h 24"/>
                <a:gd name="T16" fmla="*/ 34 w 41"/>
                <a:gd name="T17" fmla="*/ 23 h 24"/>
                <a:gd name="T18" fmla="*/ 37 w 41"/>
                <a:gd name="T19" fmla="*/ 17 h 24"/>
                <a:gd name="T20" fmla="*/ 40 w 41"/>
                <a:gd name="T21" fmla="*/ 14 h 24"/>
                <a:gd name="T22" fmla="*/ 40 w 41"/>
                <a:gd name="T23" fmla="*/ 7 h 24"/>
                <a:gd name="T24" fmla="*/ 37 w 41"/>
                <a:gd name="T25" fmla="*/ 0 h 24"/>
                <a:gd name="T26" fmla="*/ 32 w 41"/>
                <a:gd name="T27" fmla="*/ 0 h 24"/>
                <a:gd name="T28" fmla="*/ 25 w 41"/>
                <a:gd name="T29" fmla="*/ 4 h 24"/>
                <a:gd name="T30" fmla="*/ 17 w 41"/>
                <a:gd name="T31" fmla="*/ 0 h 2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1"/>
                <a:gd name="T49" fmla="*/ 0 h 24"/>
                <a:gd name="T50" fmla="*/ 41 w 41"/>
                <a:gd name="T51" fmla="*/ 24 h 2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1" h="24">
                  <a:moveTo>
                    <a:pt x="17" y="0"/>
                  </a:moveTo>
                  <a:lnTo>
                    <a:pt x="11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1" y="11"/>
                  </a:lnTo>
                  <a:lnTo>
                    <a:pt x="3" y="14"/>
                  </a:lnTo>
                  <a:lnTo>
                    <a:pt x="15" y="17"/>
                  </a:lnTo>
                  <a:lnTo>
                    <a:pt x="27" y="21"/>
                  </a:lnTo>
                  <a:lnTo>
                    <a:pt x="34" y="23"/>
                  </a:lnTo>
                  <a:lnTo>
                    <a:pt x="37" y="17"/>
                  </a:lnTo>
                  <a:lnTo>
                    <a:pt x="40" y="14"/>
                  </a:lnTo>
                  <a:lnTo>
                    <a:pt x="40" y="7"/>
                  </a:lnTo>
                  <a:lnTo>
                    <a:pt x="37" y="0"/>
                  </a:lnTo>
                  <a:lnTo>
                    <a:pt x="32" y="0"/>
                  </a:lnTo>
                  <a:lnTo>
                    <a:pt x="25" y="4"/>
                  </a:lnTo>
                  <a:lnTo>
                    <a:pt x="17" y="0"/>
                  </a:lnTo>
                </a:path>
              </a:pathLst>
            </a:custGeom>
            <a:solidFill>
              <a:schemeClr val="bg1">
                <a:lumMod val="75000"/>
                <a:alpha val="40000"/>
              </a:schemeClr>
            </a:solidFill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l" defTabSz="9143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endParaRPr>
            </a:p>
          </p:txBody>
        </p:sp>
        <p:sp>
          <p:nvSpPr>
            <p:cNvPr id="60" name="Freeform 5468"/>
            <p:cNvSpPr>
              <a:spLocks/>
            </p:cNvSpPr>
            <p:nvPr/>
          </p:nvSpPr>
          <p:spPr bwMode="auto">
            <a:xfrm>
              <a:off x="1785653" y="2350509"/>
              <a:ext cx="553416" cy="568699"/>
            </a:xfrm>
            <a:custGeom>
              <a:avLst/>
              <a:gdLst>
                <a:gd name="T0" fmla="*/ 13 w 250"/>
                <a:gd name="T1" fmla="*/ 61 h 312"/>
                <a:gd name="T2" fmla="*/ 29 w 250"/>
                <a:gd name="T3" fmla="*/ 85 h 312"/>
                <a:gd name="T4" fmla="*/ 24 w 250"/>
                <a:gd name="T5" fmla="*/ 109 h 312"/>
                <a:gd name="T6" fmla="*/ 32 w 250"/>
                <a:gd name="T7" fmla="*/ 135 h 312"/>
                <a:gd name="T8" fmla="*/ 47 w 250"/>
                <a:gd name="T9" fmla="*/ 172 h 312"/>
                <a:gd name="T10" fmla="*/ 47 w 250"/>
                <a:gd name="T11" fmla="*/ 194 h 312"/>
                <a:gd name="T12" fmla="*/ 44 w 250"/>
                <a:gd name="T13" fmla="*/ 213 h 312"/>
                <a:gd name="T14" fmla="*/ 59 w 250"/>
                <a:gd name="T15" fmla="*/ 225 h 312"/>
                <a:gd name="T16" fmla="*/ 63 w 250"/>
                <a:gd name="T17" fmla="*/ 239 h 312"/>
                <a:gd name="T18" fmla="*/ 81 w 250"/>
                <a:gd name="T19" fmla="*/ 254 h 312"/>
                <a:gd name="T20" fmla="*/ 90 w 250"/>
                <a:gd name="T21" fmla="*/ 270 h 312"/>
                <a:gd name="T22" fmla="*/ 102 w 250"/>
                <a:gd name="T23" fmla="*/ 287 h 312"/>
                <a:gd name="T24" fmla="*/ 111 w 250"/>
                <a:gd name="T25" fmla="*/ 305 h 312"/>
                <a:gd name="T26" fmla="*/ 128 w 250"/>
                <a:gd name="T27" fmla="*/ 306 h 312"/>
                <a:gd name="T28" fmla="*/ 145 w 250"/>
                <a:gd name="T29" fmla="*/ 311 h 312"/>
                <a:gd name="T30" fmla="*/ 153 w 250"/>
                <a:gd name="T31" fmla="*/ 302 h 312"/>
                <a:gd name="T32" fmla="*/ 164 w 250"/>
                <a:gd name="T33" fmla="*/ 283 h 312"/>
                <a:gd name="T34" fmla="*/ 172 w 250"/>
                <a:gd name="T35" fmla="*/ 272 h 312"/>
                <a:gd name="T36" fmla="*/ 182 w 250"/>
                <a:gd name="T37" fmla="*/ 259 h 312"/>
                <a:gd name="T38" fmla="*/ 184 w 250"/>
                <a:gd name="T39" fmla="*/ 244 h 312"/>
                <a:gd name="T40" fmla="*/ 198 w 250"/>
                <a:gd name="T41" fmla="*/ 245 h 312"/>
                <a:gd name="T42" fmla="*/ 205 w 250"/>
                <a:gd name="T43" fmla="*/ 230 h 312"/>
                <a:gd name="T44" fmla="*/ 212 w 250"/>
                <a:gd name="T45" fmla="*/ 213 h 312"/>
                <a:gd name="T46" fmla="*/ 214 w 250"/>
                <a:gd name="T47" fmla="*/ 205 h 312"/>
                <a:gd name="T48" fmla="*/ 210 w 250"/>
                <a:gd name="T49" fmla="*/ 190 h 312"/>
                <a:gd name="T50" fmla="*/ 220 w 250"/>
                <a:gd name="T51" fmla="*/ 179 h 312"/>
                <a:gd name="T52" fmla="*/ 234 w 250"/>
                <a:gd name="T53" fmla="*/ 174 h 312"/>
                <a:gd name="T54" fmla="*/ 234 w 250"/>
                <a:gd name="T55" fmla="*/ 162 h 312"/>
                <a:gd name="T56" fmla="*/ 229 w 250"/>
                <a:gd name="T57" fmla="*/ 137 h 312"/>
                <a:gd name="T58" fmla="*/ 243 w 250"/>
                <a:gd name="T59" fmla="*/ 140 h 312"/>
                <a:gd name="T60" fmla="*/ 237 w 250"/>
                <a:gd name="T61" fmla="*/ 124 h 312"/>
                <a:gd name="T62" fmla="*/ 246 w 250"/>
                <a:gd name="T63" fmla="*/ 116 h 312"/>
                <a:gd name="T64" fmla="*/ 246 w 250"/>
                <a:gd name="T65" fmla="*/ 107 h 312"/>
                <a:gd name="T66" fmla="*/ 237 w 250"/>
                <a:gd name="T67" fmla="*/ 107 h 312"/>
                <a:gd name="T68" fmla="*/ 226 w 250"/>
                <a:gd name="T69" fmla="*/ 102 h 312"/>
                <a:gd name="T70" fmla="*/ 220 w 250"/>
                <a:gd name="T71" fmla="*/ 92 h 312"/>
                <a:gd name="T72" fmla="*/ 201 w 250"/>
                <a:gd name="T73" fmla="*/ 80 h 312"/>
                <a:gd name="T74" fmla="*/ 190 w 250"/>
                <a:gd name="T75" fmla="*/ 75 h 312"/>
                <a:gd name="T76" fmla="*/ 190 w 250"/>
                <a:gd name="T77" fmla="*/ 61 h 312"/>
                <a:gd name="T78" fmla="*/ 177 w 250"/>
                <a:gd name="T79" fmla="*/ 56 h 312"/>
                <a:gd name="T80" fmla="*/ 155 w 250"/>
                <a:gd name="T81" fmla="*/ 53 h 312"/>
                <a:gd name="T82" fmla="*/ 148 w 250"/>
                <a:gd name="T83" fmla="*/ 56 h 312"/>
                <a:gd name="T84" fmla="*/ 136 w 250"/>
                <a:gd name="T85" fmla="*/ 54 h 312"/>
                <a:gd name="T86" fmla="*/ 104 w 250"/>
                <a:gd name="T87" fmla="*/ 44 h 312"/>
                <a:gd name="T88" fmla="*/ 92 w 250"/>
                <a:gd name="T89" fmla="*/ 34 h 312"/>
                <a:gd name="T90" fmla="*/ 71 w 250"/>
                <a:gd name="T91" fmla="*/ 20 h 312"/>
                <a:gd name="T92" fmla="*/ 47 w 250"/>
                <a:gd name="T93" fmla="*/ 17 h 312"/>
                <a:gd name="T94" fmla="*/ 25 w 250"/>
                <a:gd name="T95" fmla="*/ 10 h 312"/>
                <a:gd name="T96" fmla="*/ 18 w 250"/>
                <a:gd name="T97" fmla="*/ 3 h 312"/>
                <a:gd name="T98" fmla="*/ 3 w 250"/>
                <a:gd name="T99" fmla="*/ 8 h 312"/>
                <a:gd name="T100" fmla="*/ 9 w 250"/>
                <a:gd name="T101" fmla="*/ 33 h 312"/>
                <a:gd name="T102" fmla="*/ 23 w 250"/>
                <a:gd name="T103" fmla="*/ 50 h 31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50"/>
                <a:gd name="T157" fmla="*/ 0 h 312"/>
                <a:gd name="T158" fmla="*/ 250 w 250"/>
                <a:gd name="T159" fmla="*/ 312 h 31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50" h="312">
                  <a:moveTo>
                    <a:pt x="16" y="54"/>
                  </a:moveTo>
                  <a:lnTo>
                    <a:pt x="13" y="61"/>
                  </a:lnTo>
                  <a:lnTo>
                    <a:pt x="22" y="68"/>
                  </a:lnTo>
                  <a:lnTo>
                    <a:pt x="29" y="85"/>
                  </a:lnTo>
                  <a:lnTo>
                    <a:pt x="27" y="99"/>
                  </a:lnTo>
                  <a:lnTo>
                    <a:pt x="24" y="109"/>
                  </a:lnTo>
                  <a:lnTo>
                    <a:pt x="22" y="114"/>
                  </a:lnTo>
                  <a:lnTo>
                    <a:pt x="32" y="135"/>
                  </a:lnTo>
                  <a:lnTo>
                    <a:pt x="41" y="155"/>
                  </a:lnTo>
                  <a:lnTo>
                    <a:pt x="47" y="172"/>
                  </a:lnTo>
                  <a:lnTo>
                    <a:pt x="51" y="182"/>
                  </a:lnTo>
                  <a:lnTo>
                    <a:pt x="47" y="194"/>
                  </a:lnTo>
                  <a:lnTo>
                    <a:pt x="42" y="205"/>
                  </a:lnTo>
                  <a:lnTo>
                    <a:pt x="44" y="213"/>
                  </a:lnTo>
                  <a:lnTo>
                    <a:pt x="53" y="218"/>
                  </a:lnTo>
                  <a:lnTo>
                    <a:pt x="59" y="225"/>
                  </a:lnTo>
                  <a:lnTo>
                    <a:pt x="63" y="230"/>
                  </a:lnTo>
                  <a:lnTo>
                    <a:pt x="63" y="239"/>
                  </a:lnTo>
                  <a:lnTo>
                    <a:pt x="73" y="245"/>
                  </a:lnTo>
                  <a:lnTo>
                    <a:pt x="81" y="254"/>
                  </a:lnTo>
                  <a:lnTo>
                    <a:pt x="87" y="261"/>
                  </a:lnTo>
                  <a:lnTo>
                    <a:pt x="90" y="270"/>
                  </a:lnTo>
                  <a:lnTo>
                    <a:pt x="95" y="275"/>
                  </a:lnTo>
                  <a:lnTo>
                    <a:pt x="102" y="287"/>
                  </a:lnTo>
                  <a:lnTo>
                    <a:pt x="107" y="297"/>
                  </a:lnTo>
                  <a:lnTo>
                    <a:pt x="111" y="305"/>
                  </a:lnTo>
                  <a:lnTo>
                    <a:pt x="117" y="305"/>
                  </a:lnTo>
                  <a:lnTo>
                    <a:pt x="128" y="306"/>
                  </a:lnTo>
                  <a:lnTo>
                    <a:pt x="136" y="308"/>
                  </a:lnTo>
                  <a:lnTo>
                    <a:pt x="145" y="311"/>
                  </a:lnTo>
                  <a:lnTo>
                    <a:pt x="146" y="308"/>
                  </a:lnTo>
                  <a:lnTo>
                    <a:pt x="153" y="302"/>
                  </a:lnTo>
                  <a:lnTo>
                    <a:pt x="161" y="291"/>
                  </a:lnTo>
                  <a:lnTo>
                    <a:pt x="164" y="283"/>
                  </a:lnTo>
                  <a:lnTo>
                    <a:pt x="165" y="272"/>
                  </a:lnTo>
                  <a:lnTo>
                    <a:pt x="172" y="272"/>
                  </a:lnTo>
                  <a:lnTo>
                    <a:pt x="175" y="267"/>
                  </a:lnTo>
                  <a:lnTo>
                    <a:pt x="182" y="259"/>
                  </a:lnTo>
                  <a:lnTo>
                    <a:pt x="179" y="249"/>
                  </a:lnTo>
                  <a:lnTo>
                    <a:pt x="184" y="244"/>
                  </a:lnTo>
                  <a:lnTo>
                    <a:pt x="192" y="249"/>
                  </a:lnTo>
                  <a:lnTo>
                    <a:pt x="198" y="245"/>
                  </a:lnTo>
                  <a:lnTo>
                    <a:pt x="196" y="241"/>
                  </a:lnTo>
                  <a:lnTo>
                    <a:pt x="205" y="230"/>
                  </a:lnTo>
                  <a:lnTo>
                    <a:pt x="205" y="220"/>
                  </a:lnTo>
                  <a:lnTo>
                    <a:pt x="212" y="213"/>
                  </a:lnTo>
                  <a:lnTo>
                    <a:pt x="210" y="208"/>
                  </a:lnTo>
                  <a:lnTo>
                    <a:pt x="214" y="205"/>
                  </a:lnTo>
                  <a:lnTo>
                    <a:pt x="212" y="196"/>
                  </a:lnTo>
                  <a:lnTo>
                    <a:pt x="210" y="190"/>
                  </a:lnTo>
                  <a:lnTo>
                    <a:pt x="214" y="184"/>
                  </a:lnTo>
                  <a:lnTo>
                    <a:pt x="220" y="179"/>
                  </a:lnTo>
                  <a:lnTo>
                    <a:pt x="229" y="177"/>
                  </a:lnTo>
                  <a:lnTo>
                    <a:pt x="234" y="174"/>
                  </a:lnTo>
                  <a:lnTo>
                    <a:pt x="237" y="171"/>
                  </a:lnTo>
                  <a:lnTo>
                    <a:pt x="234" y="162"/>
                  </a:lnTo>
                  <a:lnTo>
                    <a:pt x="224" y="145"/>
                  </a:lnTo>
                  <a:lnTo>
                    <a:pt x="229" y="137"/>
                  </a:lnTo>
                  <a:lnTo>
                    <a:pt x="237" y="138"/>
                  </a:lnTo>
                  <a:lnTo>
                    <a:pt x="243" y="140"/>
                  </a:lnTo>
                  <a:lnTo>
                    <a:pt x="239" y="130"/>
                  </a:lnTo>
                  <a:lnTo>
                    <a:pt x="237" y="124"/>
                  </a:lnTo>
                  <a:lnTo>
                    <a:pt x="241" y="119"/>
                  </a:lnTo>
                  <a:lnTo>
                    <a:pt x="246" y="116"/>
                  </a:lnTo>
                  <a:lnTo>
                    <a:pt x="249" y="112"/>
                  </a:lnTo>
                  <a:lnTo>
                    <a:pt x="246" y="107"/>
                  </a:lnTo>
                  <a:lnTo>
                    <a:pt x="241" y="104"/>
                  </a:lnTo>
                  <a:lnTo>
                    <a:pt x="237" y="107"/>
                  </a:lnTo>
                  <a:lnTo>
                    <a:pt x="232" y="109"/>
                  </a:lnTo>
                  <a:lnTo>
                    <a:pt x="226" y="102"/>
                  </a:lnTo>
                  <a:lnTo>
                    <a:pt x="224" y="97"/>
                  </a:lnTo>
                  <a:lnTo>
                    <a:pt x="220" y="92"/>
                  </a:lnTo>
                  <a:lnTo>
                    <a:pt x="209" y="82"/>
                  </a:lnTo>
                  <a:lnTo>
                    <a:pt x="201" y="80"/>
                  </a:lnTo>
                  <a:lnTo>
                    <a:pt x="193" y="78"/>
                  </a:lnTo>
                  <a:lnTo>
                    <a:pt x="190" y="75"/>
                  </a:lnTo>
                  <a:lnTo>
                    <a:pt x="190" y="67"/>
                  </a:lnTo>
                  <a:lnTo>
                    <a:pt x="190" y="61"/>
                  </a:lnTo>
                  <a:lnTo>
                    <a:pt x="182" y="54"/>
                  </a:lnTo>
                  <a:lnTo>
                    <a:pt x="177" y="56"/>
                  </a:lnTo>
                  <a:lnTo>
                    <a:pt x="162" y="56"/>
                  </a:lnTo>
                  <a:lnTo>
                    <a:pt x="155" y="53"/>
                  </a:lnTo>
                  <a:lnTo>
                    <a:pt x="151" y="54"/>
                  </a:lnTo>
                  <a:lnTo>
                    <a:pt x="148" y="56"/>
                  </a:lnTo>
                  <a:lnTo>
                    <a:pt x="141" y="54"/>
                  </a:lnTo>
                  <a:lnTo>
                    <a:pt x="136" y="54"/>
                  </a:lnTo>
                  <a:lnTo>
                    <a:pt x="124" y="46"/>
                  </a:lnTo>
                  <a:lnTo>
                    <a:pt x="104" y="44"/>
                  </a:lnTo>
                  <a:lnTo>
                    <a:pt x="98" y="42"/>
                  </a:lnTo>
                  <a:lnTo>
                    <a:pt x="92" y="34"/>
                  </a:lnTo>
                  <a:lnTo>
                    <a:pt x="83" y="27"/>
                  </a:lnTo>
                  <a:lnTo>
                    <a:pt x="71" y="20"/>
                  </a:lnTo>
                  <a:lnTo>
                    <a:pt x="61" y="19"/>
                  </a:lnTo>
                  <a:lnTo>
                    <a:pt x="47" y="17"/>
                  </a:lnTo>
                  <a:lnTo>
                    <a:pt x="32" y="12"/>
                  </a:lnTo>
                  <a:lnTo>
                    <a:pt x="25" y="10"/>
                  </a:lnTo>
                  <a:lnTo>
                    <a:pt x="22" y="8"/>
                  </a:lnTo>
                  <a:lnTo>
                    <a:pt x="18" y="3"/>
                  </a:lnTo>
                  <a:lnTo>
                    <a:pt x="13" y="0"/>
                  </a:lnTo>
                  <a:lnTo>
                    <a:pt x="3" y="8"/>
                  </a:lnTo>
                  <a:lnTo>
                    <a:pt x="0" y="22"/>
                  </a:lnTo>
                  <a:lnTo>
                    <a:pt x="9" y="33"/>
                  </a:lnTo>
                  <a:lnTo>
                    <a:pt x="18" y="39"/>
                  </a:lnTo>
                  <a:lnTo>
                    <a:pt x="23" y="50"/>
                  </a:lnTo>
                  <a:lnTo>
                    <a:pt x="16" y="54"/>
                  </a:lnTo>
                </a:path>
              </a:pathLst>
            </a:custGeom>
            <a:solidFill>
              <a:srgbClr val="3397A5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27844" tIns="63920" rIns="127844" bIns="63920" anchor="ctr"/>
            <a:lstStyle/>
            <a:p>
              <a:pPr marL="0" marR="0" lvl="0" indent="0" algn="ctr" defTabSz="95882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endParaRPr>
            </a:p>
          </p:txBody>
        </p:sp>
      </p:grpSp>
      <p:sp>
        <p:nvSpPr>
          <p:cNvPr id="61" name="Freeform 94">
            <a:extLst>
              <a:ext uri="{FF2B5EF4-FFF2-40B4-BE49-F238E27FC236}">
                <a16:creationId xmlns:a16="http://schemas.microsoft.com/office/drawing/2014/main" id="{AA2879CF-CE02-4A6A-BD42-25C6458EF6C8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 rot="300672">
            <a:off x="6803125" y="1952869"/>
            <a:ext cx="394966" cy="374604"/>
          </a:xfrm>
          <a:custGeom>
            <a:avLst/>
            <a:gdLst/>
            <a:ahLst/>
            <a:cxnLst/>
            <a:rect l="0" t="0" r="0" b="0"/>
            <a:pathLst>
              <a:path w="313790" h="317990">
                <a:moveTo>
                  <a:pt x="145769" y="63410"/>
                </a:moveTo>
                <a:lnTo>
                  <a:pt x="154314" y="57731"/>
                </a:lnTo>
                <a:lnTo>
                  <a:pt x="154721" y="54159"/>
                </a:lnTo>
                <a:lnTo>
                  <a:pt x="151323" y="49163"/>
                </a:lnTo>
                <a:lnTo>
                  <a:pt x="148470" y="39187"/>
                </a:lnTo>
                <a:lnTo>
                  <a:pt x="156100" y="37409"/>
                </a:lnTo>
                <a:lnTo>
                  <a:pt x="158244" y="37731"/>
                </a:lnTo>
                <a:lnTo>
                  <a:pt x="159923" y="39931"/>
                </a:lnTo>
                <a:lnTo>
                  <a:pt x="162550" y="46475"/>
                </a:lnTo>
                <a:lnTo>
                  <a:pt x="164621" y="47605"/>
                </a:lnTo>
                <a:lnTo>
                  <a:pt x="203278" y="51095"/>
                </a:lnTo>
                <a:lnTo>
                  <a:pt x="207520" y="48598"/>
                </a:lnTo>
                <a:lnTo>
                  <a:pt x="214663" y="41485"/>
                </a:lnTo>
                <a:lnTo>
                  <a:pt x="218603" y="39489"/>
                </a:lnTo>
                <a:lnTo>
                  <a:pt x="234882" y="41766"/>
                </a:lnTo>
                <a:lnTo>
                  <a:pt x="242098" y="39690"/>
                </a:lnTo>
                <a:lnTo>
                  <a:pt x="245364" y="40379"/>
                </a:lnTo>
                <a:lnTo>
                  <a:pt x="247687" y="42086"/>
                </a:lnTo>
                <a:lnTo>
                  <a:pt x="251525" y="46321"/>
                </a:lnTo>
                <a:lnTo>
                  <a:pt x="254088" y="47185"/>
                </a:lnTo>
                <a:lnTo>
                  <a:pt x="252362" y="51702"/>
                </a:lnTo>
                <a:lnTo>
                  <a:pt x="252154" y="55787"/>
                </a:lnTo>
                <a:lnTo>
                  <a:pt x="252379" y="59516"/>
                </a:lnTo>
                <a:lnTo>
                  <a:pt x="251932" y="62937"/>
                </a:lnTo>
                <a:lnTo>
                  <a:pt x="250141" y="66190"/>
                </a:lnTo>
                <a:lnTo>
                  <a:pt x="246076" y="71132"/>
                </a:lnTo>
                <a:lnTo>
                  <a:pt x="244853" y="75296"/>
                </a:lnTo>
                <a:lnTo>
                  <a:pt x="250566" y="74624"/>
                </a:lnTo>
                <a:lnTo>
                  <a:pt x="256896" y="76329"/>
                </a:lnTo>
                <a:lnTo>
                  <a:pt x="262598" y="79855"/>
                </a:lnTo>
                <a:lnTo>
                  <a:pt x="270175" y="89973"/>
                </a:lnTo>
                <a:lnTo>
                  <a:pt x="278351" y="96448"/>
                </a:lnTo>
                <a:lnTo>
                  <a:pt x="282170" y="102050"/>
                </a:lnTo>
                <a:lnTo>
                  <a:pt x="290491" y="104440"/>
                </a:lnTo>
                <a:lnTo>
                  <a:pt x="295071" y="106158"/>
                </a:lnTo>
                <a:lnTo>
                  <a:pt x="302610" y="109143"/>
                </a:lnTo>
                <a:lnTo>
                  <a:pt x="309930" y="112653"/>
                </a:lnTo>
                <a:lnTo>
                  <a:pt x="311797" y="115633"/>
                </a:lnTo>
                <a:lnTo>
                  <a:pt x="313051" y="119020"/>
                </a:lnTo>
                <a:lnTo>
                  <a:pt x="313719" y="122764"/>
                </a:lnTo>
                <a:lnTo>
                  <a:pt x="313789" y="126825"/>
                </a:lnTo>
                <a:lnTo>
                  <a:pt x="313789" y="126825"/>
                </a:lnTo>
                <a:lnTo>
                  <a:pt x="312741" y="127261"/>
                </a:lnTo>
                <a:lnTo>
                  <a:pt x="311500" y="130388"/>
                </a:lnTo>
                <a:lnTo>
                  <a:pt x="311867" y="133974"/>
                </a:lnTo>
                <a:lnTo>
                  <a:pt x="312811" y="137850"/>
                </a:lnTo>
                <a:lnTo>
                  <a:pt x="313241" y="141930"/>
                </a:lnTo>
                <a:lnTo>
                  <a:pt x="311788" y="146782"/>
                </a:lnTo>
                <a:lnTo>
                  <a:pt x="308847" y="145724"/>
                </a:lnTo>
                <a:lnTo>
                  <a:pt x="302960" y="139961"/>
                </a:lnTo>
                <a:lnTo>
                  <a:pt x="299562" y="139017"/>
                </a:lnTo>
                <a:lnTo>
                  <a:pt x="296914" y="138698"/>
                </a:lnTo>
                <a:lnTo>
                  <a:pt x="290357" y="139503"/>
                </a:lnTo>
                <a:lnTo>
                  <a:pt x="276629" y="138997"/>
                </a:lnTo>
                <a:lnTo>
                  <a:pt x="274341" y="144585"/>
                </a:lnTo>
                <a:lnTo>
                  <a:pt x="273012" y="147426"/>
                </a:lnTo>
                <a:lnTo>
                  <a:pt x="262993" y="162615"/>
                </a:lnTo>
                <a:lnTo>
                  <a:pt x="242046" y="206179"/>
                </a:lnTo>
                <a:lnTo>
                  <a:pt x="239542" y="209812"/>
                </a:lnTo>
                <a:lnTo>
                  <a:pt x="237706" y="213282"/>
                </a:lnTo>
                <a:lnTo>
                  <a:pt x="236962" y="215519"/>
                </a:lnTo>
                <a:lnTo>
                  <a:pt x="236331" y="218282"/>
                </a:lnTo>
                <a:lnTo>
                  <a:pt x="235867" y="222895"/>
                </a:lnTo>
                <a:lnTo>
                  <a:pt x="236042" y="225556"/>
                </a:lnTo>
                <a:lnTo>
                  <a:pt x="236581" y="227506"/>
                </a:lnTo>
                <a:lnTo>
                  <a:pt x="237242" y="228709"/>
                </a:lnTo>
                <a:lnTo>
                  <a:pt x="239000" y="230796"/>
                </a:lnTo>
                <a:lnTo>
                  <a:pt x="240095" y="231707"/>
                </a:lnTo>
                <a:lnTo>
                  <a:pt x="242584" y="233256"/>
                </a:lnTo>
                <a:lnTo>
                  <a:pt x="248118" y="235856"/>
                </a:lnTo>
                <a:lnTo>
                  <a:pt x="250319" y="237584"/>
                </a:lnTo>
                <a:lnTo>
                  <a:pt x="251128" y="238634"/>
                </a:lnTo>
                <a:lnTo>
                  <a:pt x="251742" y="239888"/>
                </a:lnTo>
                <a:lnTo>
                  <a:pt x="252151" y="241406"/>
                </a:lnTo>
                <a:lnTo>
                  <a:pt x="252315" y="243230"/>
                </a:lnTo>
                <a:lnTo>
                  <a:pt x="252289" y="245094"/>
                </a:lnTo>
                <a:lnTo>
                  <a:pt x="250871" y="256045"/>
                </a:lnTo>
                <a:lnTo>
                  <a:pt x="246134" y="264803"/>
                </a:lnTo>
                <a:lnTo>
                  <a:pt x="238639" y="275777"/>
                </a:lnTo>
                <a:lnTo>
                  <a:pt x="236077" y="280900"/>
                </a:lnTo>
                <a:lnTo>
                  <a:pt x="234700" y="284521"/>
                </a:lnTo>
                <a:lnTo>
                  <a:pt x="234875" y="286203"/>
                </a:lnTo>
                <a:lnTo>
                  <a:pt x="235191" y="287702"/>
                </a:lnTo>
                <a:lnTo>
                  <a:pt x="237872" y="296602"/>
                </a:lnTo>
                <a:lnTo>
                  <a:pt x="239084" y="302998"/>
                </a:lnTo>
                <a:lnTo>
                  <a:pt x="239158" y="304691"/>
                </a:lnTo>
                <a:lnTo>
                  <a:pt x="238799" y="306651"/>
                </a:lnTo>
                <a:lnTo>
                  <a:pt x="237926" y="308383"/>
                </a:lnTo>
                <a:lnTo>
                  <a:pt x="236091" y="310480"/>
                </a:lnTo>
                <a:lnTo>
                  <a:pt x="234622" y="311646"/>
                </a:lnTo>
                <a:lnTo>
                  <a:pt x="232328" y="312266"/>
                </a:lnTo>
                <a:lnTo>
                  <a:pt x="229530" y="312224"/>
                </a:lnTo>
                <a:lnTo>
                  <a:pt x="224177" y="311087"/>
                </a:lnTo>
                <a:lnTo>
                  <a:pt x="221795" y="309862"/>
                </a:lnTo>
                <a:lnTo>
                  <a:pt x="220381" y="308475"/>
                </a:lnTo>
                <a:lnTo>
                  <a:pt x="218994" y="304044"/>
                </a:lnTo>
                <a:lnTo>
                  <a:pt x="218341" y="302773"/>
                </a:lnTo>
                <a:lnTo>
                  <a:pt x="217357" y="302370"/>
                </a:lnTo>
                <a:lnTo>
                  <a:pt x="216154" y="302913"/>
                </a:lnTo>
                <a:lnTo>
                  <a:pt x="215244" y="305497"/>
                </a:lnTo>
                <a:lnTo>
                  <a:pt x="215118" y="307466"/>
                </a:lnTo>
                <a:lnTo>
                  <a:pt x="215104" y="311333"/>
                </a:lnTo>
                <a:lnTo>
                  <a:pt x="214846" y="313074"/>
                </a:lnTo>
                <a:lnTo>
                  <a:pt x="213956" y="316307"/>
                </a:lnTo>
                <a:lnTo>
                  <a:pt x="211001" y="317989"/>
                </a:lnTo>
                <a:lnTo>
                  <a:pt x="201531" y="316195"/>
                </a:lnTo>
                <a:lnTo>
                  <a:pt x="203581" y="299641"/>
                </a:lnTo>
                <a:lnTo>
                  <a:pt x="202642" y="294718"/>
                </a:lnTo>
                <a:lnTo>
                  <a:pt x="201640" y="293766"/>
                </a:lnTo>
                <a:lnTo>
                  <a:pt x="200400" y="291786"/>
                </a:lnTo>
                <a:lnTo>
                  <a:pt x="198969" y="288551"/>
                </a:lnTo>
                <a:lnTo>
                  <a:pt x="194179" y="271437"/>
                </a:lnTo>
                <a:lnTo>
                  <a:pt x="191330" y="264456"/>
                </a:lnTo>
                <a:lnTo>
                  <a:pt x="190103" y="262187"/>
                </a:lnTo>
                <a:lnTo>
                  <a:pt x="188939" y="260522"/>
                </a:lnTo>
                <a:lnTo>
                  <a:pt x="187892" y="259611"/>
                </a:lnTo>
                <a:lnTo>
                  <a:pt x="186743" y="258856"/>
                </a:lnTo>
                <a:lnTo>
                  <a:pt x="185352" y="258177"/>
                </a:lnTo>
                <a:lnTo>
                  <a:pt x="178460" y="256805"/>
                </a:lnTo>
                <a:lnTo>
                  <a:pt x="171129" y="256506"/>
                </a:lnTo>
                <a:lnTo>
                  <a:pt x="168713" y="255500"/>
                </a:lnTo>
                <a:lnTo>
                  <a:pt x="165818" y="253469"/>
                </a:lnTo>
                <a:lnTo>
                  <a:pt x="161095" y="247942"/>
                </a:lnTo>
                <a:lnTo>
                  <a:pt x="159085" y="245116"/>
                </a:lnTo>
                <a:lnTo>
                  <a:pt x="157846" y="242779"/>
                </a:lnTo>
                <a:lnTo>
                  <a:pt x="157681" y="241162"/>
                </a:lnTo>
                <a:lnTo>
                  <a:pt x="157891" y="239528"/>
                </a:lnTo>
                <a:lnTo>
                  <a:pt x="158297" y="237854"/>
                </a:lnTo>
                <a:lnTo>
                  <a:pt x="159795" y="235073"/>
                </a:lnTo>
                <a:lnTo>
                  <a:pt x="160384" y="233502"/>
                </a:lnTo>
                <a:lnTo>
                  <a:pt x="160497" y="230862"/>
                </a:lnTo>
                <a:lnTo>
                  <a:pt x="159951" y="229230"/>
                </a:lnTo>
                <a:lnTo>
                  <a:pt x="159107" y="227981"/>
                </a:lnTo>
                <a:lnTo>
                  <a:pt x="143382" y="212467"/>
                </a:lnTo>
                <a:lnTo>
                  <a:pt x="137908" y="205639"/>
                </a:lnTo>
                <a:lnTo>
                  <a:pt x="136463" y="203023"/>
                </a:lnTo>
                <a:lnTo>
                  <a:pt x="135854" y="200754"/>
                </a:lnTo>
                <a:lnTo>
                  <a:pt x="136717" y="197234"/>
                </a:lnTo>
                <a:lnTo>
                  <a:pt x="136912" y="194909"/>
                </a:lnTo>
                <a:lnTo>
                  <a:pt x="136286" y="190864"/>
                </a:lnTo>
                <a:lnTo>
                  <a:pt x="135487" y="188664"/>
                </a:lnTo>
                <a:lnTo>
                  <a:pt x="134569" y="187038"/>
                </a:lnTo>
                <a:lnTo>
                  <a:pt x="133136" y="185286"/>
                </a:lnTo>
                <a:lnTo>
                  <a:pt x="132591" y="184753"/>
                </a:lnTo>
                <a:lnTo>
                  <a:pt x="130493" y="183252"/>
                </a:lnTo>
                <a:lnTo>
                  <a:pt x="127947" y="182203"/>
                </a:lnTo>
                <a:lnTo>
                  <a:pt x="119022" y="181106"/>
                </a:lnTo>
                <a:lnTo>
                  <a:pt x="117070" y="180379"/>
                </a:lnTo>
                <a:lnTo>
                  <a:pt x="115003" y="179245"/>
                </a:lnTo>
                <a:lnTo>
                  <a:pt x="110900" y="176135"/>
                </a:lnTo>
                <a:lnTo>
                  <a:pt x="110312" y="175542"/>
                </a:lnTo>
                <a:lnTo>
                  <a:pt x="109745" y="174195"/>
                </a:lnTo>
                <a:lnTo>
                  <a:pt x="109335" y="172912"/>
                </a:lnTo>
                <a:lnTo>
                  <a:pt x="109018" y="171486"/>
                </a:lnTo>
                <a:lnTo>
                  <a:pt x="108764" y="169842"/>
                </a:lnTo>
                <a:lnTo>
                  <a:pt x="108701" y="168129"/>
                </a:lnTo>
                <a:lnTo>
                  <a:pt x="108831" y="166269"/>
                </a:lnTo>
                <a:lnTo>
                  <a:pt x="110813" y="155584"/>
                </a:lnTo>
                <a:lnTo>
                  <a:pt x="110827" y="153205"/>
                </a:lnTo>
                <a:lnTo>
                  <a:pt x="109959" y="152615"/>
                </a:lnTo>
                <a:lnTo>
                  <a:pt x="101702" y="150274"/>
                </a:lnTo>
                <a:lnTo>
                  <a:pt x="96509" y="152223"/>
                </a:lnTo>
                <a:lnTo>
                  <a:pt x="77989" y="162463"/>
                </a:lnTo>
                <a:lnTo>
                  <a:pt x="70910" y="163363"/>
                </a:lnTo>
                <a:lnTo>
                  <a:pt x="59422" y="162842"/>
                </a:lnTo>
                <a:lnTo>
                  <a:pt x="53756" y="160100"/>
                </a:lnTo>
                <a:lnTo>
                  <a:pt x="50213" y="159612"/>
                </a:lnTo>
                <a:lnTo>
                  <a:pt x="46069" y="162230"/>
                </a:lnTo>
                <a:lnTo>
                  <a:pt x="39276" y="154856"/>
                </a:lnTo>
                <a:lnTo>
                  <a:pt x="35614" y="146165"/>
                </a:lnTo>
                <a:lnTo>
                  <a:pt x="29161" y="125677"/>
                </a:lnTo>
                <a:lnTo>
                  <a:pt x="19376" y="112710"/>
                </a:lnTo>
                <a:lnTo>
                  <a:pt x="17206" y="105145"/>
                </a:lnTo>
                <a:lnTo>
                  <a:pt x="16681" y="104430"/>
                </a:lnTo>
                <a:lnTo>
                  <a:pt x="14890" y="100590"/>
                </a:lnTo>
                <a:lnTo>
                  <a:pt x="14343" y="98429"/>
                </a:lnTo>
                <a:lnTo>
                  <a:pt x="13642" y="94532"/>
                </a:lnTo>
                <a:lnTo>
                  <a:pt x="16236" y="88477"/>
                </a:lnTo>
                <a:lnTo>
                  <a:pt x="15877" y="87217"/>
                </a:lnTo>
                <a:lnTo>
                  <a:pt x="15243" y="85767"/>
                </a:lnTo>
                <a:lnTo>
                  <a:pt x="13624" y="84291"/>
                </a:lnTo>
                <a:lnTo>
                  <a:pt x="11785" y="82158"/>
                </a:lnTo>
                <a:lnTo>
                  <a:pt x="9192" y="77623"/>
                </a:lnTo>
                <a:lnTo>
                  <a:pt x="8778" y="74548"/>
                </a:lnTo>
                <a:lnTo>
                  <a:pt x="9042" y="72028"/>
                </a:lnTo>
                <a:lnTo>
                  <a:pt x="9942" y="69015"/>
                </a:lnTo>
                <a:lnTo>
                  <a:pt x="9508" y="67430"/>
                </a:lnTo>
                <a:lnTo>
                  <a:pt x="8393" y="66155"/>
                </a:lnTo>
                <a:lnTo>
                  <a:pt x="6950" y="65064"/>
                </a:lnTo>
                <a:lnTo>
                  <a:pt x="5482" y="62463"/>
                </a:lnTo>
                <a:lnTo>
                  <a:pt x="5457" y="54352"/>
                </a:lnTo>
                <a:lnTo>
                  <a:pt x="4875" y="51867"/>
                </a:lnTo>
                <a:lnTo>
                  <a:pt x="3650" y="50175"/>
                </a:lnTo>
                <a:lnTo>
                  <a:pt x="2064" y="49031"/>
                </a:lnTo>
                <a:lnTo>
                  <a:pt x="427" y="47043"/>
                </a:lnTo>
                <a:lnTo>
                  <a:pt x="0" y="45214"/>
                </a:lnTo>
                <a:lnTo>
                  <a:pt x="122" y="43694"/>
                </a:lnTo>
                <a:lnTo>
                  <a:pt x="598" y="42674"/>
                </a:lnTo>
                <a:lnTo>
                  <a:pt x="2565" y="39858"/>
                </a:lnTo>
                <a:lnTo>
                  <a:pt x="4221" y="36759"/>
                </a:lnTo>
                <a:lnTo>
                  <a:pt x="4758" y="36193"/>
                </a:lnTo>
                <a:lnTo>
                  <a:pt x="4765" y="36185"/>
                </a:lnTo>
                <a:lnTo>
                  <a:pt x="8323" y="32426"/>
                </a:lnTo>
                <a:lnTo>
                  <a:pt x="10921" y="26354"/>
                </a:lnTo>
                <a:lnTo>
                  <a:pt x="13120" y="19738"/>
                </a:lnTo>
                <a:lnTo>
                  <a:pt x="14580" y="16794"/>
                </a:lnTo>
                <a:lnTo>
                  <a:pt x="16047" y="14909"/>
                </a:lnTo>
                <a:lnTo>
                  <a:pt x="17335" y="14350"/>
                </a:lnTo>
                <a:lnTo>
                  <a:pt x="19082" y="14066"/>
                </a:lnTo>
                <a:lnTo>
                  <a:pt x="23854" y="14216"/>
                </a:lnTo>
                <a:lnTo>
                  <a:pt x="36992" y="17932"/>
                </a:lnTo>
                <a:lnTo>
                  <a:pt x="39742" y="19138"/>
                </a:lnTo>
                <a:lnTo>
                  <a:pt x="40876" y="19988"/>
                </a:lnTo>
                <a:lnTo>
                  <a:pt x="41855" y="21036"/>
                </a:lnTo>
                <a:lnTo>
                  <a:pt x="43332" y="23461"/>
                </a:lnTo>
                <a:lnTo>
                  <a:pt x="44616" y="26038"/>
                </a:lnTo>
                <a:lnTo>
                  <a:pt x="48887" y="37000"/>
                </a:lnTo>
                <a:lnTo>
                  <a:pt x="50348" y="38691"/>
                </a:lnTo>
                <a:lnTo>
                  <a:pt x="52521" y="40369"/>
                </a:lnTo>
                <a:lnTo>
                  <a:pt x="57914" y="42383"/>
                </a:lnTo>
                <a:lnTo>
                  <a:pt x="60278" y="42823"/>
                </a:lnTo>
                <a:lnTo>
                  <a:pt x="61930" y="42602"/>
                </a:lnTo>
                <a:lnTo>
                  <a:pt x="62638" y="41542"/>
                </a:lnTo>
                <a:lnTo>
                  <a:pt x="63132" y="40100"/>
                </a:lnTo>
                <a:lnTo>
                  <a:pt x="64082" y="34878"/>
                </a:lnTo>
                <a:lnTo>
                  <a:pt x="64575" y="33300"/>
                </a:lnTo>
                <a:lnTo>
                  <a:pt x="65209" y="31842"/>
                </a:lnTo>
                <a:lnTo>
                  <a:pt x="66079" y="30573"/>
                </a:lnTo>
                <a:lnTo>
                  <a:pt x="67020" y="29483"/>
                </a:lnTo>
                <a:lnTo>
                  <a:pt x="69116" y="27699"/>
                </a:lnTo>
                <a:lnTo>
                  <a:pt x="77671" y="23131"/>
                </a:lnTo>
                <a:lnTo>
                  <a:pt x="78938" y="22136"/>
                </a:lnTo>
                <a:lnTo>
                  <a:pt x="79460" y="20918"/>
                </a:lnTo>
                <a:lnTo>
                  <a:pt x="79385" y="19536"/>
                </a:lnTo>
                <a:lnTo>
                  <a:pt x="78735" y="18374"/>
                </a:lnTo>
                <a:lnTo>
                  <a:pt x="77705" y="17415"/>
                </a:lnTo>
                <a:lnTo>
                  <a:pt x="74023" y="15086"/>
                </a:lnTo>
                <a:lnTo>
                  <a:pt x="72936" y="14200"/>
                </a:lnTo>
                <a:lnTo>
                  <a:pt x="73099" y="12711"/>
                </a:lnTo>
                <a:lnTo>
                  <a:pt x="82470" y="6580"/>
                </a:lnTo>
                <a:lnTo>
                  <a:pt x="102981" y="0"/>
                </a:lnTo>
                <a:lnTo>
                  <a:pt x="111895" y="21391"/>
                </a:lnTo>
                <a:lnTo>
                  <a:pt x="133712" y="46023"/>
                </a:lnTo>
                <a:close/>
              </a:path>
            </a:pathLst>
          </a:custGeom>
          <a:solidFill>
            <a:srgbClr val="3397A5"/>
          </a:solidFill>
          <a:ln w="9525" cap="rnd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2" name="Freeform 6">
            <a:extLst>
              <a:ext uri="{FF2B5EF4-FFF2-40B4-BE49-F238E27FC236}">
                <a16:creationId xmlns:a16="http://schemas.microsoft.com/office/drawing/2014/main" id="{5C07991D-D93F-436E-9BEC-137061F8A008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>
          <a:xfrm rot="358659">
            <a:off x="7056237" y="2107833"/>
            <a:ext cx="343265" cy="316509"/>
          </a:xfrm>
          <a:custGeom>
            <a:avLst/>
            <a:gdLst/>
            <a:ahLst/>
            <a:cxnLst/>
            <a:rect l="0" t="0" r="0" b="0"/>
            <a:pathLst>
              <a:path w="270959" h="249837">
                <a:moveTo>
                  <a:pt x="224645" y="15190"/>
                </a:moveTo>
                <a:lnTo>
                  <a:pt x="246312" y="6960"/>
                </a:lnTo>
                <a:lnTo>
                  <a:pt x="249687" y="8770"/>
                </a:lnTo>
                <a:lnTo>
                  <a:pt x="250937" y="10984"/>
                </a:lnTo>
                <a:lnTo>
                  <a:pt x="256648" y="15266"/>
                </a:lnTo>
                <a:lnTo>
                  <a:pt x="257893" y="17677"/>
                </a:lnTo>
                <a:lnTo>
                  <a:pt x="258540" y="20905"/>
                </a:lnTo>
                <a:lnTo>
                  <a:pt x="263582" y="34515"/>
                </a:lnTo>
                <a:lnTo>
                  <a:pt x="270958" y="46868"/>
                </a:lnTo>
                <a:lnTo>
                  <a:pt x="266608" y="50759"/>
                </a:lnTo>
                <a:lnTo>
                  <a:pt x="259742" y="66341"/>
                </a:lnTo>
                <a:lnTo>
                  <a:pt x="248017" y="79331"/>
                </a:lnTo>
                <a:lnTo>
                  <a:pt x="246152" y="83426"/>
                </a:lnTo>
                <a:lnTo>
                  <a:pt x="244997" y="88059"/>
                </a:lnTo>
                <a:lnTo>
                  <a:pt x="244770" y="93838"/>
                </a:lnTo>
                <a:lnTo>
                  <a:pt x="245827" y="98306"/>
                </a:lnTo>
                <a:lnTo>
                  <a:pt x="249231" y="107132"/>
                </a:lnTo>
                <a:lnTo>
                  <a:pt x="249053" y="117400"/>
                </a:lnTo>
                <a:lnTo>
                  <a:pt x="243617" y="124513"/>
                </a:lnTo>
                <a:lnTo>
                  <a:pt x="224780" y="133061"/>
                </a:lnTo>
                <a:lnTo>
                  <a:pt x="214183" y="142671"/>
                </a:lnTo>
                <a:lnTo>
                  <a:pt x="211717" y="147203"/>
                </a:lnTo>
                <a:lnTo>
                  <a:pt x="208218" y="157945"/>
                </a:lnTo>
                <a:lnTo>
                  <a:pt x="205772" y="162030"/>
                </a:lnTo>
                <a:lnTo>
                  <a:pt x="202762" y="163661"/>
                </a:lnTo>
                <a:lnTo>
                  <a:pt x="196505" y="163077"/>
                </a:lnTo>
                <a:lnTo>
                  <a:pt x="193563" y="163843"/>
                </a:lnTo>
                <a:lnTo>
                  <a:pt x="188802" y="168469"/>
                </a:lnTo>
                <a:lnTo>
                  <a:pt x="180878" y="179549"/>
                </a:lnTo>
                <a:lnTo>
                  <a:pt x="175266" y="183585"/>
                </a:lnTo>
                <a:lnTo>
                  <a:pt x="173403" y="186072"/>
                </a:lnTo>
                <a:lnTo>
                  <a:pt x="173615" y="193896"/>
                </a:lnTo>
                <a:lnTo>
                  <a:pt x="172695" y="196858"/>
                </a:lnTo>
                <a:lnTo>
                  <a:pt x="169121" y="198500"/>
                </a:lnTo>
                <a:lnTo>
                  <a:pt x="153279" y="200481"/>
                </a:lnTo>
                <a:lnTo>
                  <a:pt x="151268" y="199393"/>
                </a:lnTo>
                <a:lnTo>
                  <a:pt x="147713" y="195813"/>
                </a:lnTo>
                <a:lnTo>
                  <a:pt x="145805" y="194681"/>
                </a:lnTo>
                <a:lnTo>
                  <a:pt x="142831" y="194873"/>
                </a:lnTo>
                <a:lnTo>
                  <a:pt x="139637" y="196514"/>
                </a:lnTo>
                <a:lnTo>
                  <a:pt x="134041" y="201511"/>
                </a:lnTo>
                <a:lnTo>
                  <a:pt x="123103" y="217737"/>
                </a:lnTo>
                <a:lnTo>
                  <a:pt x="92128" y="247504"/>
                </a:lnTo>
                <a:lnTo>
                  <a:pt x="87047" y="249836"/>
                </a:lnTo>
                <a:lnTo>
                  <a:pt x="86901" y="248174"/>
                </a:lnTo>
                <a:lnTo>
                  <a:pt x="83858" y="244598"/>
                </a:lnTo>
                <a:lnTo>
                  <a:pt x="72013" y="239694"/>
                </a:lnTo>
                <a:lnTo>
                  <a:pt x="69325" y="238003"/>
                </a:lnTo>
                <a:lnTo>
                  <a:pt x="67413" y="235911"/>
                </a:lnTo>
                <a:lnTo>
                  <a:pt x="64155" y="230508"/>
                </a:lnTo>
                <a:lnTo>
                  <a:pt x="62290" y="229528"/>
                </a:lnTo>
                <a:lnTo>
                  <a:pt x="60868" y="229583"/>
                </a:lnTo>
                <a:lnTo>
                  <a:pt x="59886" y="230480"/>
                </a:lnTo>
                <a:lnTo>
                  <a:pt x="57379" y="233928"/>
                </a:lnTo>
                <a:lnTo>
                  <a:pt x="55590" y="234805"/>
                </a:lnTo>
                <a:lnTo>
                  <a:pt x="52938" y="235371"/>
                </a:lnTo>
                <a:lnTo>
                  <a:pt x="47540" y="235102"/>
                </a:lnTo>
                <a:lnTo>
                  <a:pt x="44907" y="234493"/>
                </a:lnTo>
                <a:lnTo>
                  <a:pt x="43048" y="233535"/>
                </a:lnTo>
                <a:lnTo>
                  <a:pt x="42090" y="232555"/>
                </a:lnTo>
                <a:lnTo>
                  <a:pt x="30022" y="224084"/>
                </a:lnTo>
                <a:lnTo>
                  <a:pt x="26574" y="222522"/>
                </a:lnTo>
                <a:lnTo>
                  <a:pt x="24123" y="222106"/>
                </a:lnTo>
                <a:lnTo>
                  <a:pt x="20961" y="223668"/>
                </a:lnTo>
                <a:lnTo>
                  <a:pt x="18369" y="224436"/>
                </a:lnTo>
                <a:lnTo>
                  <a:pt x="16669" y="224224"/>
                </a:lnTo>
                <a:lnTo>
                  <a:pt x="15271" y="223537"/>
                </a:lnTo>
                <a:lnTo>
                  <a:pt x="12877" y="220520"/>
                </a:lnTo>
                <a:lnTo>
                  <a:pt x="10599" y="218155"/>
                </a:lnTo>
                <a:lnTo>
                  <a:pt x="8645" y="217257"/>
                </a:lnTo>
                <a:lnTo>
                  <a:pt x="6805" y="217052"/>
                </a:lnTo>
                <a:lnTo>
                  <a:pt x="3669" y="217948"/>
                </a:lnTo>
                <a:lnTo>
                  <a:pt x="0" y="219583"/>
                </a:lnTo>
                <a:lnTo>
                  <a:pt x="671" y="190226"/>
                </a:lnTo>
                <a:lnTo>
                  <a:pt x="10141" y="192020"/>
                </a:lnTo>
                <a:lnTo>
                  <a:pt x="13096" y="190338"/>
                </a:lnTo>
                <a:lnTo>
                  <a:pt x="13986" y="187105"/>
                </a:lnTo>
                <a:lnTo>
                  <a:pt x="14244" y="185364"/>
                </a:lnTo>
                <a:lnTo>
                  <a:pt x="14258" y="181497"/>
                </a:lnTo>
                <a:lnTo>
                  <a:pt x="14384" y="179528"/>
                </a:lnTo>
                <a:lnTo>
                  <a:pt x="15294" y="176944"/>
                </a:lnTo>
                <a:lnTo>
                  <a:pt x="16497" y="176401"/>
                </a:lnTo>
                <a:lnTo>
                  <a:pt x="17481" y="176804"/>
                </a:lnTo>
                <a:lnTo>
                  <a:pt x="18134" y="178075"/>
                </a:lnTo>
                <a:lnTo>
                  <a:pt x="19521" y="182506"/>
                </a:lnTo>
                <a:lnTo>
                  <a:pt x="20935" y="183893"/>
                </a:lnTo>
                <a:lnTo>
                  <a:pt x="23317" y="185118"/>
                </a:lnTo>
                <a:lnTo>
                  <a:pt x="28670" y="186255"/>
                </a:lnTo>
                <a:lnTo>
                  <a:pt x="31468" y="186297"/>
                </a:lnTo>
                <a:lnTo>
                  <a:pt x="33762" y="185677"/>
                </a:lnTo>
                <a:lnTo>
                  <a:pt x="35231" y="184511"/>
                </a:lnTo>
                <a:lnTo>
                  <a:pt x="37066" y="182414"/>
                </a:lnTo>
                <a:lnTo>
                  <a:pt x="37939" y="180682"/>
                </a:lnTo>
                <a:lnTo>
                  <a:pt x="38298" y="178722"/>
                </a:lnTo>
                <a:lnTo>
                  <a:pt x="38224" y="177029"/>
                </a:lnTo>
                <a:lnTo>
                  <a:pt x="37012" y="170633"/>
                </a:lnTo>
                <a:lnTo>
                  <a:pt x="34331" y="161733"/>
                </a:lnTo>
                <a:lnTo>
                  <a:pt x="34015" y="160234"/>
                </a:lnTo>
                <a:lnTo>
                  <a:pt x="33840" y="158552"/>
                </a:lnTo>
                <a:lnTo>
                  <a:pt x="35217" y="154931"/>
                </a:lnTo>
                <a:lnTo>
                  <a:pt x="37779" y="149808"/>
                </a:lnTo>
                <a:lnTo>
                  <a:pt x="45274" y="138834"/>
                </a:lnTo>
                <a:lnTo>
                  <a:pt x="50011" y="130076"/>
                </a:lnTo>
                <a:lnTo>
                  <a:pt x="51429" y="119125"/>
                </a:lnTo>
                <a:lnTo>
                  <a:pt x="51455" y="117261"/>
                </a:lnTo>
                <a:lnTo>
                  <a:pt x="51291" y="115437"/>
                </a:lnTo>
                <a:lnTo>
                  <a:pt x="50882" y="113919"/>
                </a:lnTo>
                <a:lnTo>
                  <a:pt x="50268" y="112665"/>
                </a:lnTo>
                <a:lnTo>
                  <a:pt x="49459" y="111615"/>
                </a:lnTo>
                <a:lnTo>
                  <a:pt x="47258" y="109887"/>
                </a:lnTo>
                <a:lnTo>
                  <a:pt x="41724" y="107287"/>
                </a:lnTo>
                <a:lnTo>
                  <a:pt x="39235" y="105738"/>
                </a:lnTo>
                <a:lnTo>
                  <a:pt x="38140" y="104827"/>
                </a:lnTo>
                <a:lnTo>
                  <a:pt x="36382" y="102740"/>
                </a:lnTo>
                <a:lnTo>
                  <a:pt x="35721" y="101537"/>
                </a:lnTo>
                <a:lnTo>
                  <a:pt x="35182" y="99587"/>
                </a:lnTo>
                <a:lnTo>
                  <a:pt x="35007" y="96926"/>
                </a:lnTo>
                <a:lnTo>
                  <a:pt x="35471" y="92313"/>
                </a:lnTo>
                <a:lnTo>
                  <a:pt x="36102" y="89550"/>
                </a:lnTo>
                <a:lnTo>
                  <a:pt x="36846" y="87313"/>
                </a:lnTo>
                <a:lnTo>
                  <a:pt x="38682" y="83843"/>
                </a:lnTo>
                <a:lnTo>
                  <a:pt x="41186" y="80210"/>
                </a:lnTo>
                <a:lnTo>
                  <a:pt x="62133" y="36646"/>
                </a:lnTo>
                <a:lnTo>
                  <a:pt x="72152" y="21457"/>
                </a:lnTo>
                <a:lnTo>
                  <a:pt x="73481" y="18616"/>
                </a:lnTo>
                <a:lnTo>
                  <a:pt x="75769" y="13028"/>
                </a:lnTo>
                <a:lnTo>
                  <a:pt x="89497" y="13534"/>
                </a:lnTo>
                <a:lnTo>
                  <a:pt x="96054" y="12729"/>
                </a:lnTo>
                <a:lnTo>
                  <a:pt x="98702" y="13048"/>
                </a:lnTo>
                <a:lnTo>
                  <a:pt x="102100" y="13992"/>
                </a:lnTo>
                <a:lnTo>
                  <a:pt x="107987" y="19755"/>
                </a:lnTo>
                <a:lnTo>
                  <a:pt x="110928" y="20813"/>
                </a:lnTo>
                <a:lnTo>
                  <a:pt x="112381" y="15961"/>
                </a:lnTo>
                <a:lnTo>
                  <a:pt x="111951" y="11881"/>
                </a:lnTo>
                <a:lnTo>
                  <a:pt x="111007" y="8005"/>
                </a:lnTo>
                <a:lnTo>
                  <a:pt x="110640" y="4419"/>
                </a:lnTo>
                <a:lnTo>
                  <a:pt x="111881" y="1292"/>
                </a:lnTo>
                <a:lnTo>
                  <a:pt x="112929" y="856"/>
                </a:lnTo>
                <a:lnTo>
                  <a:pt x="112929" y="856"/>
                </a:lnTo>
                <a:lnTo>
                  <a:pt x="114987" y="0"/>
                </a:lnTo>
                <a:lnTo>
                  <a:pt x="117491" y="2577"/>
                </a:lnTo>
                <a:lnTo>
                  <a:pt x="120935" y="8807"/>
                </a:lnTo>
                <a:lnTo>
                  <a:pt x="126053" y="9940"/>
                </a:lnTo>
                <a:lnTo>
                  <a:pt x="129941" y="7656"/>
                </a:lnTo>
                <a:lnTo>
                  <a:pt x="133562" y="4654"/>
                </a:lnTo>
                <a:lnTo>
                  <a:pt x="137880" y="3539"/>
                </a:lnTo>
                <a:lnTo>
                  <a:pt x="141410" y="4680"/>
                </a:lnTo>
                <a:lnTo>
                  <a:pt x="141629" y="6396"/>
                </a:lnTo>
                <a:lnTo>
                  <a:pt x="140381" y="8519"/>
                </a:lnTo>
                <a:lnTo>
                  <a:pt x="139495" y="10919"/>
                </a:lnTo>
                <a:lnTo>
                  <a:pt x="139393" y="16378"/>
                </a:lnTo>
                <a:lnTo>
                  <a:pt x="139840" y="18437"/>
                </a:lnTo>
                <a:lnTo>
                  <a:pt x="143451" y="21322"/>
                </a:lnTo>
                <a:lnTo>
                  <a:pt x="153071" y="26881"/>
                </a:lnTo>
                <a:lnTo>
                  <a:pt x="165423" y="28612"/>
                </a:lnTo>
                <a:lnTo>
                  <a:pt x="174699" y="24745"/>
                </a:lnTo>
                <a:lnTo>
                  <a:pt x="174988" y="13587"/>
                </a:lnTo>
                <a:lnTo>
                  <a:pt x="175888" y="12999"/>
                </a:lnTo>
                <a:lnTo>
                  <a:pt x="176445" y="13108"/>
                </a:lnTo>
                <a:lnTo>
                  <a:pt x="176756" y="12759"/>
                </a:lnTo>
                <a:lnTo>
                  <a:pt x="176966" y="10728"/>
                </a:lnTo>
                <a:lnTo>
                  <a:pt x="178843" y="10790"/>
                </a:lnTo>
                <a:lnTo>
                  <a:pt x="181845" y="16604"/>
                </a:lnTo>
                <a:lnTo>
                  <a:pt x="192737" y="24173"/>
                </a:lnTo>
                <a:lnTo>
                  <a:pt x="195031" y="27726"/>
                </a:lnTo>
                <a:lnTo>
                  <a:pt x="196330" y="31185"/>
                </a:lnTo>
                <a:lnTo>
                  <a:pt x="199129" y="31454"/>
                </a:lnTo>
                <a:lnTo>
                  <a:pt x="201180" y="29133"/>
                </a:lnTo>
                <a:lnTo>
                  <a:pt x="200323" y="24830"/>
                </a:lnTo>
                <a:lnTo>
                  <a:pt x="198463" y="19398"/>
                </a:lnTo>
                <a:lnTo>
                  <a:pt x="201113" y="18497"/>
                </a:lnTo>
                <a:lnTo>
                  <a:pt x="213735" y="21907"/>
                </a:lnTo>
                <a:lnTo>
                  <a:pt x="218308" y="21919"/>
                </a:lnTo>
                <a:lnTo>
                  <a:pt x="219541" y="18830"/>
                </a:lnTo>
                <a:lnTo>
                  <a:pt x="215369" y="10637"/>
                </a:lnTo>
                <a:lnTo>
                  <a:pt x="214971" y="3653"/>
                </a:lnTo>
                <a:lnTo>
                  <a:pt x="221401" y="1992"/>
                </a:lnTo>
                <a:lnTo>
                  <a:pt x="227107" y="5790"/>
                </a:lnTo>
                <a:close/>
              </a:path>
            </a:pathLst>
          </a:custGeom>
          <a:solidFill>
            <a:srgbClr val="3397A5"/>
          </a:solidFill>
          <a:ln w="9525" cap="rnd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3" name="Freeform 95">
            <a:extLst>
              <a:ext uri="{FF2B5EF4-FFF2-40B4-BE49-F238E27FC236}">
                <a16:creationId xmlns:a16="http://schemas.microsoft.com/office/drawing/2014/main" id="{E4CAEB21-2D78-4AA2-8374-0D711956CC7E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 rot="21136014">
            <a:off x="6903855" y="1835982"/>
            <a:ext cx="298083" cy="187937"/>
          </a:xfrm>
          <a:custGeom>
            <a:avLst/>
            <a:gdLst/>
            <a:ahLst/>
            <a:cxnLst/>
            <a:rect l="0" t="0" r="0" b="0"/>
            <a:pathLst>
              <a:path w="249111" h="157061">
                <a:moveTo>
                  <a:pt x="241238" y="57307"/>
                </a:moveTo>
                <a:lnTo>
                  <a:pt x="231801" y="78818"/>
                </a:lnTo>
                <a:lnTo>
                  <a:pt x="229190" y="83022"/>
                </a:lnTo>
                <a:lnTo>
                  <a:pt x="225692" y="76036"/>
                </a:lnTo>
                <a:lnTo>
                  <a:pt x="223250" y="74581"/>
                </a:lnTo>
                <a:lnTo>
                  <a:pt x="218682" y="74678"/>
                </a:lnTo>
                <a:lnTo>
                  <a:pt x="213070" y="81932"/>
                </a:lnTo>
                <a:lnTo>
                  <a:pt x="212113" y="84394"/>
                </a:lnTo>
                <a:lnTo>
                  <a:pt x="212542" y="93906"/>
                </a:lnTo>
                <a:lnTo>
                  <a:pt x="212317" y="97009"/>
                </a:lnTo>
                <a:lnTo>
                  <a:pt x="210791" y="101143"/>
                </a:lnTo>
                <a:lnTo>
                  <a:pt x="208509" y="103216"/>
                </a:lnTo>
                <a:lnTo>
                  <a:pt x="202798" y="105815"/>
                </a:lnTo>
                <a:lnTo>
                  <a:pt x="200059" y="108350"/>
                </a:lnTo>
                <a:lnTo>
                  <a:pt x="197303" y="112156"/>
                </a:lnTo>
                <a:lnTo>
                  <a:pt x="195074" y="116569"/>
                </a:lnTo>
                <a:lnTo>
                  <a:pt x="193913" y="120944"/>
                </a:lnTo>
                <a:lnTo>
                  <a:pt x="194385" y="125848"/>
                </a:lnTo>
                <a:lnTo>
                  <a:pt x="198124" y="134165"/>
                </a:lnTo>
                <a:lnTo>
                  <a:pt x="199001" y="138743"/>
                </a:lnTo>
                <a:lnTo>
                  <a:pt x="197996" y="144091"/>
                </a:lnTo>
                <a:lnTo>
                  <a:pt x="195347" y="143368"/>
                </a:lnTo>
                <a:lnTo>
                  <a:pt x="191347" y="140848"/>
                </a:lnTo>
                <a:lnTo>
                  <a:pt x="186299" y="140835"/>
                </a:lnTo>
                <a:lnTo>
                  <a:pt x="183736" y="139971"/>
                </a:lnTo>
                <a:lnTo>
                  <a:pt x="179898" y="135736"/>
                </a:lnTo>
                <a:lnTo>
                  <a:pt x="177575" y="134029"/>
                </a:lnTo>
                <a:lnTo>
                  <a:pt x="174309" y="133340"/>
                </a:lnTo>
                <a:lnTo>
                  <a:pt x="167093" y="135416"/>
                </a:lnTo>
                <a:lnTo>
                  <a:pt x="150814" y="133139"/>
                </a:lnTo>
                <a:lnTo>
                  <a:pt x="146874" y="135135"/>
                </a:lnTo>
                <a:lnTo>
                  <a:pt x="139731" y="142248"/>
                </a:lnTo>
                <a:lnTo>
                  <a:pt x="135489" y="144745"/>
                </a:lnTo>
                <a:lnTo>
                  <a:pt x="96832" y="141255"/>
                </a:lnTo>
                <a:lnTo>
                  <a:pt x="94761" y="140125"/>
                </a:lnTo>
                <a:lnTo>
                  <a:pt x="92134" y="133581"/>
                </a:lnTo>
                <a:lnTo>
                  <a:pt x="90455" y="131381"/>
                </a:lnTo>
                <a:lnTo>
                  <a:pt x="88311" y="131059"/>
                </a:lnTo>
                <a:lnTo>
                  <a:pt x="80681" y="132837"/>
                </a:lnTo>
                <a:lnTo>
                  <a:pt x="83534" y="142813"/>
                </a:lnTo>
                <a:lnTo>
                  <a:pt x="86932" y="147809"/>
                </a:lnTo>
                <a:lnTo>
                  <a:pt x="86525" y="151381"/>
                </a:lnTo>
                <a:lnTo>
                  <a:pt x="77980" y="157060"/>
                </a:lnTo>
                <a:lnTo>
                  <a:pt x="65923" y="139673"/>
                </a:lnTo>
                <a:lnTo>
                  <a:pt x="44106" y="115041"/>
                </a:lnTo>
                <a:lnTo>
                  <a:pt x="35192" y="93650"/>
                </a:lnTo>
                <a:lnTo>
                  <a:pt x="30020" y="86687"/>
                </a:lnTo>
                <a:lnTo>
                  <a:pt x="29252" y="85058"/>
                </a:lnTo>
                <a:lnTo>
                  <a:pt x="22649" y="63970"/>
                </a:lnTo>
                <a:lnTo>
                  <a:pt x="20626" y="59172"/>
                </a:lnTo>
                <a:lnTo>
                  <a:pt x="18943" y="56188"/>
                </a:lnTo>
                <a:lnTo>
                  <a:pt x="17701" y="55409"/>
                </a:lnTo>
                <a:lnTo>
                  <a:pt x="11787" y="52997"/>
                </a:lnTo>
                <a:lnTo>
                  <a:pt x="5638" y="47566"/>
                </a:lnTo>
                <a:lnTo>
                  <a:pt x="3849" y="44940"/>
                </a:lnTo>
                <a:lnTo>
                  <a:pt x="2875" y="42841"/>
                </a:lnTo>
                <a:lnTo>
                  <a:pt x="2738" y="38728"/>
                </a:lnTo>
                <a:lnTo>
                  <a:pt x="2274" y="35816"/>
                </a:lnTo>
                <a:lnTo>
                  <a:pt x="701" y="31149"/>
                </a:lnTo>
                <a:lnTo>
                  <a:pt x="0" y="28194"/>
                </a:lnTo>
                <a:lnTo>
                  <a:pt x="3387" y="25264"/>
                </a:lnTo>
                <a:lnTo>
                  <a:pt x="9508" y="26205"/>
                </a:lnTo>
                <a:lnTo>
                  <a:pt x="12653" y="25602"/>
                </a:lnTo>
                <a:lnTo>
                  <a:pt x="22679" y="15683"/>
                </a:lnTo>
                <a:lnTo>
                  <a:pt x="24498" y="13112"/>
                </a:lnTo>
                <a:lnTo>
                  <a:pt x="27925" y="9912"/>
                </a:lnTo>
                <a:lnTo>
                  <a:pt x="33079" y="13689"/>
                </a:lnTo>
                <a:lnTo>
                  <a:pt x="37788" y="20144"/>
                </a:lnTo>
                <a:lnTo>
                  <a:pt x="39848" y="24990"/>
                </a:lnTo>
                <a:lnTo>
                  <a:pt x="51042" y="20260"/>
                </a:lnTo>
                <a:lnTo>
                  <a:pt x="54874" y="12580"/>
                </a:lnTo>
                <a:lnTo>
                  <a:pt x="57151" y="10899"/>
                </a:lnTo>
                <a:lnTo>
                  <a:pt x="64975" y="7990"/>
                </a:lnTo>
                <a:lnTo>
                  <a:pt x="67751" y="5792"/>
                </a:lnTo>
                <a:lnTo>
                  <a:pt x="81610" y="6522"/>
                </a:lnTo>
                <a:lnTo>
                  <a:pt x="81314" y="14867"/>
                </a:lnTo>
                <a:lnTo>
                  <a:pt x="81965" y="18564"/>
                </a:lnTo>
                <a:lnTo>
                  <a:pt x="85526" y="22241"/>
                </a:lnTo>
                <a:lnTo>
                  <a:pt x="90857" y="23416"/>
                </a:lnTo>
                <a:lnTo>
                  <a:pt x="101204" y="22246"/>
                </a:lnTo>
                <a:lnTo>
                  <a:pt x="106824" y="20255"/>
                </a:lnTo>
                <a:lnTo>
                  <a:pt x="108399" y="17154"/>
                </a:lnTo>
                <a:lnTo>
                  <a:pt x="105749" y="4264"/>
                </a:lnTo>
                <a:lnTo>
                  <a:pt x="122189" y="5174"/>
                </a:lnTo>
                <a:lnTo>
                  <a:pt x="120516" y="13438"/>
                </a:lnTo>
                <a:lnTo>
                  <a:pt x="120394" y="18480"/>
                </a:lnTo>
                <a:lnTo>
                  <a:pt x="122789" y="21112"/>
                </a:lnTo>
                <a:lnTo>
                  <a:pt x="128624" y="22126"/>
                </a:lnTo>
                <a:lnTo>
                  <a:pt x="134006" y="21480"/>
                </a:lnTo>
                <a:lnTo>
                  <a:pt x="139321" y="19282"/>
                </a:lnTo>
                <a:lnTo>
                  <a:pt x="141467" y="19519"/>
                </a:lnTo>
                <a:lnTo>
                  <a:pt x="147139" y="26072"/>
                </a:lnTo>
                <a:lnTo>
                  <a:pt x="150338" y="27229"/>
                </a:lnTo>
                <a:lnTo>
                  <a:pt x="152662" y="27151"/>
                </a:lnTo>
                <a:lnTo>
                  <a:pt x="154929" y="27675"/>
                </a:lnTo>
                <a:lnTo>
                  <a:pt x="160164" y="32746"/>
                </a:lnTo>
                <a:lnTo>
                  <a:pt x="180423" y="43342"/>
                </a:lnTo>
                <a:lnTo>
                  <a:pt x="185763" y="43650"/>
                </a:lnTo>
                <a:lnTo>
                  <a:pt x="185340" y="36988"/>
                </a:lnTo>
                <a:lnTo>
                  <a:pt x="187950" y="35393"/>
                </a:lnTo>
                <a:lnTo>
                  <a:pt x="195457" y="37068"/>
                </a:lnTo>
                <a:lnTo>
                  <a:pt x="200597" y="36219"/>
                </a:lnTo>
                <a:lnTo>
                  <a:pt x="227863" y="19324"/>
                </a:lnTo>
                <a:lnTo>
                  <a:pt x="234222" y="12132"/>
                </a:lnTo>
                <a:lnTo>
                  <a:pt x="239232" y="0"/>
                </a:lnTo>
                <a:lnTo>
                  <a:pt x="245292" y="9245"/>
                </a:lnTo>
                <a:lnTo>
                  <a:pt x="247785" y="17845"/>
                </a:lnTo>
                <a:lnTo>
                  <a:pt x="248994" y="28149"/>
                </a:lnTo>
                <a:lnTo>
                  <a:pt x="249110" y="37488"/>
                </a:lnTo>
                <a:lnTo>
                  <a:pt x="247687" y="44815"/>
                </a:lnTo>
                <a:close/>
              </a:path>
            </a:pathLst>
          </a:custGeom>
          <a:solidFill>
            <a:srgbClr val="3397A5"/>
          </a:solidFill>
          <a:ln w="9525" cap="rnd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4" name="Freeform 96">
            <a:extLst>
              <a:ext uri="{FF2B5EF4-FFF2-40B4-BE49-F238E27FC236}">
                <a16:creationId xmlns:a16="http://schemas.microsoft.com/office/drawing/2014/main" id="{20A1EA91-92BF-4A5B-B268-47887C251323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>
          <a:xfrm rot="160331">
            <a:off x="6833918" y="1578944"/>
            <a:ext cx="247211" cy="325455"/>
          </a:xfrm>
          <a:custGeom>
            <a:avLst/>
            <a:gdLst/>
            <a:ahLst/>
            <a:cxnLst/>
            <a:rect l="0" t="0" r="0" b="0"/>
            <a:pathLst>
              <a:path w="145293" h="236181">
                <a:moveTo>
                  <a:pt x="103336" y="122448"/>
                </a:moveTo>
                <a:lnTo>
                  <a:pt x="101929" y="126804"/>
                </a:lnTo>
                <a:lnTo>
                  <a:pt x="99983" y="137962"/>
                </a:lnTo>
                <a:lnTo>
                  <a:pt x="99944" y="141014"/>
                </a:lnTo>
                <a:lnTo>
                  <a:pt x="101098" y="143646"/>
                </a:lnTo>
                <a:lnTo>
                  <a:pt x="113205" y="163009"/>
                </a:lnTo>
                <a:lnTo>
                  <a:pt x="113955" y="166894"/>
                </a:lnTo>
                <a:lnTo>
                  <a:pt x="112759" y="171559"/>
                </a:lnTo>
                <a:lnTo>
                  <a:pt x="110159" y="175714"/>
                </a:lnTo>
                <a:lnTo>
                  <a:pt x="106853" y="179095"/>
                </a:lnTo>
                <a:lnTo>
                  <a:pt x="103529" y="181420"/>
                </a:lnTo>
                <a:lnTo>
                  <a:pt x="99892" y="185092"/>
                </a:lnTo>
                <a:lnTo>
                  <a:pt x="101254" y="188715"/>
                </a:lnTo>
                <a:lnTo>
                  <a:pt x="104580" y="193019"/>
                </a:lnTo>
                <a:lnTo>
                  <a:pt x="106842" y="198721"/>
                </a:lnTo>
                <a:lnTo>
                  <a:pt x="109412" y="196335"/>
                </a:lnTo>
                <a:lnTo>
                  <a:pt x="114571" y="194950"/>
                </a:lnTo>
                <a:lnTo>
                  <a:pt x="116779" y="193261"/>
                </a:lnTo>
                <a:lnTo>
                  <a:pt x="119229" y="190254"/>
                </a:lnTo>
                <a:lnTo>
                  <a:pt x="121089" y="189095"/>
                </a:lnTo>
                <a:lnTo>
                  <a:pt x="122313" y="190398"/>
                </a:lnTo>
                <a:lnTo>
                  <a:pt x="122861" y="194760"/>
                </a:lnTo>
                <a:lnTo>
                  <a:pt x="125393" y="200860"/>
                </a:lnTo>
                <a:lnTo>
                  <a:pt x="134462" y="199170"/>
                </a:lnTo>
                <a:lnTo>
                  <a:pt x="145043" y="195952"/>
                </a:lnTo>
                <a:lnTo>
                  <a:pt x="143889" y="202317"/>
                </a:lnTo>
                <a:lnTo>
                  <a:pt x="143399" y="207101"/>
                </a:lnTo>
                <a:lnTo>
                  <a:pt x="142642" y="212250"/>
                </a:lnTo>
                <a:lnTo>
                  <a:pt x="145292" y="225140"/>
                </a:lnTo>
                <a:lnTo>
                  <a:pt x="143717" y="228241"/>
                </a:lnTo>
                <a:lnTo>
                  <a:pt x="138097" y="230232"/>
                </a:lnTo>
                <a:lnTo>
                  <a:pt x="127750" y="231402"/>
                </a:lnTo>
                <a:lnTo>
                  <a:pt x="122419" y="230227"/>
                </a:lnTo>
                <a:lnTo>
                  <a:pt x="118858" y="226550"/>
                </a:lnTo>
                <a:lnTo>
                  <a:pt x="118207" y="222853"/>
                </a:lnTo>
                <a:lnTo>
                  <a:pt x="118503" y="214508"/>
                </a:lnTo>
                <a:lnTo>
                  <a:pt x="104644" y="213778"/>
                </a:lnTo>
                <a:lnTo>
                  <a:pt x="101868" y="215976"/>
                </a:lnTo>
                <a:lnTo>
                  <a:pt x="94044" y="218885"/>
                </a:lnTo>
                <a:lnTo>
                  <a:pt x="91767" y="220566"/>
                </a:lnTo>
                <a:lnTo>
                  <a:pt x="87935" y="228246"/>
                </a:lnTo>
                <a:lnTo>
                  <a:pt x="76741" y="232976"/>
                </a:lnTo>
                <a:lnTo>
                  <a:pt x="74681" y="228130"/>
                </a:lnTo>
                <a:lnTo>
                  <a:pt x="69972" y="221675"/>
                </a:lnTo>
                <a:lnTo>
                  <a:pt x="64818" y="217898"/>
                </a:lnTo>
                <a:lnTo>
                  <a:pt x="61391" y="221098"/>
                </a:lnTo>
                <a:lnTo>
                  <a:pt x="59572" y="223669"/>
                </a:lnTo>
                <a:lnTo>
                  <a:pt x="49546" y="233588"/>
                </a:lnTo>
                <a:lnTo>
                  <a:pt x="46401" y="234191"/>
                </a:lnTo>
                <a:lnTo>
                  <a:pt x="40280" y="233250"/>
                </a:lnTo>
                <a:lnTo>
                  <a:pt x="36893" y="236180"/>
                </a:lnTo>
                <a:lnTo>
                  <a:pt x="36716" y="234051"/>
                </a:lnTo>
                <a:lnTo>
                  <a:pt x="37384" y="229860"/>
                </a:lnTo>
                <a:lnTo>
                  <a:pt x="34670" y="226005"/>
                </a:lnTo>
                <a:lnTo>
                  <a:pt x="35833" y="218238"/>
                </a:lnTo>
                <a:lnTo>
                  <a:pt x="35511" y="216235"/>
                </a:lnTo>
                <a:lnTo>
                  <a:pt x="34937" y="214556"/>
                </a:lnTo>
                <a:lnTo>
                  <a:pt x="27342" y="204587"/>
                </a:lnTo>
                <a:lnTo>
                  <a:pt x="26315" y="201762"/>
                </a:lnTo>
                <a:lnTo>
                  <a:pt x="26528" y="200194"/>
                </a:lnTo>
                <a:lnTo>
                  <a:pt x="27695" y="200117"/>
                </a:lnTo>
                <a:lnTo>
                  <a:pt x="29135" y="200249"/>
                </a:lnTo>
                <a:lnTo>
                  <a:pt x="30543" y="200093"/>
                </a:lnTo>
                <a:lnTo>
                  <a:pt x="31838" y="198287"/>
                </a:lnTo>
                <a:lnTo>
                  <a:pt x="31741" y="196441"/>
                </a:lnTo>
                <a:lnTo>
                  <a:pt x="30798" y="193795"/>
                </a:lnTo>
                <a:lnTo>
                  <a:pt x="30487" y="191447"/>
                </a:lnTo>
                <a:lnTo>
                  <a:pt x="30509" y="189050"/>
                </a:lnTo>
                <a:lnTo>
                  <a:pt x="30794" y="185998"/>
                </a:lnTo>
                <a:lnTo>
                  <a:pt x="30260" y="184463"/>
                </a:lnTo>
                <a:lnTo>
                  <a:pt x="29030" y="183943"/>
                </a:lnTo>
                <a:lnTo>
                  <a:pt x="25982" y="184311"/>
                </a:lnTo>
                <a:lnTo>
                  <a:pt x="24358" y="183892"/>
                </a:lnTo>
                <a:lnTo>
                  <a:pt x="22533" y="182174"/>
                </a:lnTo>
                <a:lnTo>
                  <a:pt x="21866" y="180523"/>
                </a:lnTo>
                <a:lnTo>
                  <a:pt x="21859" y="178765"/>
                </a:lnTo>
                <a:lnTo>
                  <a:pt x="23000" y="175343"/>
                </a:lnTo>
                <a:lnTo>
                  <a:pt x="23488" y="172892"/>
                </a:lnTo>
                <a:lnTo>
                  <a:pt x="23832" y="168761"/>
                </a:lnTo>
                <a:lnTo>
                  <a:pt x="23282" y="166615"/>
                </a:lnTo>
                <a:lnTo>
                  <a:pt x="22426" y="165063"/>
                </a:lnTo>
                <a:lnTo>
                  <a:pt x="20123" y="163582"/>
                </a:lnTo>
                <a:lnTo>
                  <a:pt x="14074" y="161656"/>
                </a:lnTo>
                <a:lnTo>
                  <a:pt x="11708" y="158632"/>
                </a:lnTo>
                <a:lnTo>
                  <a:pt x="8729" y="153453"/>
                </a:lnTo>
                <a:lnTo>
                  <a:pt x="2718" y="140353"/>
                </a:lnTo>
                <a:lnTo>
                  <a:pt x="734" y="134459"/>
                </a:lnTo>
                <a:lnTo>
                  <a:pt x="0" y="130505"/>
                </a:lnTo>
                <a:lnTo>
                  <a:pt x="572" y="129186"/>
                </a:lnTo>
                <a:lnTo>
                  <a:pt x="1379" y="127915"/>
                </a:lnTo>
                <a:lnTo>
                  <a:pt x="2220" y="126888"/>
                </a:lnTo>
                <a:lnTo>
                  <a:pt x="8747" y="121643"/>
                </a:lnTo>
                <a:lnTo>
                  <a:pt x="9638" y="120529"/>
                </a:lnTo>
                <a:lnTo>
                  <a:pt x="10446" y="119235"/>
                </a:lnTo>
                <a:lnTo>
                  <a:pt x="11068" y="117956"/>
                </a:lnTo>
                <a:lnTo>
                  <a:pt x="11667" y="116472"/>
                </a:lnTo>
                <a:lnTo>
                  <a:pt x="11982" y="113801"/>
                </a:lnTo>
                <a:lnTo>
                  <a:pt x="11197" y="101032"/>
                </a:lnTo>
                <a:lnTo>
                  <a:pt x="9556" y="92894"/>
                </a:lnTo>
                <a:lnTo>
                  <a:pt x="9141" y="86198"/>
                </a:lnTo>
                <a:lnTo>
                  <a:pt x="9254" y="82948"/>
                </a:lnTo>
                <a:lnTo>
                  <a:pt x="9950" y="81097"/>
                </a:lnTo>
                <a:lnTo>
                  <a:pt x="10790" y="79913"/>
                </a:lnTo>
                <a:lnTo>
                  <a:pt x="50805" y="41149"/>
                </a:lnTo>
                <a:lnTo>
                  <a:pt x="52048" y="39439"/>
                </a:lnTo>
                <a:lnTo>
                  <a:pt x="53228" y="36972"/>
                </a:lnTo>
                <a:lnTo>
                  <a:pt x="54862" y="31829"/>
                </a:lnTo>
                <a:lnTo>
                  <a:pt x="55367" y="28920"/>
                </a:lnTo>
                <a:lnTo>
                  <a:pt x="55529" y="26481"/>
                </a:lnTo>
                <a:lnTo>
                  <a:pt x="55216" y="0"/>
                </a:lnTo>
                <a:lnTo>
                  <a:pt x="55219" y="0"/>
                </a:lnTo>
                <a:lnTo>
                  <a:pt x="56147" y="393"/>
                </a:lnTo>
                <a:lnTo>
                  <a:pt x="58141" y="4504"/>
                </a:lnTo>
                <a:lnTo>
                  <a:pt x="60344" y="6158"/>
                </a:lnTo>
                <a:lnTo>
                  <a:pt x="65081" y="7038"/>
                </a:lnTo>
                <a:lnTo>
                  <a:pt x="74227" y="7229"/>
                </a:lnTo>
                <a:lnTo>
                  <a:pt x="78645" y="9004"/>
                </a:lnTo>
                <a:lnTo>
                  <a:pt x="85752" y="19357"/>
                </a:lnTo>
                <a:lnTo>
                  <a:pt x="80885" y="29223"/>
                </a:lnTo>
                <a:lnTo>
                  <a:pt x="71872" y="39235"/>
                </a:lnTo>
                <a:lnTo>
                  <a:pt x="66071" y="51057"/>
                </a:lnTo>
                <a:lnTo>
                  <a:pt x="64834" y="53067"/>
                </a:lnTo>
                <a:lnTo>
                  <a:pt x="64287" y="54196"/>
                </a:lnTo>
                <a:lnTo>
                  <a:pt x="69388" y="54759"/>
                </a:lnTo>
                <a:lnTo>
                  <a:pt x="73875" y="56582"/>
                </a:lnTo>
                <a:lnTo>
                  <a:pt x="90562" y="66539"/>
                </a:lnTo>
                <a:lnTo>
                  <a:pt x="92495" y="68201"/>
                </a:lnTo>
                <a:lnTo>
                  <a:pt x="94314" y="71012"/>
                </a:lnTo>
                <a:lnTo>
                  <a:pt x="96933" y="77989"/>
                </a:lnTo>
                <a:lnTo>
                  <a:pt x="101698" y="87457"/>
                </a:lnTo>
                <a:lnTo>
                  <a:pt x="103945" y="93173"/>
                </a:lnTo>
                <a:lnTo>
                  <a:pt x="105360" y="98852"/>
                </a:lnTo>
                <a:lnTo>
                  <a:pt x="105520" y="106300"/>
                </a:lnTo>
                <a:lnTo>
                  <a:pt x="104076" y="111567"/>
                </a:lnTo>
                <a:lnTo>
                  <a:pt x="102054" y="116588"/>
                </a:lnTo>
                <a:lnTo>
                  <a:pt x="100644" y="123143"/>
                </a:lnTo>
                <a:close/>
              </a:path>
            </a:pathLst>
          </a:custGeom>
          <a:solidFill>
            <a:srgbClr val="3397A5"/>
          </a:solidFill>
          <a:ln w="9525" cap="rnd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5" name="Freeform 99">
            <a:extLst>
              <a:ext uri="{FF2B5EF4-FFF2-40B4-BE49-F238E27FC236}">
                <a16:creationId xmlns:a16="http://schemas.microsoft.com/office/drawing/2014/main" id="{A472F090-EB7C-4A68-832C-C9B9E576D384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7000054" y="1781308"/>
            <a:ext cx="171732" cy="113546"/>
          </a:xfrm>
          <a:custGeom>
            <a:avLst/>
            <a:gdLst/>
            <a:ahLst/>
            <a:cxnLst/>
            <a:rect l="0" t="0" r="0" b="0"/>
            <a:pathLst>
              <a:path w="133484" h="88258">
                <a:moveTo>
                  <a:pt x="82022" y="34773"/>
                </a:moveTo>
                <a:lnTo>
                  <a:pt x="89082" y="31875"/>
                </a:lnTo>
                <a:lnTo>
                  <a:pt x="92169" y="32947"/>
                </a:lnTo>
                <a:lnTo>
                  <a:pt x="94803" y="35472"/>
                </a:lnTo>
                <a:lnTo>
                  <a:pt x="96375" y="38974"/>
                </a:lnTo>
                <a:lnTo>
                  <a:pt x="100483" y="34574"/>
                </a:lnTo>
                <a:lnTo>
                  <a:pt x="104688" y="31705"/>
                </a:lnTo>
                <a:lnTo>
                  <a:pt x="108383" y="31911"/>
                </a:lnTo>
                <a:lnTo>
                  <a:pt x="110989" y="36733"/>
                </a:lnTo>
                <a:lnTo>
                  <a:pt x="114514" y="41371"/>
                </a:lnTo>
                <a:lnTo>
                  <a:pt x="119927" y="40382"/>
                </a:lnTo>
                <a:lnTo>
                  <a:pt x="129811" y="33080"/>
                </a:lnTo>
                <a:lnTo>
                  <a:pt x="133483" y="44607"/>
                </a:lnTo>
                <a:lnTo>
                  <a:pt x="128473" y="56739"/>
                </a:lnTo>
                <a:lnTo>
                  <a:pt x="122114" y="63931"/>
                </a:lnTo>
                <a:lnTo>
                  <a:pt x="94848" y="80826"/>
                </a:lnTo>
                <a:lnTo>
                  <a:pt x="89708" y="81675"/>
                </a:lnTo>
                <a:lnTo>
                  <a:pt x="82201" y="80000"/>
                </a:lnTo>
                <a:lnTo>
                  <a:pt x="79591" y="81595"/>
                </a:lnTo>
                <a:lnTo>
                  <a:pt x="80014" y="88257"/>
                </a:lnTo>
                <a:lnTo>
                  <a:pt x="74674" y="87949"/>
                </a:lnTo>
                <a:lnTo>
                  <a:pt x="54415" y="77353"/>
                </a:lnTo>
                <a:lnTo>
                  <a:pt x="49180" y="72282"/>
                </a:lnTo>
                <a:lnTo>
                  <a:pt x="46913" y="71758"/>
                </a:lnTo>
                <a:lnTo>
                  <a:pt x="44589" y="71836"/>
                </a:lnTo>
                <a:lnTo>
                  <a:pt x="41390" y="70679"/>
                </a:lnTo>
                <a:lnTo>
                  <a:pt x="35718" y="64126"/>
                </a:lnTo>
                <a:lnTo>
                  <a:pt x="33572" y="63889"/>
                </a:lnTo>
                <a:lnTo>
                  <a:pt x="28257" y="66087"/>
                </a:lnTo>
                <a:lnTo>
                  <a:pt x="22875" y="66733"/>
                </a:lnTo>
                <a:lnTo>
                  <a:pt x="17040" y="65719"/>
                </a:lnTo>
                <a:lnTo>
                  <a:pt x="14645" y="63087"/>
                </a:lnTo>
                <a:lnTo>
                  <a:pt x="14767" y="58045"/>
                </a:lnTo>
                <a:lnTo>
                  <a:pt x="16440" y="49781"/>
                </a:lnTo>
                <a:lnTo>
                  <a:pt x="0" y="48871"/>
                </a:lnTo>
                <a:lnTo>
                  <a:pt x="757" y="43722"/>
                </a:lnTo>
                <a:lnTo>
                  <a:pt x="1247" y="38938"/>
                </a:lnTo>
                <a:lnTo>
                  <a:pt x="2401" y="32573"/>
                </a:lnTo>
                <a:lnTo>
                  <a:pt x="3637" y="25746"/>
                </a:lnTo>
                <a:lnTo>
                  <a:pt x="4946" y="22633"/>
                </a:lnTo>
                <a:lnTo>
                  <a:pt x="7014" y="21514"/>
                </a:lnTo>
                <a:lnTo>
                  <a:pt x="12446" y="21343"/>
                </a:lnTo>
                <a:lnTo>
                  <a:pt x="14881" y="19809"/>
                </a:lnTo>
                <a:lnTo>
                  <a:pt x="18634" y="18605"/>
                </a:lnTo>
                <a:lnTo>
                  <a:pt x="24195" y="19907"/>
                </a:lnTo>
                <a:lnTo>
                  <a:pt x="29614" y="22884"/>
                </a:lnTo>
                <a:lnTo>
                  <a:pt x="37051" y="33042"/>
                </a:lnTo>
                <a:lnTo>
                  <a:pt x="40404" y="32760"/>
                </a:lnTo>
                <a:lnTo>
                  <a:pt x="42772" y="27871"/>
                </a:lnTo>
                <a:lnTo>
                  <a:pt x="43932" y="20430"/>
                </a:lnTo>
                <a:lnTo>
                  <a:pt x="46255" y="14820"/>
                </a:lnTo>
                <a:lnTo>
                  <a:pt x="56481" y="6295"/>
                </a:lnTo>
                <a:lnTo>
                  <a:pt x="60385" y="0"/>
                </a:lnTo>
                <a:lnTo>
                  <a:pt x="62140" y="923"/>
                </a:lnTo>
                <a:lnTo>
                  <a:pt x="65620" y="153"/>
                </a:lnTo>
                <a:lnTo>
                  <a:pt x="68488" y="1131"/>
                </a:lnTo>
                <a:lnTo>
                  <a:pt x="70899" y="3626"/>
                </a:lnTo>
                <a:lnTo>
                  <a:pt x="72994" y="7433"/>
                </a:lnTo>
                <a:lnTo>
                  <a:pt x="74067" y="12095"/>
                </a:lnTo>
                <a:lnTo>
                  <a:pt x="73828" y="21305"/>
                </a:lnTo>
                <a:lnTo>
                  <a:pt x="74539" y="24652"/>
                </a:lnTo>
                <a:lnTo>
                  <a:pt x="79452" y="33668"/>
                </a:lnTo>
                <a:close/>
              </a:path>
            </a:pathLst>
          </a:custGeom>
          <a:solidFill>
            <a:srgbClr val="3397A5"/>
          </a:solidFill>
          <a:ln w="9525" cap="rnd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6" name="Freeform 91">
            <a:extLst>
              <a:ext uri="{FF2B5EF4-FFF2-40B4-BE49-F238E27FC236}">
                <a16:creationId xmlns:a16="http://schemas.microsoft.com/office/drawing/2014/main" id="{E92C07EC-3F66-4CDB-812A-76A3C3D5754F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>
          <a:xfrm rot="788356">
            <a:off x="7433732" y="2041032"/>
            <a:ext cx="283672" cy="187981"/>
          </a:xfrm>
          <a:custGeom>
            <a:avLst/>
            <a:gdLst/>
            <a:ahLst/>
            <a:cxnLst/>
            <a:rect l="0" t="0" r="0" b="0"/>
            <a:pathLst>
              <a:path w="332502" h="220340">
                <a:moveTo>
                  <a:pt x="122337" y="46677"/>
                </a:moveTo>
                <a:lnTo>
                  <a:pt x="125591" y="45770"/>
                </a:lnTo>
                <a:lnTo>
                  <a:pt x="127196" y="45839"/>
                </a:lnTo>
                <a:lnTo>
                  <a:pt x="128865" y="46615"/>
                </a:lnTo>
                <a:lnTo>
                  <a:pt x="130363" y="48836"/>
                </a:lnTo>
                <a:lnTo>
                  <a:pt x="131121" y="50617"/>
                </a:lnTo>
                <a:lnTo>
                  <a:pt x="132126" y="53785"/>
                </a:lnTo>
                <a:lnTo>
                  <a:pt x="132754" y="55110"/>
                </a:lnTo>
                <a:lnTo>
                  <a:pt x="133718" y="55984"/>
                </a:lnTo>
                <a:lnTo>
                  <a:pt x="134972" y="56355"/>
                </a:lnTo>
                <a:lnTo>
                  <a:pt x="136767" y="55705"/>
                </a:lnTo>
                <a:lnTo>
                  <a:pt x="138008" y="54821"/>
                </a:lnTo>
                <a:lnTo>
                  <a:pt x="139016" y="53711"/>
                </a:lnTo>
                <a:lnTo>
                  <a:pt x="140567" y="51403"/>
                </a:lnTo>
                <a:lnTo>
                  <a:pt x="141617" y="50438"/>
                </a:lnTo>
                <a:lnTo>
                  <a:pt x="142896" y="49956"/>
                </a:lnTo>
                <a:lnTo>
                  <a:pt x="145236" y="50760"/>
                </a:lnTo>
                <a:lnTo>
                  <a:pt x="148143" y="52703"/>
                </a:lnTo>
                <a:lnTo>
                  <a:pt x="157404" y="62306"/>
                </a:lnTo>
                <a:lnTo>
                  <a:pt x="158761" y="64772"/>
                </a:lnTo>
                <a:lnTo>
                  <a:pt x="160430" y="68826"/>
                </a:lnTo>
                <a:lnTo>
                  <a:pt x="161149" y="70038"/>
                </a:lnTo>
                <a:lnTo>
                  <a:pt x="190106" y="93541"/>
                </a:lnTo>
                <a:lnTo>
                  <a:pt x="200223" y="97712"/>
                </a:lnTo>
                <a:lnTo>
                  <a:pt x="202545" y="99053"/>
                </a:lnTo>
                <a:lnTo>
                  <a:pt x="204253" y="100562"/>
                </a:lnTo>
                <a:lnTo>
                  <a:pt x="206545" y="103533"/>
                </a:lnTo>
                <a:lnTo>
                  <a:pt x="207408" y="105036"/>
                </a:lnTo>
                <a:lnTo>
                  <a:pt x="207844" y="106619"/>
                </a:lnTo>
                <a:lnTo>
                  <a:pt x="207680" y="107913"/>
                </a:lnTo>
                <a:lnTo>
                  <a:pt x="207426" y="109009"/>
                </a:lnTo>
                <a:lnTo>
                  <a:pt x="206241" y="111808"/>
                </a:lnTo>
                <a:lnTo>
                  <a:pt x="205943" y="112796"/>
                </a:lnTo>
                <a:lnTo>
                  <a:pt x="205777" y="114158"/>
                </a:lnTo>
                <a:lnTo>
                  <a:pt x="205891" y="115495"/>
                </a:lnTo>
                <a:lnTo>
                  <a:pt x="206153" y="116443"/>
                </a:lnTo>
                <a:lnTo>
                  <a:pt x="206610" y="117290"/>
                </a:lnTo>
                <a:lnTo>
                  <a:pt x="207959" y="118085"/>
                </a:lnTo>
                <a:lnTo>
                  <a:pt x="209886" y="118663"/>
                </a:lnTo>
                <a:lnTo>
                  <a:pt x="213601" y="118683"/>
                </a:lnTo>
                <a:lnTo>
                  <a:pt x="217796" y="117986"/>
                </a:lnTo>
                <a:lnTo>
                  <a:pt x="219440" y="118015"/>
                </a:lnTo>
                <a:lnTo>
                  <a:pt x="220922" y="118885"/>
                </a:lnTo>
                <a:lnTo>
                  <a:pt x="222342" y="120950"/>
                </a:lnTo>
                <a:lnTo>
                  <a:pt x="222635" y="122799"/>
                </a:lnTo>
                <a:lnTo>
                  <a:pt x="222232" y="124386"/>
                </a:lnTo>
                <a:lnTo>
                  <a:pt x="220912" y="127005"/>
                </a:lnTo>
                <a:lnTo>
                  <a:pt x="220373" y="128390"/>
                </a:lnTo>
                <a:lnTo>
                  <a:pt x="220158" y="129962"/>
                </a:lnTo>
                <a:lnTo>
                  <a:pt x="220410" y="131467"/>
                </a:lnTo>
                <a:lnTo>
                  <a:pt x="220951" y="132864"/>
                </a:lnTo>
                <a:lnTo>
                  <a:pt x="221627" y="134098"/>
                </a:lnTo>
                <a:lnTo>
                  <a:pt x="225257" y="138898"/>
                </a:lnTo>
                <a:lnTo>
                  <a:pt x="226694" y="140132"/>
                </a:lnTo>
                <a:lnTo>
                  <a:pt x="229034" y="141574"/>
                </a:lnTo>
                <a:lnTo>
                  <a:pt x="230998" y="142052"/>
                </a:lnTo>
                <a:lnTo>
                  <a:pt x="233123" y="141731"/>
                </a:lnTo>
                <a:lnTo>
                  <a:pt x="235311" y="140127"/>
                </a:lnTo>
                <a:lnTo>
                  <a:pt x="236564" y="138639"/>
                </a:lnTo>
                <a:lnTo>
                  <a:pt x="237710" y="137532"/>
                </a:lnTo>
                <a:lnTo>
                  <a:pt x="238846" y="136937"/>
                </a:lnTo>
                <a:lnTo>
                  <a:pt x="247576" y="136124"/>
                </a:lnTo>
                <a:lnTo>
                  <a:pt x="249848" y="135317"/>
                </a:lnTo>
                <a:lnTo>
                  <a:pt x="251558" y="134346"/>
                </a:lnTo>
                <a:lnTo>
                  <a:pt x="252699" y="133455"/>
                </a:lnTo>
                <a:lnTo>
                  <a:pt x="254961" y="133228"/>
                </a:lnTo>
                <a:lnTo>
                  <a:pt x="258338" y="133646"/>
                </a:lnTo>
                <a:lnTo>
                  <a:pt x="267562" y="136651"/>
                </a:lnTo>
                <a:lnTo>
                  <a:pt x="269383" y="140175"/>
                </a:lnTo>
                <a:lnTo>
                  <a:pt x="264956" y="143552"/>
                </a:lnTo>
                <a:lnTo>
                  <a:pt x="264046" y="144561"/>
                </a:lnTo>
                <a:lnTo>
                  <a:pt x="263505" y="145817"/>
                </a:lnTo>
                <a:lnTo>
                  <a:pt x="263387" y="147277"/>
                </a:lnTo>
                <a:lnTo>
                  <a:pt x="264454" y="156837"/>
                </a:lnTo>
                <a:lnTo>
                  <a:pt x="264674" y="157661"/>
                </a:lnTo>
                <a:lnTo>
                  <a:pt x="269911" y="159542"/>
                </a:lnTo>
                <a:lnTo>
                  <a:pt x="288042" y="159669"/>
                </a:lnTo>
                <a:lnTo>
                  <a:pt x="287822" y="170738"/>
                </a:lnTo>
                <a:lnTo>
                  <a:pt x="297537" y="179827"/>
                </a:lnTo>
                <a:lnTo>
                  <a:pt x="322733" y="197081"/>
                </a:lnTo>
                <a:lnTo>
                  <a:pt x="327873" y="197675"/>
                </a:lnTo>
                <a:lnTo>
                  <a:pt x="331847" y="200103"/>
                </a:lnTo>
                <a:lnTo>
                  <a:pt x="332501" y="207413"/>
                </a:lnTo>
                <a:lnTo>
                  <a:pt x="317174" y="203650"/>
                </a:lnTo>
                <a:lnTo>
                  <a:pt x="296529" y="202521"/>
                </a:lnTo>
                <a:lnTo>
                  <a:pt x="295058" y="203018"/>
                </a:lnTo>
                <a:lnTo>
                  <a:pt x="293950" y="203804"/>
                </a:lnTo>
                <a:lnTo>
                  <a:pt x="293083" y="205008"/>
                </a:lnTo>
                <a:lnTo>
                  <a:pt x="291521" y="208405"/>
                </a:lnTo>
                <a:lnTo>
                  <a:pt x="289326" y="209880"/>
                </a:lnTo>
                <a:lnTo>
                  <a:pt x="287915" y="209944"/>
                </a:lnTo>
                <a:lnTo>
                  <a:pt x="282477" y="207775"/>
                </a:lnTo>
                <a:lnTo>
                  <a:pt x="260532" y="213864"/>
                </a:lnTo>
                <a:lnTo>
                  <a:pt x="253911" y="214114"/>
                </a:lnTo>
                <a:lnTo>
                  <a:pt x="252938" y="213130"/>
                </a:lnTo>
                <a:lnTo>
                  <a:pt x="250451" y="209658"/>
                </a:lnTo>
                <a:lnTo>
                  <a:pt x="249478" y="208733"/>
                </a:lnTo>
                <a:lnTo>
                  <a:pt x="248310" y="207916"/>
                </a:lnTo>
                <a:lnTo>
                  <a:pt x="231964" y="200882"/>
                </a:lnTo>
                <a:lnTo>
                  <a:pt x="229710" y="200653"/>
                </a:lnTo>
                <a:lnTo>
                  <a:pt x="204210" y="203833"/>
                </a:lnTo>
                <a:lnTo>
                  <a:pt x="203303" y="204481"/>
                </a:lnTo>
                <a:lnTo>
                  <a:pt x="202437" y="205366"/>
                </a:lnTo>
                <a:lnTo>
                  <a:pt x="201567" y="206491"/>
                </a:lnTo>
                <a:lnTo>
                  <a:pt x="200009" y="208992"/>
                </a:lnTo>
                <a:lnTo>
                  <a:pt x="198576" y="210177"/>
                </a:lnTo>
                <a:lnTo>
                  <a:pt x="196571" y="211234"/>
                </a:lnTo>
                <a:lnTo>
                  <a:pt x="187415" y="213236"/>
                </a:lnTo>
                <a:lnTo>
                  <a:pt x="184846" y="214409"/>
                </a:lnTo>
                <a:lnTo>
                  <a:pt x="183654" y="215182"/>
                </a:lnTo>
                <a:lnTo>
                  <a:pt x="180032" y="217114"/>
                </a:lnTo>
                <a:lnTo>
                  <a:pt x="170280" y="220339"/>
                </a:lnTo>
                <a:lnTo>
                  <a:pt x="169936" y="220101"/>
                </a:lnTo>
                <a:lnTo>
                  <a:pt x="166746" y="217905"/>
                </a:lnTo>
                <a:lnTo>
                  <a:pt x="165722" y="217006"/>
                </a:lnTo>
                <a:lnTo>
                  <a:pt x="163358" y="215252"/>
                </a:lnTo>
                <a:lnTo>
                  <a:pt x="161485" y="214349"/>
                </a:lnTo>
                <a:lnTo>
                  <a:pt x="132715" y="206655"/>
                </a:lnTo>
                <a:lnTo>
                  <a:pt x="131598" y="205763"/>
                </a:lnTo>
                <a:lnTo>
                  <a:pt x="130961" y="204640"/>
                </a:lnTo>
                <a:lnTo>
                  <a:pt x="131092" y="203265"/>
                </a:lnTo>
                <a:lnTo>
                  <a:pt x="131589" y="201890"/>
                </a:lnTo>
                <a:lnTo>
                  <a:pt x="132233" y="200549"/>
                </a:lnTo>
                <a:lnTo>
                  <a:pt x="132593" y="199085"/>
                </a:lnTo>
                <a:lnTo>
                  <a:pt x="132581" y="197485"/>
                </a:lnTo>
                <a:lnTo>
                  <a:pt x="132192" y="196013"/>
                </a:lnTo>
                <a:lnTo>
                  <a:pt x="131655" y="194624"/>
                </a:lnTo>
                <a:lnTo>
                  <a:pt x="130786" y="193441"/>
                </a:lnTo>
                <a:lnTo>
                  <a:pt x="129913" y="192436"/>
                </a:lnTo>
                <a:lnTo>
                  <a:pt x="125798" y="188872"/>
                </a:lnTo>
                <a:lnTo>
                  <a:pt x="124823" y="188266"/>
                </a:lnTo>
                <a:lnTo>
                  <a:pt x="121045" y="187871"/>
                </a:lnTo>
                <a:lnTo>
                  <a:pt x="116473" y="188084"/>
                </a:lnTo>
                <a:lnTo>
                  <a:pt x="114033" y="187587"/>
                </a:lnTo>
                <a:lnTo>
                  <a:pt x="112259" y="186901"/>
                </a:lnTo>
                <a:lnTo>
                  <a:pt x="111283" y="186083"/>
                </a:lnTo>
                <a:lnTo>
                  <a:pt x="107533" y="187419"/>
                </a:lnTo>
                <a:lnTo>
                  <a:pt x="102197" y="196665"/>
                </a:lnTo>
                <a:lnTo>
                  <a:pt x="92597" y="207523"/>
                </a:lnTo>
                <a:lnTo>
                  <a:pt x="82870" y="214636"/>
                </a:lnTo>
                <a:lnTo>
                  <a:pt x="71928" y="217276"/>
                </a:lnTo>
                <a:lnTo>
                  <a:pt x="58509" y="216735"/>
                </a:lnTo>
                <a:lnTo>
                  <a:pt x="53209" y="215368"/>
                </a:lnTo>
                <a:lnTo>
                  <a:pt x="52511" y="215189"/>
                </a:lnTo>
                <a:lnTo>
                  <a:pt x="53418" y="213899"/>
                </a:lnTo>
                <a:lnTo>
                  <a:pt x="41325" y="207288"/>
                </a:lnTo>
                <a:lnTo>
                  <a:pt x="48231" y="200608"/>
                </a:lnTo>
                <a:lnTo>
                  <a:pt x="64353" y="194982"/>
                </a:lnTo>
                <a:lnTo>
                  <a:pt x="71199" y="187892"/>
                </a:lnTo>
                <a:lnTo>
                  <a:pt x="72724" y="184249"/>
                </a:lnTo>
                <a:lnTo>
                  <a:pt x="72969" y="181306"/>
                </a:lnTo>
                <a:lnTo>
                  <a:pt x="71810" y="179522"/>
                </a:lnTo>
                <a:lnTo>
                  <a:pt x="63065" y="179489"/>
                </a:lnTo>
                <a:lnTo>
                  <a:pt x="44739" y="187622"/>
                </a:lnTo>
                <a:lnTo>
                  <a:pt x="39284" y="187830"/>
                </a:lnTo>
                <a:lnTo>
                  <a:pt x="43466" y="175732"/>
                </a:lnTo>
                <a:lnTo>
                  <a:pt x="62325" y="163816"/>
                </a:lnTo>
                <a:lnTo>
                  <a:pt x="64249" y="151005"/>
                </a:lnTo>
                <a:lnTo>
                  <a:pt x="60895" y="146442"/>
                </a:lnTo>
                <a:lnTo>
                  <a:pt x="56102" y="148785"/>
                </a:lnTo>
                <a:lnTo>
                  <a:pt x="51915" y="153532"/>
                </a:lnTo>
                <a:lnTo>
                  <a:pt x="50395" y="156170"/>
                </a:lnTo>
                <a:lnTo>
                  <a:pt x="44444" y="156189"/>
                </a:lnTo>
                <a:lnTo>
                  <a:pt x="27061" y="161797"/>
                </a:lnTo>
                <a:lnTo>
                  <a:pt x="27938" y="144858"/>
                </a:lnTo>
                <a:lnTo>
                  <a:pt x="28514" y="142488"/>
                </a:lnTo>
                <a:lnTo>
                  <a:pt x="29829" y="141139"/>
                </a:lnTo>
                <a:lnTo>
                  <a:pt x="32544" y="139797"/>
                </a:lnTo>
                <a:lnTo>
                  <a:pt x="36335" y="139096"/>
                </a:lnTo>
                <a:lnTo>
                  <a:pt x="44352" y="139437"/>
                </a:lnTo>
                <a:lnTo>
                  <a:pt x="47943" y="137912"/>
                </a:lnTo>
                <a:lnTo>
                  <a:pt x="50984" y="133632"/>
                </a:lnTo>
                <a:lnTo>
                  <a:pt x="52286" y="127974"/>
                </a:lnTo>
                <a:lnTo>
                  <a:pt x="51557" y="122289"/>
                </a:lnTo>
                <a:lnTo>
                  <a:pt x="48504" y="117915"/>
                </a:lnTo>
                <a:lnTo>
                  <a:pt x="33252" y="115351"/>
                </a:lnTo>
                <a:lnTo>
                  <a:pt x="21951" y="114610"/>
                </a:lnTo>
                <a:lnTo>
                  <a:pt x="16046" y="111311"/>
                </a:lnTo>
                <a:lnTo>
                  <a:pt x="12533" y="106992"/>
                </a:lnTo>
                <a:lnTo>
                  <a:pt x="1052" y="100557"/>
                </a:lnTo>
                <a:lnTo>
                  <a:pt x="0" y="91331"/>
                </a:lnTo>
                <a:lnTo>
                  <a:pt x="3830" y="92137"/>
                </a:lnTo>
                <a:lnTo>
                  <a:pt x="7094" y="91255"/>
                </a:lnTo>
                <a:lnTo>
                  <a:pt x="13301" y="87080"/>
                </a:lnTo>
                <a:lnTo>
                  <a:pt x="12062" y="81707"/>
                </a:lnTo>
                <a:lnTo>
                  <a:pt x="12635" y="76971"/>
                </a:lnTo>
                <a:lnTo>
                  <a:pt x="14906" y="74595"/>
                </a:lnTo>
                <a:lnTo>
                  <a:pt x="18770" y="76304"/>
                </a:lnTo>
                <a:lnTo>
                  <a:pt x="23213" y="73229"/>
                </a:lnTo>
                <a:lnTo>
                  <a:pt x="24473" y="70851"/>
                </a:lnTo>
                <a:lnTo>
                  <a:pt x="26371" y="60377"/>
                </a:lnTo>
                <a:lnTo>
                  <a:pt x="36743" y="44548"/>
                </a:lnTo>
                <a:lnTo>
                  <a:pt x="39689" y="42087"/>
                </a:lnTo>
                <a:lnTo>
                  <a:pt x="42737" y="41032"/>
                </a:lnTo>
                <a:lnTo>
                  <a:pt x="45344" y="39308"/>
                </a:lnTo>
                <a:lnTo>
                  <a:pt x="46946" y="34814"/>
                </a:lnTo>
                <a:lnTo>
                  <a:pt x="47260" y="31128"/>
                </a:lnTo>
                <a:lnTo>
                  <a:pt x="47160" y="27510"/>
                </a:lnTo>
                <a:lnTo>
                  <a:pt x="46586" y="24014"/>
                </a:lnTo>
                <a:lnTo>
                  <a:pt x="45517" y="20705"/>
                </a:lnTo>
                <a:lnTo>
                  <a:pt x="43718" y="17408"/>
                </a:lnTo>
                <a:lnTo>
                  <a:pt x="43263" y="15741"/>
                </a:lnTo>
                <a:lnTo>
                  <a:pt x="43473" y="13274"/>
                </a:lnTo>
                <a:lnTo>
                  <a:pt x="45160" y="9529"/>
                </a:lnTo>
                <a:lnTo>
                  <a:pt x="48130" y="6205"/>
                </a:lnTo>
                <a:lnTo>
                  <a:pt x="51556" y="3926"/>
                </a:lnTo>
                <a:lnTo>
                  <a:pt x="54621" y="3316"/>
                </a:lnTo>
                <a:lnTo>
                  <a:pt x="59130" y="5117"/>
                </a:lnTo>
                <a:lnTo>
                  <a:pt x="71600" y="15343"/>
                </a:lnTo>
                <a:lnTo>
                  <a:pt x="75897" y="17011"/>
                </a:lnTo>
                <a:lnTo>
                  <a:pt x="92082" y="17494"/>
                </a:lnTo>
                <a:lnTo>
                  <a:pt x="96461" y="14885"/>
                </a:lnTo>
                <a:lnTo>
                  <a:pt x="106213" y="1894"/>
                </a:lnTo>
                <a:lnTo>
                  <a:pt x="113992" y="0"/>
                </a:lnTo>
                <a:lnTo>
                  <a:pt x="118513" y="544"/>
                </a:lnTo>
                <a:lnTo>
                  <a:pt x="118874" y="9407"/>
                </a:lnTo>
                <a:lnTo>
                  <a:pt x="118025" y="17866"/>
                </a:lnTo>
                <a:lnTo>
                  <a:pt x="118876" y="21593"/>
                </a:lnTo>
                <a:lnTo>
                  <a:pt x="122653" y="24411"/>
                </a:lnTo>
                <a:lnTo>
                  <a:pt x="122593" y="27085"/>
                </a:lnTo>
                <a:lnTo>
                  <a:pt x="119197" y="30218"/>
                </a:lnTo>
                <a:lnTo>
                  <a:pt x="118802" y="40625"/>
                </a:lnTo>
                <a:lnTo>
                  <a:pt x="116011" y="44528"/>
                </a:lnTo>
                <a:close/>
              </a:path>
            </a:pathLst>
          </a:custGeom>
          <a:solidFill>
            <a:srgbClr val="3397A5"/>
          </a:solidFill>
          <a:ln w="9525" cap="rnd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7" name="Freeform 92">
            <a:extLst>
              <a:ext uri="{FF2B5EF4-FFF2-40B4-BE49-F238E27FC236}">
                <a16:creationId xmlns:a16="http://schemas.microsoft.com/office/drawing/2014/main" id="{CCC9B996-1150-4838-9071-6F41516CED62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>
          <a:xfrm rot="577021">
            <a:off x="7164007" y="1923272"/>
            <a:ext cx="340274" cy="272989"/>
          </a:xfrm>
          <a:custGeom>
            <a:avLst/>
            <a:gdLst/>
            <a:ahLst/>
            <a:cxnLst/>
            <a:rect l="0" t="0" r="0" b="0"/>
            <a:pathLst>
              <a:path w="328296" h="263380">
                <a:moveTo>
                  <a:pt x="19046" y="4119"/>
                </a:moveTo>
                <a:lnTo>
                  <a:pt x="23878" y="10943"/>
                </a:lnTo>
                <a:lnTo>
                  <a:pt x="27278" y="19274"/>
                </a:lnTo>
                <a:lnTo>
                  <a:pt x="31528" y="23706"/>
                </a:lnTo>
                <a:lnTo>
                  <a:pt x="38854" y="18834"/>
                </a:lnTo>
                <a:lnTo>
                  <a:pt x="43023" y="18391"/>
                </a:lnTo>
                <a:lnTo>
                  <a:pt x="49243" y="21700"/>
                </a:lnTo>
                <a:lnTo>
                  <a:pt x="55474" y="26953"/>
                </a:lnTo>
                <a:lnTo>
                  <a:pt x="59709" y="32346"/>
                </a:lnTo>
                <a:lnTo>
                  <a:pt x="64203" y="34001"/>
                </a:lnTo>
                <a:lnTo>
                  <a:pt x="69025" y="27506"/>
                </a:lnTo>
                <a:lnTo>
                  <a:pt x="73468" y="19073"/>
                </a:lnTo>
                <a:lnTo>
                  <a:pt x="76820" y="14906"/>
                </a:lnTo>
                <a:lnTo>
                  <a:pt x="82406" y="17279"/>
                </a:lnTo>
                <a:lnTo>
                  <a:pt x="87823" y="23048"/>
                </a:lnTo>
                <a:lnTo>
                  <a:pt x="91600" y="30375"/>
                </a:lnTo>
                <a:lnTo>
                  <a:pt x="92325" y="37449"/>
                </a:lnTo>
                <a:lnTo>
                  <a:pt x="101741" y="40663"/>
                </a:lnTo>
                <a:lnTo>
                  <a:pt x="104050" y="40407"/>
                </a:lnTo>
                <a:lnTo>
                  <a:pt x="105459" y="36748"/>
                </a:lnTo>
                <a:lnTo>
                  <a:pt x="106392" y="31286"/>
                </a:lnTo>
                <a:lnTo>
                  <a:pt x="107965" y="27467"/>
                </a:lnTo>
                <a:lnTo>
                  <a:pt x="129438" y="40520"/>
                </a:lnTo>
                <a:lnTo>
                  <a:pt x="128923" y="48654"/>
                </a:lnTo>
                <a:lnTo>
                  <a:pt x="126856" y="64564"/>
                </a:lnTo>
                <a:lnTo>
                  <a:pt x="127948" y="69524"/>
                </a:lnTo>
                <a:lnTo>
                  <a:pt x="131417" y="73235"/>
                </a:lnTo>
                <a:lnTo>
                  <a:pt x="142919" y="80900"/>
                </a:lnTo>
                <a:lnTo>
                  <a:pt x="156189" y="92983"/>
                </a:lnTo>
                <a:lnTo>
                  <a:pt x="162895" y="97944"/>
                </a:lnTo>
                <a:lnTo>
                  <a:pt x="169955" y="101214"/>
                </a:lnTo>
                <a:lnTo>
                  <a:pt x="183566" y="105898"/>
                </a:lnTo>
                <a:lnTo>
                  <a:pt x="193210" y="114291"/>
                </a:lnTo>
                <a:lnTo>
                  <a:pt x="215116" y="121278"/>
                </a:lnTo>
                <a:lnTo>
                  <a:pt x="215129" y="121287"/>
                </a:lnTo>
                <a:lnTo>
                  <a:pt x="215168" y="121306"/>
                </a:lnTo>
                <a:lnTo>
                  <a:pt x="215233" y="121339"/>
                </a:lnTo>
                <a:lnTo>
                  <a:pt x="215322" y="121386"/>
                </a:lnTo>
                <a:lnTo>
                  <a:pt x="215434" y="121441"/>
                </a:lnTo>
                <a:lnTo>
                  <a:pt x="215567" y="121511"/>
                </a:lnTo>
                <a:lnTo>
                  <a:pt x="215721" y="121589"/>
                </a:lnTo>
                <a:lnTo>
                  <a:pt x="215895" y="121677"/>
                </a:lnTo>
                <a:lnTo>
                  <a:pt x="216087" y="121774"/>
                </a:lnTo>
                <a:lnTo>
                  <a:pt x="216297" y="121882"/>
                </a:lnTo>
                <a:lnTo>
                  <a:pt x="216523" y="121996"/>
                </a:lnTo>
                <a:lnTo>
                  <a:pt x="216765" y="122119"/>
                </a:lnTo>
                <a:lnTo>
                  <a:pt x="217020" y="122250"/>
                </a:lnTo>
                <a:lnTo>
                  <a:pt x="217289" y="122387"/>
                </a:lnTo>
                <a:lnTo>
                  <a:pt x="217569" y="122529"/>
                </a:lnTo>
                <a:lnTo>
                  <a:pt x="217861" y="122676"/>
                </a:lnTo>
                <a:lnTo>
                  <a:pt x="218162" y="122830"/>
                </a:lnTo>
                <a:lnTo>
                  <a:pt x="218473" y="122986"/>
                </a:lnTo>
                <a:lnTo>
                  <a:pt x="218791" y="123149"/>
                </a:lnTo>
                <a:lnTo>
                  <a:pt x="219115" y="123314"/>
                </a:lnTo>
                <a:lnTo>
                  <a:pt x="219445" y="123481"/>
                </a:lnTo>
                <a:lnTo>
                  <a:pt x="219779" y="123651"/>
                </a:lnTo>
                <a:lnTo>
                  <a:pt x="220116" y="123822"/>
                </a:lnTo>
                <a:lnTo>
                  <a:pt x="220456" y="123994"/>
                </a:lnTo>
                <a:lnTo>
                  <a:pt x="220797" y="124167"/>
                </a:lnTo>
                <a:lnTo>
                  <a:pt x="221137" y="124341"/>
                </a:lnTo>
                <a:lnTo>
                  <a:pt x="221477" y="124512"/>
                </a:lnTo>
                <a:lnTo>
                  <a:pt x="221815" y="124684"/>
                </a:lnTo>
                <a:lnTo>
                  <a:pt x="222149" y="124854"/>
                </a:lnTo>
                <a:lnTo>
                  <a:pt x="222479" y="125022"/>
                </a:lnTo>
                <a:lnTo>
                  <a:pt x="222803" y="125187"/>
                </a:lnTo>
                <a:lnTo>
                  <a:pt x="223121" y="125348"/>
                </a:lnTo>
                <a:lnTo>
                  <a:pt x="223431" y="125506"/>
                </a:lnTo>
                <a:lnTo>
                  <a:pt x="223733" y="125658"/>
                </a:lnTo>
                <a:lnTo>
                  <a:pt x="224024" y="125805"/>
                </a:lnTo>
                <a:lnTo>
                  <a:pt x="224305" y="125948"/>
                </a:lnTo>
                <a:lnTo>
                  <a:pt x="224574" y="126085"/>
                </a:lnTo>
                <a:lnTo>
                  <a:pt x="224830" y="126215"/>
                </a:lnTo>
                <a:lnTo>
                  <a:pt x="225071" y="126338"/>
                </a:lnTo>
                <a:lnTo>
                  <a:pt x="225298" y="126452"/>
                </a:lnTo>
                <a:lnTo>
                  <a:pt x="225507" y="126558"/>
                </a:lnTo>
                <a:lnTo>
                  <a:pt x="225700" y="126655"/>
                </a:lnTo>
                <a:lnTo>
                  <a:pt x="225874" y="126743"/>
                </a:lnTo>
                <a:lnTo>
                  <a:pt x="226028" y="126823"/>
                </a:lnTo>
                <a:lnTo>
                  <a:pt x="226161" y="126890"/>
                </a:lnTo>
                <a:lnTo>
                  <a:pt x="226273" y="126946"/>
                </a:lnTo>
                <a:lnTo>
                  <a:pt x="226362" y="126991"/>
                </a:lnTo>
                <a:lnTo>
                  <a:pt x="226426" y="127024"/>
                </a:lnTo>
                <a:lnTo>
                  <a:pt x="226480" y="127052"/>
                </a:lnTo>
                <a:lnTo>
                  <a:pt x="228868" y="124914"/>
                </a:lnTo>
                <a:lnTo>
                  <a:pt x="233852" y="118681"/>
                </a:lnTo>
                <a:lnTo>
                  <a:pt x="236371" y="117310"/>
                </a:lnTo>
                <a:lnTo>
                  <a:pt x="240863" y="119957"/>
                </a:lnTo>
                <a:lnTo>
                  <a:pt x="252849" y="133765"/>
                </a:lnTo>
                <a:lnTo>
                  <a:pt x="255326" y="139521"/>
                </a:lnTo>
                <a:lnTo>
                  <a:pt x="256378" y="148747"/>
                </a:lnTo>
                <a:lnTo>
                  <a:pt x="267859" y="155182"/>
                </a:lnTo>
                <a:lnTo>
                  <a:pt x="271372" y="159501"/>
                </a:lnTo>
                <a:lnTo>
                  <a:pt x="277277" y="162800"/>
                </a:lnTo>
                <a:lnTo>
                  <a:pt x="288578" y="163541"/>
                </a:lnTo>
                <a:lnTo>
                  <a:pt x="303830" y="166105"/>
                </a:lnTo>
                <a:lnTo>
                  <a:pt x="306883" y="170479"/>
                </a:lnTo>
                <a:lnTo>
                  <a:pt x="307612" y="176164"/>
                </a:lnTo>
                <a:lnTo>
                  <a:pt x="306310" y="181822"/>
                </a:lnTo>
                <a:lnTo>
                  <a:pt x="303269" y="186102"/>
                </a:lnTo>
                <a:lnTo>
                  <a:pt x="299678" y="187627"/>
                </a:lnTo>
                <a:lnTo>
                  <a:pt x="291661" y="187286"/>
                </a:lnTo>
                <a:lnTo>
                  <a:pt x="287870" y="187987"/>
                </a:lnTo>
                <a:lnTo>
                  <a:pt x="285155" y="189329"/>
                </a:lnTo>
                <a:lnTo>
                  <a:pt x="283840" y="190678"/>
                </a:lnTo>
                <a:lnTo>
                  <a:pt x="283264" y="193048"/>
                </a:lnTo>
                <a:lnTo>
                  <a:pt x="282387" y="209987"/>
                </a:lnTo>
                <a:lnTo>
                  <a:pt x="299770" y="204379"/>
                </a:lnTo>
                <a:lnTo>
                  <a:pt x="305721" y="204360"/>
                </a:lnTo>
                <a:lnTo>
                  <a:pt x="307241" y="201722"/>
                </a:lnTo>
                <a:lnTo>
                  <a:pt x="311428" y="196975"/>
                </a:lnTo>
                <a:lnTo>
                  <a:pt x="316221" y="194632"/>
                </a:lnTo>
                <a:lnTo>
                  <a:pt x="319575" y="199195"/>
                </a:lnTo>
                <a:lnTo>
                  <a:pt x="317651" y="212006"/>
                </a:lnTo>
                <a:lnTo>
                  <a:pt x="298792" y="223922"/>
                </a:lnTo>
                <a:lnTo>
                  <a:pt x="294610" y="236020"/>
                </a:lnTo>
                <a:lnTo>
                  <a:pt x="300065" y="235812"/>
                </a:lnTo>
                <a:lnTo>
                  <a:pt x="318391" y="227679"/>
                </a:lnTo>
                <a:lnTo>
                  <a:pt x="327136" y="227712"/>
                </a:lnTo>
                <a:lnTo>
                  <a:pt x="328295" y="229496"/>
                </a:lnTo>
                <a:lnTo>
                  <a:pt x="328050" y="232439"/>
                </a:lnTo>
                <a:lnTo>
                  <a:pt x="326525" y="236082"/>
                </a:lnTo>
                <a:lnTo>
                  <a:pt x="319679" y="243172"/>
                </a:lnTo>
                <a:lnTo>
                  <a:pt x="303557" y="248798"/>
                </a:lnTo>
                <a:lnTo>
                  <a:pt x="296651" y="255478"/>
                </a:lnTo>
                <a:lnTo>
                  <a:pt x="308744" y="262089"/>
                </a:lnTo>
                <a:lnTo>
                  <a:pt x="307837" y="263379"/>
                </a:lnTo>
                <a:lnTo>
                  <a:pt x="300669" y="261527"/>
                </a:lnTo>
                <a:lnTo>
                  <a:pt x="290414" y="255535"/>
                </a:lnTo>
                <a:lnTo>
                  <a:pt x="286476" y="249114"/>
                </a:lnTo>
                <a:lnTo>
                  <a:pt x="281949" y="234660"/>
                </a:lnTo>
                <a:lnTo>
                  <a:pt x="277551" y="231750"/>
                </a:lnTo>
                <a:lnTo>
                  <a:pt x="271417" y="232634"/>
                </a:lnTo>
                <a:lnTo>
                  <a:pt x="267167" y="234256"/>
                </a:lnTo>
                <a:lnTo>
                  <a:pt x="262619" y="234496"/>
                </a:lnTo>
                <a:lnTo>
                  <a:pt x="255576" y="231179"/>
                </a:lnTo>
                <a:lnTo>
                  <a:pt x="224805" y="210225"/>
                </a:lnTo>
                <a:lnTo>
                  <a:pt x="212729" y="206283"/>
                </a:lnTo>
                <a:lnTo>
                  <a:pt x="200369" y="207310"/>
                </a:lnTo>
                <a:lnTo>
                  <a:pt x="188737" y="210482"/>
                </a:lnTo>
                <a:lnTo>
                  <a:pt x="178734" y="209180"/>
                </a:lnTo>
                <a:lnTo>
                  <a:pt x="171358" y="196827"/>
                </a:lnTo>
                <a:lnTo>
                  <a:pt x="166316" y="183217"/>
                </a:lnTo>
                <a:lnTo>
                  <a:pt x="165669" y="179989"/>
                </a:lnTo>
                <a:lnTo>
                  <a:pt x="164424" y="177578"/>
                </a:lnTo>
                <a:lnTo>
                  <a:pt x="158713" y="173296"/>
                </a:lnTo>
                <a:lnTo>
                  <a:pt x="157463" y="171082"/>
                </a:lnTo>
                <a:lnTo>
                  <a:pt x="154088" y="169272"/>
                </a:lnTo>
                <a:lnTo>
                  <a:pt x="132421" y="177502"/>
                </a:lnTo>
                <a:lnTo>
                  <a:pt x="134883" y="168102"/>
                </a:lnTo>
                <a:lnTo>
                  <a:pt x="129177" y="164304"/>
                </a:lnTo>
                <a:lnTo>
                  <a:pt x="122747" y="165965"/>
                </a:lnTo>
                <a:lnTo>
                  <a:pt x="121020" y="157892"/>
                </a:lnTo>
                <a:lnTo>
                  <a:pt x="118365" y="154570"/>
                </a:lnTo>
                <a:lnTo>
                  <a:pt x="108731" y="153510"/>
                </a:lnTo>
                <a:lnTo>
                  <a:pt x="101971" y="151333"/>
                </a:lnTo>
                <a:lnTo>
                  <a:pt x="96160" y="145969"/>
                </a:lnTo>
                <a:lnTo>
                  <a:pt x="90132" y="129654"/>
                </a:lnTo>
                <a:lnTo>
                  <a:pt x="71392" y="108228"/>
                </a:lnTo>
                <a:lnTo>
                  <a:pt x="62336" y="105263"/>
                </a:lnTo>
                <a:lnTo>
                  <a:pt x="42898" y="88577"/>
                </a:lnTo>
                <a:lnTo>
                  <a:pt x="40254" y="81427"/>
                </a:lnTo>
                <a:lnTo>
                  <a:pt x="38483" y="73147"/>
                </a:lnTo>
                <a:lnTo>
                  <a:pt x="35902" y="66175"/>
                </a:lnTo>
                <a:lnTo>
                  <a:pt x="30830" y="62942"/>
                </a:lnTo>
                <a:lnTo>
                  <a:pt x="29646" y="69536"/>
                </a:lnTo>
                <a:lnTo>
                  <a:pt x="26280" y="73173"/>
                </a:lnTo>
                <a:lnTo>
                  <a:pt x="21821" y="73826"/>
                </a:lnTo>
                <a:lnTo>
                  <a:pt x="17341" y="71461"/>
                </a:lnTo>
                <a:lnTo>
                  <a:pt x="5887" y="58136"/>
                </a:lnTo>
                <a:lnTo>
                  <a:pt x="1162" y="56213"/>
                </a:lnTo>
                <a:lnTo>
                  <a:pt x="0" y="44176"/>
                </a:lnTo>
                <a:lnTo>
                  <a:pt x="613" y="33794"/>
                </a:lnTo>
                <a:lnTo>
                  <a:pt x="2688" y="27664"/>
                </a:lnTo>
                <a:lnTo>
                  <a:pt x="3895" y="25715"/>
                </a:lnTo>
                <a:lnTo>
                  <a:pt x="6506" y="21511"/>
                </a:lnTo>
                <a:lnTo>
                  <a:pt x="15943" y="0"/>
                </a:lnTo>
                <a:close/>
              </a:path>
            </a:pathLst>
          </a:custGeom>
          <a:solidFill>
            <a:srgbClr val="3397A5"/>
          </a:solidFill>
          <a:ln w="9525" cap="rnd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8" name="Freeform 93">
            <a:extLst>
              <a:ext uri="{FF2B5EF4-FFF2-40B4-BE49-F238E27FC236}">
                <a16:creationId xmlns:a16="http://schemas.microsoft.com/office/drawing/2014/main" id="{2A81CD76-9D6E-46C0-864B-5E4C9138C387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>
          <a:xfrm>
            <a:off x="7118310" y="1909985"/>
            <a:ext cx="219118" cy="241008"/>
          </a:xfrm>
          <a:custGeom>
            <a:avLst/>
            <a:gdLst/>
            <a:ahLst/>
            <a:cxnLst/>
            <a:rect l="0" t="0" r="0" b="0"/>
            <a:pathLst>
              <a:path w="175549" h="176493">
                <a:moveTo>
                  <a:pt x="52126" y="8441"/>
                </a:moveTo>
                <a:lnTo>
                  <a:pt x="50919" y="10390"/>
                </a:lnTo>
                <a:lnTo>
                  <a:pt x="48844" y="16520"/>
                </a:lnTo>
                <a:lnTo>
                  <a:pt x="48231" y="26902"/>
                </a:lnTo>
                <a:lnTo>
                  <a:pt x="49393" y="38939"/>
                </a:lnTo>
                <a:lnTo>
                  <a:pt x="54118" y="40862"/>
                </a:lnTo>
                <a:lnTo>
                  <a:pt x="65572" y="54187"/>
                </a:lnTo>
                <a:lnTo>
                  <a:pt x="70052" y="56552"/>
                </a:lnTo>
                <a:lnTo>
                  <a:pt x="74511" y="55899"/>
                </a:lnTo>
                <a:lnTo>
                  <a:pt x="77877" y="52262"/>
                </a:lnTo>
                <a:lnTo>
                  <a:pt x="79061" y="45668"/>
                </a:lnTo>
                <a:lnTo>
                  <a:pt x="84133" y="48901"/>
                </a:lnTo>
                <a:lnTo>
                  <a:pt x="86714" y="55873"/>
                </a:lnTo>
                <a:lnTo>
                  <a:pt x="88485" y="64153"/>
                </a:lnTo>
                <a:lnTo>
                  <a:pt x="91129" y="71303"/>
                </a:lnTo>
                <a:lnTo>
                  <a:pt x="110567" y="87989"/>
                </a:lnTo>
                <a:lnTo>
                  <a:pt x="119623" y="90954"/>
                </a:lnTo>
                <a:lnTo>
                  <a:pt x="138363" y="112380"/>
                </a:lnTo>
                <a:lnTo>
                  <a:pt x="144391" y="128695"/>
                </a:lnTo>
                <a:lnTo>
                  <a:pt x="150202" y="134059"/>
                </a:lnTo>
                <a:lnTo>
                  <a:pt x="156962" y="136236"/>
                </a:lnTo>
                <a:lnTo>
                  <a:pt x="166596" y="137296"/>
                </a:lnTo>
                <a:lnTo>
                  <a:pt x="169251" y="140618"/>
                </a:lnTo>
                <a:lnTo>
                  <a:pt x="170978" y="148691"/>
                </a:lnTo>
                <a:lnTo>
                  <a:pt x="171376" y="155675"/>
                </a:lnTo>
                <a:lnTo>
                  <a:pt x="175548" y="163868"/>
                </a:lnTo>
                <a:lnTo>
                  <a:pt x="174315" y="166957"/>
                </a:lnTo>
                <a:lnTo>
                  <a:pt x="169742" y="166945"/>
                </a:lnTo>
                <a:lnTo>
                  <a:pt x="157120" y="163535"/>
                </a:lnTo>
                <a:lnTo>
                  <a:pt x="154470" y="164436"/>
                </a:lnTo>
                <a:lnTo>
                  <a:pt x="156330" y="169868"/>
                </a:lnTo>
                <a:lnTo>
                  <a:pt x="157187" y="174171"/>
                </a:lnTo>
                <a:lnTo>
                  <a:pt x="155136" y="176492"/>
                </a:lnTo>
                <a:lnTo>
                  <a:pt x="152337" y="176223"/>
                </a:lnTo>
                <a:lnTo>
                  <a:pt x="151038" y="172764"/>
                </a:lnTo>
                <a:lnTo>
                  <a:pt x="148744" y="169211"/>
                </a:lnTo>
                <a:lnTo>
                  <a:pt x="137852" y="161642"/>
                </a:lnTo>
                <a:lnTo>
                  <a:pt x="134850" y="155828"/>
                </a:lnTo>
                <a:lnTo>
                  <a:pt x="132973" y="155766"/>
                </a:lnTo>
                <a:lnTo>
                  <a:pt x="132763" y="157797"/>
                </a:lnTo>
                <a:lnTo>
                  <a:pt x="132452" y="158146"/>
                </a:lnTo>
                <a:lnTo>
                  <a:pt x="131895" y="158037"/>
                </a:lnTo>
                <a:lnTo>
                  <a:pt x="130995" y="158625"/>
                </a:lnTo>
                <a:lnTo>
                  <a:pt x="130706" y="169783"/>
                </a:lnTo>
                <a:lnTo>
                  <a:pt x="121430" y="173650"/>
                </a:lnTo>
                <a:lnTo>
                  <a:pt x="109078" y="171919"/>
                </a:lnTo>
                <a:lnTo>
                  <a:pt x="99458" y="166360"/>
                </a:lnTo>
                <a:lnTo>
                  <a:pt x="95847" y="163475"/>
                </a:lnTo>
                <a:lnTo>
                  <a:pt x="95400" y="161416"/>
                </a:lnTo>
                <a:lnTo>
                  <a:pt x="95502" y="155957"/>
                </a:lnTo>
                <a:lnTo>
                  <a:pt x="96388" y="153557"/>
                </a:lnTo>
                <a:lnTo>
                  <a:pt x="97636" y="151434"/>
                </a:lnTo>
                <a:lnTo>
                  <a:pt x="97417" y="149718"/>
                </a:lnTo>
                <a:lnTo>
                  <a:pt x="93887" y="148577"/>
                </a:lnTo>
                <a:lnTo>
                  <a:pt x="89569" y="149692"/>
                </a:lnTo>
                <a:lnTo>
                  <a:pt x="85948" y="152694"/>
                </a:lnTo>
                <a:lnTo>
                  <a:pt x="82060" y="154978"/>
                </a:lnTo>
                <a:lnTo>
                  <a:pt x="76942" y="153845"/>
                </a:lnTo>
                <a:lnTo>
                  <a:pt x="73498" y="147615"/>
                </a:lnTo>
                <a:lnTo>
                  <a:pt x="70994" y="145038"/>
                </a:lnTo>
                <a:lnTo>
                  <a:pt x="68936" y="145894"/>
                </a:lnTo>
                <a:lnTo>
                  <a:pt x="68866" y="141833"/>
                </a:lnTo>
                <a:lnTo>
                  <a:pt x="68198" y="138089"/>
                </a:lnTo>
                <a:lnTo>
                  <a:pt x="66944" y="134702"/>
                </a:lnTo>
                <a:lnTo>
                  <a:pt x="65077" y="131722"/>
                </a:lnTo>
                <a:lnTo>
                  <a:pt x="57757" y="128212"/>
                </a:lnTo>
                <a:lnTo>
                  <a:pt x="50218" y="125227"/>
                </a:lnTo>
                <a:lnTo>
                  <a:pt x="45638" y="123509"/>
                </a:lnTo>
                <a:lnTo>
                  <a:pt x="37317" y="121119"/>
                </a:lnTo>
                <a:lnTo>
                  <a:pt x="33498" y="115517"/>
                </a:lnTo>
                <a:lnTo>
                  <a:pt x="25322" y="109042"/>
                </a:lnTo>
                <a:lnTo>
                  <a:pt x="17745" y="98924"/>
                </a:lnTo>
                <a:lnTo>
                  <a:pt x="12043" y="95398"/>
                </a:lnTo>
                <a:lnTo>
                  <a:pt x="5713" y="93693"/>
                </a:lnTo>
                <a:lnTo>
                  <a:pt x="0" y="94365"/>
                </a:lnTo>
                <a:lnTo>
                  <a:pt x="1223" y="90201"/>
                </a:lnTo>
                <a:lnTo>
                  <a:pt x="5288" y="85259"/>
                </a:lnTo>
                <a:lnTo>
                  <a:pt x="7079" y="82006"/>
                </a:lnTo>
                <a:lnTo>
                  <a:pt x="7526" y="78585"/>
                </a:lnTo>
                <a:lnTo>
                  <a:pt x="7301" y="74856"/>
                </a:lnTo>
                <a:lnTo>
                  <a:pt x="7509" y="70771"/>
                </a:lnTo>
                <a:lnTo>
                  <a:pt x="9235" y="66254"/>
                </a:lnTo>
                <a:lnTo>
                  <a:pt x="14283" y="66267"/>
                </a:lnTo>
                <a:lnTo>
                  <a:pt x="18283" y="68787"/>
                </a:lnTo>
                <a:lnTo>
                  <a:pt x="20932" y="69510"/>
                </a:lnTo>
                <a:lnTo>
                  <a:pt x="21937" y="64162"/>
                </a:lnTo>
                <a:lnTo>
                  <a:pt x="21060" y="59584"/>
                </a:lnTo>
                <a:lnTo>
                  <a:pt x="17321" y="51267"/>
                </a:lnTo>
                <a:lnTo>
                  <a:pt x="16849" y="46363"/>
                </a:lnTo>
                <a:lnTo>
                  <a:pt x="18010" y="41988"/>
                </a:lnTo>
                <a:lnTo>
                  <a:pt x="20239" y="37575"/>
                </a:lnTo>
                <a:lnTo>
                  <a:pt x="22995" y="33769"/>
                </a:lnTo>
                <a:lnTo>
                  <a:pt x="25734" y="31234"/>
                </a:lnTo>
                <a:lnTo>
                  <a:pt x="31445" y="28635"/>
                </a:lnTo>
                <a:lnTo>
                  <a:pt x="33727" y="26562"/>
                </a:lnTo>
                <a:lnTo>
                  <a:pt x="35253" y="22428"/>
                </a:lnTo>
                <a:lnTo>
                  <a:pt x="35478" y="19325"/>
                </a:lnTo>
                <a:lnTo>
                  <a:pt x="35049" y="9813"/>
                </a:lnTo>
                <a:lnTo>
                  <a:pt x="36006" y="7351"/>
                </a:lnTo>
                <a:lnTo>
                  <a:pt x="41618" y="97"/>
                </a:lnTo>
                <a:lnTo>
                  <a:pt x="46186" y="0"/>
                </a:lnTo>
                <a:lnTo>
                  <a:pt x="48628" y="1455"/>
                </a:lnTo>
                <a:close/>
              </a:path>
            </a:pathLst>
          </a:custGeom>
          <a:solidFill>
            <a:srgbClr val="3397A5"/>
          </a:solidFill>
          <a:ln w="9525" cap="rnd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9" name="Freeform 9">
            <a:extLst>
              <a:ext uri="{FF2B5EF4-FFF2-40B4-BE49-F238E27FC236}">
                <a16:creationId xmlns:a16="http://schemas.microsoft.com/office/drawing/2014/main" id="{9C30D1BC-9C2E-4DE0-9943-7CB51A8321DA}"/>
              </a:ext>
            </a:extLst>
          </p:cNvPr>
          <p:cNvSpPr>
            <a:spLocks noChangeAspect="1"/>
          </p:cNvSpPr>
          <p:nvPr>
            <p:custDataLst>
              <p:tags r:id="rId9"/>
            </p:custDataLst>
          </p:nvPr>
        </p:nvSpPr>
        <p:spPr>
          <a:xfrm>
            <a:off x="7738909" y="2383607"/>
            <a:ext cx="273339" cy="243068"/>
          </a:xfrm>
          <a:custGeom>
            <a:avLst/>
            <a:gdLst/>
            <a:ahLst/>
            <a:cxnLst/>
            <a:rect l="0" t="0" r="0" b="0"/>
            <a:pathLst>
              <a:path w="264858" h="218592">
                <a:moveTo>
                  <a:pt x="264857" y="172382"/>
                </a:moveTo>
                <a:lnTo>
                  <a:pt x="255375" y="186524"/>
                </a:lnTo>
                <a:lnTo>
                  <a:pt x="253084" y="188071"/>
                </a:lnTo>
                <a:lnTo>
                  <a:pt x="234647" y="172187"/>
                </a:lnTo>
                <a:lnTo>
                  <a:pt x="227138" y="170963"/>
                </a:lnTo>
                <a:lnTo>
                  <a:pt x="213474" y="178073"/>
                </a:lnTo>
                <a:lnTo>
                  <a:pt x="208023" y="171516"/>
                </a:lnTo>
                <a:lnTo>
                  <a:pt x="209738" y="169009"/>
                </a:lnTo>
                <a:lnTo>
                  <a:pt x="210376" y="166837"/>
                </a:lnTo>
                <a:lnTo>
                  <a:pt x="210524" y="160617"/>
                </a:lnTo>
                <a:lnTo>
                  <a:pt x="207561" y="161194"/>
                </a:lnTo>
                <a:lnTo>
                  <a:pt x="199609" y="165829"/>
                </a:lnTo>
                <a:lnTo>
                  <a:pt x="182850" y="156142"/>
                </a:lnTo>
                <a:lnTo>
                  <a:pt x="179541" y="153233"/>
                </a:lnTo>
                <a:lnTo>
                  <a:pt x="179513" y="150902"/>
                </a:lnTo>
                <a:lnTo>
                  <a:pt x="180329" y="148728"/>
                </a:lnTo>
                <a:lnTo>
                  <a:pt x="179559" y="146289"/>
                </a:lnTo>
                <a:lnTo>
                  <a:pt x="176574" y="143480"/>
                </a:lnTo>
                <a:lnTo>
                  <a:pt x="173289" y="141519"/>
                </a:lnTo>
                <a:lnTo>
                  <a:pt x="169802" y="140461"/>
                </a:lnTo>
                <a:lnTo>
                  <a:pt x="166202" y="140370"/>
                </a:lnTo>
                <a:lnTo>
                  <a:pt x="163167" y="137290"/>
                </a:lnTo>
                <a:lnTo>
                  <a:pt x="159686" y="129094"/>
                </a:lnTo>
                <a:lnTo>
                  <a:pt x="156181" y="128227"/>
                </a:lnTo>
                <a:lnTo>
                  <a:pt x="138174" y="160556"/>
                </a:lnTo>
                <a:lnTo>
                  <a:pt x="134882" y="164269"/>
                </a:lnTo>
                <a:lnTo>
                  <a:pt x="127598" y="169161"/>
                </a:lnTo>
                <a:lnTo>
                  <a:pt x="118271" y="182234"/>
                </a:lnTo>
                <a:lnTo>
                  <a:pt x="113421" y="192121"/>
                </a:lnTo>
                <a:lnTo>
                  <a:pt x="111051" y="194694"/>
                </a:lnTo>
                <a:lnTo>
                  <a:pt x="107030" y="193882"/>
                </a:lnTo>
                <a:lnTo>
                  <a:pt x="92250" y="185725"/>
                </a:lnTo>
                <a:lnTo>
                  <a:pt x="87024" y="185858"/>
                </a:lnTo>
                <a:lnTo>
                  <a:pt x="80905" y="189007"/>
                </a:lnTo>
                <a:lnTo>
                  <a:pt x="78666" y="188784"/>
                </a:lnTo>
                <a:lnTo>
                  <a:pt x="77351" y="187645"/>
                </a:lnTo>
                <a:lnTo>
                  <a:pt x="76425" y="186068"/>
                </a:lnTo>
                <a:lnTo>
                  <a:pt x="75327" y="184836"/>
                </a:lnTo>
                <a:lnTo>
                  <a:pt x="73494" y="184740"/>
                </a:lnTo>
                <a:lnTo>
                  <a:pt x="71483" y="186183"/>
                </a:lnTo>
                <a:lnTo>
                  <a:pt x="62573" y="197392"/>
                </a:lnTo>
                <a:lnTo>
                  <a:pt x="61009" y="202151"/>
                </a:lnTo>
                <a:lnTo>
                  <a:pt x="59554" y="212725"/>
                </a:lnTo>
                <a:lnTo>
                  <a:pt x="59554" y="212725"/>
                </a:lnTo>
                <a:lnTo>
                  <a:pt x="50967" y="213122"/>
                </a:lnTo>
                <a:lnTo>
                  <a:pt x="46924" y="214245"/>
                </a:lnTo>
                <a:lnTo>
                  <a:pt x="39091" y="218022"/>
                </a:lnTo>
                <a:lnTo>
                  <a:pt x="36212" y="218591"/>
                </a:lnTo>
                <a:lnTo>
                  <a:pt x="33063" y="218401"/>
                </a:lnTo>
                <a:lnTo>
                  <a:pt x="23557" y="215965"/>
                </a:lnTo>
                <a:lnTo>
                  <a:pt x="20610" y="214799"/>
                </a:lnTo>
                <a:lnTo>
                  <a:pt x="18903" y="213515"/>
                </a:lnTo>
                <a:lnTo>
                  <a:pt x="19015" y="212121"/>
                </a:lnTo>
                <a:lnTo>
                  <a:pt x="19553" y="210717"/>
                </a:lnTo>
                <a:lnTo>
                  <a:pt x="20529" y="209519"/>
                </a:lnTo>
                <a:lnTo>
                  <a:pt x="24391" y="205888"/>
                </a:lnTo>
                <a:lnTo>
                  <a:pt x="25359" y="204780"/>
                </a:lnTo>
                <a:lnTo>
                  <a:pt x="25996" y="203523"/>
                </a:lnTo>
                <a:lnTo>
                  <a:pt x="25586" y="201518"/>
                </a:lnTo>
                <a:lnTo>
                  <a:pt x="23988" y="199104"/>
                </a:lnTo>
                <a:lnTo>
                  <a:pt x="19161" y="195568"/>
                </a:lnTo>
                <a:lnTo>
                  <a:pt x="16304" y="194403"/>
                </a:lnTo>
                <a:lnTo>
                  <a:pt x="14100" y="194197"/>
                </a:lnTo>
                <a:lnTo>
                  <a:pt x="12845" y="194918"/>
                </a:lnTo>
                <a:lnTo>
                  <a:pt x="11879" y="195903"/>
                </a:lnTo>
                <a:lnTo>
                  <a:pt x="11052" y="197138"/>
                </a:lnTo>
                <a:lnTo>
                  <a:pt x="9224" y="198202"/>
                </a:lnTo>
                <a:lnTo>
                  <a:pt x="7639" y="198849"/>
                </a:lnTo>
                <a:lnTo>
                  <a:pt x="0" y="198953"/>
                </a:lnTo>
                <a:lnTo>
                  <a:pt x="5114" y="182188"/>
                </a:lnTo>
                <a:lnTo>
                  <a:pt x="9128" y="175368"/>
                </a:lnTo>
                <a:lnTo>
                  <a:pt x="14931" y="170372"/>
                </a:lnTo>
                <a:lnTo>
                  <a:pt x="29626" y="164024"/>
                </a:lnTo>
                <a:lnTo>
                  <a:pt x="33745" y="159645"/>
                </a:lnTo>
                <a:lnTo>
                  <a:pt x="38469" y="151180"/>
                </a:lnTo>
                <a:lnTo>
                  <a:pt x="41995" y="147657"/>
                </a:lnTo>
                <a:lnTo>
                  <a:pt x="43111" y="145686"/>
                </a:lnTo>
                <a:lnTo>
                  <a:pt x="43490" y="142483"/>
                </a:lnTo>
                <a:lnTo>
                  <a:pt x="43428" y="136977"/>
                </a:lnTo>
                <a:lnTo>
                  <a:pt x="44001" y="134524"/>
                </a:lnTo>
                <a:lnTo>
                  <a:pt x="45520" y="132710"/>
                </a:lnTo>
                <a:lnTo>
                  <a:pt x="47255" y="132191"/>
                </a:lnTo>
                <a:lnTo>
                  <a:pt x="49109" y="132522"/>
                </a:lnTo>
                <a:lnTo>
                  <a:pt x="59323" y="137493"/>
                </a:lnTo>
                <a:lnTo>
                  <a:pt x="65606" y="136682"/>
                </a:lnTo>
                <a:lnTo>
                  <a:pt x="71489" y="132478"/>
                </a:lnTo>
                <a:lnTo>
                  <a:pt x="91502" y="99653"/>
                </a:lnTo>
                <a:lnTo>
                  <a:pt x="92834" y="95527"/>
                </a:lnTo>
                <a:lnTo>
                  <a:pt x="91380" y="92174"/>
                </a:lnTo>
                <a:lnTo>
                  <a:pt x="83028" y="84675"/>
                </a:lnTo>
                <a:lnTo>
                  <a:pt x="82283" y="81527"/>
                </a:lnTo>
                <a:lnTo>
                  <a:pt x="82595" y="77670"/>
                </a:lnTo>
                <a:lnTo>
                  <a:pt x="82303" y="72112"/>
                </a:lnTo>
                <a:lnTo>
                  <a:pt x="80166" y="67222"/>
                </a:lnTo>
                <a:lnTo>
                  <a:pt x="72671" y="60789"/>
                </a:lnTo>
                <a:lnTo>
                  <a:pt x="69558" y="56845"/>
                </a:lnTo>
                <a:lnTo>
                  <a:pt x="68519" y="54321"/>
                </a:lnTo>
                <a:lnTo>
                  <a:pt x="68058" y="51872"/>
                </a:lnTo>
                <a:lnTo>
                  <a:pt x="68617" y="49820"/>
                </a:lnTo>
                <a:lnTo>
                  <a:pt x="70596" y="48486"/>
                </a:lnTo>
                <a:lnTo>
                  <a:pt x="75939" y="48597"/>
                </a:lnTo>
                <a:lnTo>
                  <a:pt x="79044" y="46230"/>
                </a:lnTo>
                <a:lnTo>
                  <a:pt x="80823" y="41709"/>
                </a:lnTo>
                <a:lnTo>
                  <a:pt x="82629" y="31423"/>
                </a:lnTo>
                <a:lnTo>
                  <a:pt x="94329" y="28739"/>
                </a:lnTo>
                <a:lnTo>
                  <a:pt x="101964" y="30940"/>
                </a:lnTo>
                <a:lnTo>
                  <a:pt x="104661" y="27778"/>
                </a:lnTo>
                <a:lnTo>
                  <a:pt x="107071" y="23434"/>
                </a:lnTo>
                <a:lnTo>
                  <a:pt x="110355" y="20786"/>
                </a:lnTo>
                <a:lnTo>
                  <a:pt x="143270" y="13356"/>
                </a:lnTo>
                <a:lnTo>
                  <a:pt x="145550" y="12192"/>
                </a:lnTo>
                <a:lnTo>
                  <a:pt x="146653" y="12010"/>
                </a:lnTo>
                <a:lnTo>
                  <a:pt x="147873" y="12542"/>
                </a:lnTo>
                <a:lnTo>
                  <a:pt x="148940" y="13798"/>
                </a:lnTo>
                <a:lnTo>
                  <a:pt x="154361" y="27839"/>
                </a:lnTo>
                <a:lnTo>
                  <a:pt x="156009" y="29816"/>
                </a:lnTo>
                <a:lnTo>
                  <a:pt x="160002" y="32370"/>
                </a:lnTo>
                <a:lnTo>
                  <a:pt x="163868" y="33628"/>
                </a:lnTo>
                <a:lnTo>
                  <a:pt x="167771" y="33478"/>
                </a:lnTo>
                <a:lnTo>
                  <a:pt x="175361" y="30666"/>
                </a:lnTo>
                <a:lnTo>
                  <a:pt x="186637" y="30094"/>
                </a:lnTo>
                <a:lnTo>
                  <a:pt x="201537" y="28032"/>
                </a:lnTo>
                <a:lnTo>
                  <a:pt x="210001" y="24089"/>
                </a:lnTo>
                <a:lnTo>
                  <a:pt x="215673" y="19725"/>
                </a:lnTo>
                <a:lnTo>
                  <a:pt x="218380" y="13595"/>
                </a:lnTo>
                <a:lnTo>
                  <a:pt x="221605" y="8644"/>
                </a:lnTo>
                <a:lnTo>
                  <a:pt x="229746" y="0"/>
                </a:lnTo>
                <a:lnTo>
                  <a:pt x="231363" y="3974"/>
                </a:lnTo>
                <a:lnTo>
                  <a:pt x="233965" y="6883"/>
                </a:lnTo>
                <a:lnTo>
                  <a:pt x="234672" y="11637"/>
                </a:lnTo>
                <a:lnTo>
                  <a:pt x="232801" y="42029"/>
                </a:lnTo>
                <a:lnTo>
                  <a:pt x="233859" y="61040"/>
                </a:lnTo>
                <a:lnTo>
                  <a:pt x="243083" y="104188"/>
                </a:lnTo>
                <a:lnTo>
                  <a:pt x="244275" y="115372"/>
                </a:lnTo>
                <a:lnTo>
                  <a:pt x="245140" y="118571"/>
                </a:lnTo>
                <a:lnTo>
                  <a:pt x="246483" y="121109"/>
                </a:lnTo>
                <a:lnTo>
                  <a:pt x="250692" y="126920"/>
                </a:lnTo>
                <a:lnTo>
                  <a:pt x="251587" y="128985"/>
                </a:lnTo>
                <a:lnTo>
                  <a:pt x="252214" y="138088"/>
                </a:lnTo>
                <a:lnTo>
                  <a:pt x="254043" y="146741"/>
                </a:lnTo>
                <a:lnTo>
                  <a:pt x="259712" y="162846"/>
                </a:lnTo>
                <a:close/>
              </a:path>
            </a:pathLst>
          </a:custGeom>
          <a:solidFill>
            <a:srgbClr val="3397A5"/>
          </a:solidFill>
          <a:ln w="9525" cap="rnd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0" name="Freeform 10">
            <a:extLst>
              <a:ext uri="{FF2B5EF4-FFF2-40B4-BE49-F238E27FC236}">
                <a16:creationId xmlns:a16="http://schemas.microsoft.com/office/drawing/2014/main" id="{D31BFADF-CEF9-42F0-8664-8067909C706E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>
          <a:xfrm rot="239506">
            <a:off x="7794476" y="2501085"/>
            <a:ext cx="246983" cy="244716"/>
          </a:xfrm>
          <a:custGeom>
            <a:avLst/>
            <a:gdLst/>
            <a:ahLst/>
            <a:cxnLst/>
            <a:rect l="0" t="0" r="0" b="0"/>
            <a:pathLst>
              <a:path w="249754" h="247462">
                <a:moveTo>
                  <a:pt x="128844" y="12143"/>
                </a:moveTo>
                <a:lnTo>
                  <a:pt x="132444" y="12234"/>
                </a:lnTo>
                <a:lnTo>
                  <a:pt x="135931" y="13292"/>
                </a:lnTo>
                <a:lnTo>
                  <a:pt x="139216" y="15253"/>
                </a:lnTo>
                <a:lnTo>
                  <a:pt x="142201" y="18062"/>
                </a:lnTo>
                <a:lnTo>
                  <a:pt x="142971" y="20501"/>
                </a:lnTo>
                <a:lnTo>
                  <a:pt x="142155" y="22675"/>
                </a:lnTo>
                <a:lnTo>
                  <a:pt x="142183" y="25006"/>
                </a:lnTo>
                <a:lnTo>
                  <a:pt x="145492" y="27915"/>
                </a:lnTo>
                <a:lnTo>
                  <a:pt x="162251" y="37602"/>
                </a:lnTo>
                <a:lnTo>
                  <a:pt x="170203" y="32967"/>
                </a:lnTo>
                <a:lnTo>
                  <a:pt x="173166" y="32390"/>
                </a:lnTo>
                <a:lnTo>
                  <a:pt x="173018" y="38610"/>
                </a:lnTo>
                <a:lnTo>
                  <a:pt x="172380" y="40782"/>
                </a:lnTo>
                <a:lnTo>
                  <a:pt x="170665" y="43289"/>
                </a:lnTo>
                <a:lnTo>
                  <a:pt x="176116" y="49846"/>
                </a:lnTo>
                <a:lnTo>
                  <a:pt x="189780" y="42736"/>
                </a:lnTo>
                <a:lnTo>
                  <a:pt x="197289" y="43960"/>
                </a:lnTo>
                <a:lnTo>
                  <a:pt x="215726" y="59844"/>
                </a:lnTo>
                <a:lnTo>
                  <a:pt x="218017" y="58297"/>
                </a:lnTo>
                <a:lnTo>
                  <a:pt x="227499" y="44155"/>
                </a:lnTo>
                <a:lnTo>
                  <a:pt x="228839" y="46636"/>
                </a:lnTo>
                <a:lnTo>
                  <a:pt x="237186" y="58357"/>
                </a:lnTo>
                <a:lnTo>
                  <a:pt x="249753" y="70850"/>
                </a:lnTo>
                <a:lnTo>
                  <a:pt x="249753" y="70852"/>
                </a:lnTo>
                <a:lnTo>
                  <a:pt x="247212" y="72570"/>
                </a:lnTo>
                <a:lnTo>
                  <a:pt x="240715" y="79028"/>
                </a:lnTo>
                <a:lnTo>
                  <a:pt x="243934" y="82849"/>
                </a:lnTo>
                <a:lnTo>
                  <a:pt x="246290" y="88340"/>
                </a:lnTo>
                <a:lnTo>
                  <a:pt x="249221" y="101811"/>
                </a:lnTo>
                <a:lnTo>
                  <a:pt x="247774" y="103993"/>
                </a:lnTo>
                <a:lnTo>
                  <a:pt x="239160" y="106622"/>
                </a:lnTo>
                <a:lnTo>
                  <a:pt x="232031" y="111809"/>
                </a:lnTo>
                <a:lnTo>
                  <a:pt x="223816" y="113293"/>
                </a:lnTo>
                <a:lnTo>
                  <a:pt x="221106" y="114838"/>
                </a:lnTo>
                <a:lnTo>
                  <a:pt x="219949" y="119577"/>
                </a:lnTo>
                <a:lnTo>
                  <a:pt x="222402" y="123525"/>
                </a:lnTo>
                <a:lnTo>
                  <a:pt x="230158" y="129586"/>
                </a:lnTo>
                <a:lnTo>
                  <a:pt x="208880" y="160011"/>
                </a:lnTo>
                <a:lnTo>
                  <a:pt x="206853" y="160859"/>
                </a:lnTo>
                <a:lnTo>
                  <a:pt x="203538" y="162787"/>
                </a:lnTo>
                <a:lnTo>
                  <a:pt x="197183" y="167552"/>
                </a:lnTo>
                <a:lnTo>
                  <a:pt x="183676" y="175581"/>
                </a:lnTo>
                <a:lnTo>
                  <a:pt x="181451" y="176059"/>
                </a:lnTo>
                <a:lnTo>
                  <a:pt x="179487" y="176032"/>
                </a:lnTo>
                <a:lnTo>
                  <a:pt x="177905" y="175584"/>
                </a:lnTo>
                <a:lnTo>
                  <a:pt x="167436" y="175360"/>
                </a:lnTo>
                <a:lnTo>
                  <a:pt x="165854" y="174934"/>
                </a:lnTo>
                <a:lnTo>
                  <a:pt x="161974" y="173138"/>
                </a:lnTo>
                <a:lnTo>
                  <a:pt x="160684" y="172778"/>
                </a:lnTo>
                <a:lnTo>
                  <a:pt x="159869" y="172686"/>
                </a:lnTo>
                <a:lnTo>
                  <a:pt x="158719" y="172850"/>
                </a:lnTo>
                <a:lnTo>
                  <a:pt x="157947" y="173857"/>
                </a:lnTo>
                <a:lnTo>
                  <a:pt x="157504" y="175496"/>
                </a:lnTo>
                <a:lnTo>
                  <a:pt x="157437" y="179486"/>
                </a:lnTo>
                <a:lnTo>
                  <a:pt x="158176" y="185660"/>
                </a:lnTo>
                <a:lnTo>
                  <a:pt x="158072" y="187481"/>
                </a:lnTo>
                <a:lnTo>
                  <a:pt x="152179" y="213947"/>
                </a:lnTo>
                <a:lnTo>
                  <a:pt x="150522" y="218444"/>
                </a:lnTo>
                <a:lnTo>
                  <a:pt x="144892" y="225903"/>
                </a:lnTo>
                <a:lnTo>
                  <a:pt x="142900" y="230487"/>
                </a:lnTo>
                <a:lnTo>
                  <a:pt x="139166" y="245414"/>
                </a:lnTo>
                <a:lnTo>
                  <a:pt x="132324" y="247461"/>
                </a:lnTo>
                <a:lnTo>
                  <a:pt x="128459" y="247374"/>
                </a:lnTo>
                <a:lnTo>
                  <a:pt x="97752" y="239100"/>
                </a:lnTo>
                <a:lnTo>
                  <a:pt x="93258" y="235630"/>
                </a:lnTo>
                <a:lnTo>
                  <a:pt x="87628" y="229460"/>
                </a:lnTo>
                <a:lnTo>
                  <a:pt x="82416" y="225940"/>
                </a:lnTo>
                <a:lnTo>
                  <a:pt x="71969" y="220755"/>
                </a:lnTo>
                <a:lnTo>
                  <a:pt x="69040" y="219886"/>
                </a:lnTo>
                <a:lnTo>
                  <a:pt x="54821" y="218282"/>
                </a:lnTo>
                <a:lnTo>
                  <a:pt x="51797" y="217568"/>
                </a:lnTo>
                <a:lnTo>
                  <a:pt x="49694" y="216709"/>
                </a:lnTo>
                <a:lnTo>
                  <a:pt x="48544" y="215830"/>
                </a:lnTo>
                <a:lnTo>
                  <a:pt x="44885" y="211585"/>
                </a:lnTo>
                <a:lnTo>
                  <a:pt x="42501" y="208034"/>
                </a:lnTo>
                <a:lnTo>
                  <a:pt x="41070" y="206734"/>
                </a:lnTo>
                <a:lnTo>
                  <a:pt x="24962" y="197505"/>
                </a:lnTo>
                <a:lnTo>
                  <a:pt x="21346" y="194406"/>
                </a:lnTo>
                <a:lnTo>
                  <a:pt x="19974" y="192923"/>
                </a:lnTo>
                <a:lnTo>
                  <a:pt x="17692" y="190455"/>
                </a:lnTo>
                <a:lnTo>
                  <a:pt x="17749" y="175529"/>
                </a:lnTo>
                <a:lnTo>
                  <a:pt x="17048" y="173592"/>
                </a:lnTo>
                <a:lnTo>
                  <a:pt x="15583" y="171246"/>
                </a:lnTo>
                <a:lnTo>
                  <a:pt x="13771" y="170387"/>
                </a:lnTo>
                <a:lnTo>
                  <a:pt x="11420" y="169010"/>
                </a:lnTo>
                <a:lnTo>
                  <a:pt x="10669" y="167328"/>
                </a:lnTo>
                <a:lnTo>
                  <a:pt x="10596" y="165195"/>
                </a:lnTo>
                <a:lnTo>
                  <a:pt x="11298" y="159177"/>
                </a:lnTo>
                <a:lnTo>
                  <a:pt x="10837" y="157227"/>
                </a:lnTo>
                <a:lnTo>
                  <a:pt x="10085" y="155701"/>
                </a:lnTo>
                <a:lnTo>
                  <a:pt x="3001" y="149215"/>
                </a:lnTo>
                <a:lnTo>
                  <a:pt x="964" y="146664"/>
                </a:lnTo>
                <a:lnTo>
                  <a:pt x="177" y="144746"/>
                </a:lnTo>
                <a:lnTo>
                  <a:pt x="0" y="142970"/>
                </a:lnTo>
                <a:lnTo>
                  <a:pt x="265" y="141063"/>
                </a:lnTo>
                <a:lnTo>
                  <a:pt x="422" y="135360"/>
                </a:lnTo>
                <a:lnTo>
                  <a:pt x="826" y="133214"/>
                </a:lnTo>
                <a:lnTo>
                  <a:pt x="1845" y="131850"/>
                </a:lnTo>
                <a:lnTo>
                  <a:pt x="3336" y="131466"/>
                </a:lnTo>
                <a:lnTo>
                  <a:pt x="8560" y="131020"/>
                </a:lnTo>
                <a:lnTo>
                  <a:pt x="9862" y="130426"/>
                </a:lnTo>
                <a:lnTo>
                  <a:pt x="10877" y="129460"/>
                </a:lnTo>
                <a:lnTo>
                  <a:pt x="14152" y="124478"/>
                </a:lnTo>
                <a:lnTo>
                  <a:pt x="14984" y="122732"/>
                </a:lnTo>
                <a:lnTo>
                  <a:pt x="16708" y="118154"/>
                </a:lnTo>
                <a:lnTo>
                  <a:pt x="21998" y="110885"/>
                </a:lnTo>
                <a:lnTo>
                  <a:pt x="22879" y="108851"/>
                </a:lnTo>
                <a:lnTo>
                  <a:pt x="23864" y="105977"/>
                </a:lnTo>
                <a:lnTo>
                  <a:pt x="25307" y="99976"/>
                </a:lnTo>
                <a:lnTo>
                  <a:pt x="27848" y="94567"/>
                </a:lnTo>
                <a:lnTo>
                  <a:pt x="28986" y="92614"/>
                </a:lnTo>
                <a:lnTo>
                  <a:pt x="30554" y="88890"/>
                </a:lnTo>
                <a:lnTo>
                  <a:pt x="30622" y="86757"/>
                </a:lnTo>
                <a:lnTo>
                  <a:pt x="30108" y="85267"/>
                </a:lnTo>
                <a:lnTo>
                  <a:pt x="28808" y="84547"/>
                </a:lnTo>
                <a:lnTo>
                  <a:pt x="27240" y="84178"/>
                </a:lnTo>
                <a:lnTo>
                  <a:pt x="25805" y="84092"/>
                </a:lnTo>
                <a:lnTo>
                  <a:pt x="23077" y="84458"/>
                </a:lnTo>
                <a:lnTo>
                  <a:pt x="22196" y="84498"/>
                </a:lnTo>
                <a:lnTo>
                  <a:pt x="23651" y="73924"/>
                </a:lnTo>
                <a:lnTo>
                  <a:pt x="25215" y="69165"/>
                </a:lnTo>
                <a:lnTo>
                  <a:pt x="34125" y="57956"/>
                </a:lnTo>
                <a:lnTo>
                  <a:pt x="36136" y="56513"/>
                </a:lnTo>
                <a:lnTo>
                  <a:pt x="37969" y="56609"/>
                </a:lnTo>
                <a:lnTo>
                  <a:pt x="39067" y="57841"/>
                </a:lnTo>
                <a:lnTo>
                  <a:pt x="39993" y="59418"/>
                </a:lnTo>
                <a:lnTo>
                  <a:pt x="41308" y="60557"/>
                </a:lnTo>
                <a:lnTo>
                  <a:pt x="43547" y="60780"/>
                </a:lnTo>
                <a:lnTo>
                  <a:pt x="49666" y="57631"/>
                </a:lnTo>
                <a:lnTo>
                  <a:pt x="54892" y="57498"/>
                </a:lnTo>
                <a:lnTo>
                  <a:pt x="69672" y="65655"/>
                </a:lnTo>
                <a:lnTo>
                  <a:pt x="73693" y="66467"/>
                </a:lnTo>
                <a:lnTo>
                  <a:pt x="76063" y="63894"/>
                </a:lnTo>
                <a:lnTo>
                  <a:pt x="80913" y="54007"/>
                </a:lnTo>
                <a:lnTo>
                  <a:pt x="90240" y="40934"/>
                </a:lnTo>
                <a:lnTo>
                  <a:pt x="97524" y="36042"/>
                </a:lnTo>
                <a:lnTo>
                  <a:pt x="100816" y="32329"/>
                </a:lnTo>
                <a:lnTo>
                  <a:pt x="118823" y="0"/>
                </a:lnTo>
                <a:lnTo>
                  <a:pt x="122328" y="867"/>
                </a:lnTo>
                <a:lnTo>
                  <a:pt x="125809" y="9063"/>
                </a:lnTo>
                <a:close/>
              </a:path>
            </a:pathLst>
          </a:custGeom>
          <a:solidFill>
            <a:srgbClr val="3397A5"/>
          </a:solidFill>
          <a:ln w="9525" cap="rnd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1" name="Freeform 11">
            <a:extLst>
              <a:ext uri="{FF2B5EF4-FFF2-40B4-BE49-F238E27FC236}">
                <a16:creationId xmlns:a16="http://schemas.microsoft.com/office/drawing/2014/main" id="{EB38818D-C03A-4DDE-A050-51B372E024FE}"/>
              </a:ext>
            </a:extLst>
          </p:cNvPr>
          <p:cNvSpPr>
            <a:spLocks noChangeAspect="1"/>
          </p:cNvSpPr>
          <p:nvPr>
            <p:custDataLst>
              <p:tags r:id="rId11"/>
            </p:custDataLst>
          </p:nvPr>
        </p:nvSpPr>
        <p:spPr>
          <a:xfrm rot="440097">
            <a:off x="7923969" y="2581122"/>
            <a:ext cx="197873" cy="209017"/>
          </a:xfrm>
          <a:custGeom>
            <a:avLst/>
            <a:gdLst/>
            <a:ahLst/>
            <a:cxnLst/>
            <a:rect l="l" t="t" r="r" b="b"/>
            <a:pathLst>
              <a:path w="201937" h="181631">
                <a:moveTo>
                  <a:pt x="23490" y="147782"/>
                </a:moveTo>
                <a:lnTo>
                  <a:pt x="21708" y="153251"/>
                </a:lnTo>
                <a:lnTo>
                  <a:pt x="21372" y="155099"/>
                </a:lnTo>
                <a:lnTo>
                  <a:pt x="22868" y="158738"/>
                </a:lnTo>
                <a:lnTo>
                  <a:pt x="24856" y="161898"/>
                </a:lnTo>
                <a:lnTo>
                  <a:pt x="27312" y="164268"/>
                </a:lnTo>
                <a:lnTo>
                  <a:pt x="30162" y="165502"/>
                </a:lnTo>
                <a:lnTo>
                  <a:pt x="30102" y="165271"/>
                </a:lnTo>
                <a:lnTo>
                  <a:pt x="30814" y="164406"/>
                </a:lnTo>
                <a:lnTo>
                  <a:pt x="38665" y="158880"/>
                </a:lnTo>
                <a:lnTo>
                  <a:pt x="41060" y="157832"/>
                </a:lnTo>
                <a:lnTo>
                  <a:pt x="42048" y="157771"/>
                </a:lnTo>
                <a:lnTo>
                  <a:pt x="42355" y="157672"/>
                </a:lnTo>
                <a:lnTo>
                  <a:pt x="42608" y="157386"/>
                </a:lnTo>
                <a:lnTo>
                  <a:pt x="42768" y="156782"/>
                </a:lnTo>
                <a:lnTo>
                  <a:pt x="42811" y="156019"/>
                </a:lnTo>
                <a:lnTo>
                  <a:pt x="42673" y="154589"/>
                </a:lnTo>
                <a:lnTo>
                  <a:pt x="42506" y="153961"/>
                </a:lnTo>
                <a:lnTo>
                  <a:pt x="42270" y="153385"/>
                </a:lnTo>
                <a:lnTo>
                  <a:pt x="41965" y="152877"/>
                </a:lnTo>
                <a:lnTo>
                  <a:pt x="41599" y="152442"/>
                </a:lnTo>
                <a:lnTo>
                  <a:pt x="40717" y="151736"/>
                </a:lnTo>
                <a:lnTo>
                  <a:pt x="38703" y="150945"/>
                </a:lnTo>
                <a:lnTo>
                  <a:pt x="25581" y="149188"/>
                </a:lnTo>
                <a:lnTo>
                  <a:pt x="23679" y="148061"/>
                </a:lnTo>
                <a:close/>
                <a:moveTo>
                  <a:pt x="110587" y="0"/>
                </a:moveTo>
                <a:lnTo>
                  <a:pt x="116970" y="11623"/>
                </a:lnTo>
                <a:lnTo>
                  <a:pt x="126873" y="22271"/>
                </a:lnTo>
                <a:lnTo>
                  <a:pt x="138115" y="31343"/>
                </a:lnTo>
                <a:lnTo>
                  <a:pt x="146401" y="34716"/>
                </a:lnTo>
                <a:lnTo>
                  <a:pt x="164048" y="58538"/>
                </a:lnTo>
                <a:lnTo>
                  <a:pt x="173183" y="67895"/>
                </a:lnTo>
                <a:lnTo>
                  <a:pt x="182673" y="75465"/>
                </a:lnTo>
                <a:lnTo>
                  <a:pt x="188463" y="78775"/>
                </a:lnTo>
                <a:lnTo>
                  <a:pt x="201931" y="83256"/>
                </a:lnTo>
                <a:lnTo>
                  <a:pt x="201937" y="83258"/>
                </a:lnTo>
                <a:lnTo>
                  <a:pt x="201878" y="83741"/>
                </a:lnTo>
                <a:lnTo>
                  <a:pt x="200740" y="88060"/>
                </a:lnTo>
                <a:lnTo>
                  <a:pt x="197439" y="97730"/>
                </a:lnTo>
                <a:lnTo>
                  <a:pt x="196821" y="101104"/>
                </a:lnTo>
                <a:lnTo>
                  <a:pt x="196682" y="102966"/>
                </a:lnTo>
                <a:lnTo>
                  <a:pt x="196638" y="104698"/>
                </a:lnTo>
                <a:lnTo>
                  <a:pt x="196832" y="106386"/>
                </a:lnTo>
                <a:lnTo>
                  <a:pt x="197175" y="107906"/>
                </a:lnTo>
                <a:lnTo>
                  <a:pt x="198188" y="110687"/>
                </a:lnTo>
                <a:lnTo>
                  <a:pt x="198476" y="112172"/>
                </a:lnTo>
                <a:lnTo>
                  <a:pt x="198337" y="113725"/>
                </a:lnTo>
                <a:lnTo>
                  <a:pt x="197953" y="115282"/>
                </a:lnTo>
                <a:lnTo>
                  <a:pt x="194899" y="122101"/>
                </a:lnTo>
                <a:lnTo>
                  <a:pt x="194086" y="123333"/>
                </a:lnTo>
                <a:lnTo>
                  <a:pt x="193129" y="124345"/>
                </a:lnTo>
                <a:lnTo>
                  <a:pt x="191980" y="125276"/>
                </a:lnTo>
                <a:lnTo>
                  <a:pt x="185550" y="128374"/>
                </a:lnTo>
                <a:lnTo>
                  <a:pt x="184381" y="129177"/>
                </a:lnTo>
                <a:lnTo>
                  <a:pt x="183396" y="130254"/>
                </a:lnTo>
                <a:lnTo>
                  <a:pt x="182561" y="131453"/>
                </a:lnTo>
                <a:lnTo>
                  <a:pt x="181896" y="132719"/>
                </a:lnTo>
                <a:lnTo>
                  <a:pt x="180695" y="135584"/>
                </a:lnTo>
                <a:lnTo>
                  <a:pt x="179976" y="136882"/>
                </a:lnTo>
                <a:lnTo>
                  <a:pt x="179160" y="138002"/>
                </a:lnTo>
                <a:lnTo>
                  <a:pt x="177630" y="138727"/>
                </a:lnTo>
                <a:lnTo>
                  <a:pt x="175609" y="139063"/>
                </a:lnTo>
                <a:lnTo>
                  <a:pt x="164642" y="139075"/>
                </a:lnTo>
                <a:lnTo>
                  <a:pt x="162770" y="138610"/>
                </a:lnTo>
                <a:lnTo>
                  <a:pt x="161088" y="137346"/>
                </a:lnTo>
                <a:lnTo>
                  <a:pt x="159309" y="134442"/>
                </a:lnTo>
                <a:lnTo>
                  <a:pt x="158539" y="132342"/>
                </a:lnTo>
                <a:lnTo>
                  <a:pt x="156807" y="126065"/>
                </a:lnTo>
                <a:lnTo>
                  <a:pt x="155465" y="123438"/>
                </a:lnTo>
                <a:lnTo>
                  <a:pt x="153062" y="119798"/>
                </a:lnTo>
                <a:lnTo>
                  <a:pt x="151714" y="117269"/>
                </a:lnTo>
                <a:lnTo>
                  <a:pt x="150612" y="116383"/>
                </a:lnTo>
                <a:lnTo>
                  <a:pt x="149204" y="116048"/>
                </a:lnTo>
                <a:lnTo>
                  <a:pt x="146756" y="117180"/>
                </a:lnTo>
                <a:lnTo>
                  <a:pt x="145607" y="118625"/>
                </a:lnTo>
                <a:lnTo>
                  <a:pt x="144791" y="120267"/>
                </a:lnTo>
                <a:lnTo>
                  <a:pt x="144261" y="121775"/>
                </a:lnTo>
                <a:lnTo>
                  <a:pt x="143641" y="123115"/>
                </a:lnTo>
                <a:lnTo>
                  <a:pt x="142825" y="124328"/>
                </a:lnTo>
                <a:lnTo>
                  <a:pt x="141764" y="125150"/>
                </a:lnTo>
                <a:lnTo>
                  <a:pt x="140471" y="125060"/>
                </a:lnTo>
                <a:lnTo>
                  <a:pt x="139172" y="123885"/>
                </a:lnTo>
                <a:lnTo>
                  <a:pt x="138166" y="120824"/>
                </a:lnTo>
                <a:lnTo>
                  <a:pt x="138070" y="118648"/>
                </a:lnTo>
                <a:lnTo>
                  <a:pt x="138214" y="116648"/>
                </a:lnTo>
                <a:lnTo>
                  <a:pt x="138214" y="115007"/>
                </a:lnTo>
                <a:lnTo>
                  <a:pt x="136534" y="112911"/>
                </a:lnTo>
                <a:lnTo>
                  <a:pt x="135005" y="111425"/>
                </a:lnTo>
                <a:lnTo>
                  <a:pt x="122376" y="104328"/>
                </a:lnTo>
                <a:lnTo>
                  <a:pt x="118218" y="101863"/>
                </a:lnTo>
                <a:lnTo>
                  <a:pt x="118219" y="101861"/>
                </a:lnTo>
                <a:lnTo>
                  <a:pt x="120460" y="97588"/>
                </a:lnTo>
                <a:lnTo>
                  <a:pt x="120831" y="93319"/>
                </a:lnTo>
                <a:lnTo>
                  <a:pt x="121105" y="90178"/>
                </a:lnTo>
                <a:lnTo>
                  <a:pt x="120596" y="86472"/>
                </a:lnTo>
                <a:lnTo>
                  <a:pt x="120121" y="83009"/>
                </a:lnTo>
                <a:lnTo>
                  <a:pt x="117952" y="78946"/>
                </a:lnTo>
                <a:lnTo>
                  <a:pt x="109038" y="80445"/>
                </a:lnTo>
                <a:lnTo>
                  <a:pt x="100970" y="84583"/>
                </a:lnTo>
                <a:lnTo>
                  <a:pt x="99158" y="85512"/>
                </a:lnTo>
                <a:lnTo>
                  <a:pt x="97665" y="87023"/>
                </a:lnTo>
                <a:lnTo>
                  <a:pt x="95955" y="88753"/>
                </a:lnTo>
                <a:lnTo>
                  <a:pt x="91186" y="93575"/>
                </a:lnTo>
                <a:lnTo>
                  <a:pt x="88064" y="103821"/>
                </a:lnTo>
                <a:lnTo>
                  <a:pt x="89399" y="106668"/>
                </a:lnTo>
                <a:lnTo>
                  <a:pt x="92363" y="112983"/>
                </a:lnTo>
                <a:lnTo>
                  <a:pt x="99019" y="116449"/>
                </a:lnTo>
                <a:lnTo>
                  <a:pt x="99471" y="118278"/>
                </a:lnTo>
                <a:lnTo>
                  <a:pt x="99638" y="120195"/>
                </a:lnTo>
                <a:lnTo>
                  <a:pt x="99424" y="122062"/>
                </a:lnTo>
                <a:lnTo>
                  <a:pt x="98741" y="123755"/>
                </a:lnTo>
                <a:lnTo>
                  <a:pt x="97766" y="124914"/>
                </a:lnTo>
                <a:lnTo>
                  <a:pt x="96581" y="125596"/>
                </a:lnTo>
                <a:lnTo>
                  <a:pt x="95302" y="125819"/>
                </a:lnTo>
                <a:lnTo>
                  <a:pt x="94016" y="125616"/>
                </a:lnTo>
                <a:lnTo>
                  <a:pt x="92766" y="124833"/>
                </a:lnTo>
                <a:lnTo>
                  <a:pt x="90913" y="122501"/>
                </a:lnTo>
                <a:lnTo>
                  <a:pt x="89827" y="121540"/>
                </a:lnTo>
                <a:lnTo>
                  <a:pt x="88664" y="121317"/>
                </a:lnTo>
                <a:lnTo>
                  <a:pt x="87540" y="121786"/>
                </a:lnTo>
                <a:lnTo>
                  <a:pt x="85380" y="123282"/>
                </a:lnTo>
                <a:lnTo>
                  <a:pt x="80111" y="125293"/>
                </a:lnTo>
                <a:lnTo>
                  <a:pt x="77432" y="127234"/>
                </a:lnTo>
                <a:lnTo>
                  <a:pt x="76547" y="129904"/>
                </a:lnTo>
                <a:lnTo>
                  <a:pt x="75637" y="137081"/>
                </a:lnTo>
                <a:lnTo>
                  <a:pt x="72294" y="145263"/>
                </a:lnTo>
                <a:lnTo>
                  <a:pt x="68116" y="151350"/>
                </a:lnTo>
                <a:lnTo>
                  <a:pt x="62974" y="155907"/>
                </a:lnTo>
                <a:lnTo>
                  <a:pt x="56743" y="159491"/>
                </a:lnTo>
                <a:lnTo>
                  <a:pt x="57749" y="162288"/>
                </a:lnTo>
                <a:lnTo>
                  <a:pt x="58163" y="164908"/>
                </a:lnTo>
                <a:lnTo>
                  <a:pt x="57923" y="167592"/>
                </a:lnTo>
                <a:lnTo>
                  <a:pt x="56973" y="170582"/>
                </a:lnTo>
                <a:lnTo>
                  <a:pt x="56047" y="170053"/>
                </a:lnTo>
                <a:lnTo>
                  <a:pt x="54604" y="169549"/>
                </a:lnTo>
                <a:lnTo>
                  <a:pt x="53017" y="169311"/>
                </a:lnTo>
                <a:lnTo>
                  <a:pt x="51476" y="169486"/>
                </a:lnTo>
                <a:lnTo>
                  <a:pt x="50179" y="170123"/>
                </a:lnTo>
                <a:lnTo>
                  <a:pt x="47183" y="173084"/>
                </a:lnTo>
                <a:lnTo>
                  <a:pt x="45825" y="173594"/>
                </a:lnTo>
                <a:lnTo>
                  <a:pt x="44250" y="173719"/>
                </a:lnTo>
                <a:lnTo>
                  <a:pt x="37650" y="172449"/>
                </a:lnTo>
                <a:lnTo>
                  <a:pt x="36013" y="172565"/>
                </a:lnTo>
                <a:lnTo>
                  <a:pt x="34621" y="173036"/>
                </a:lnTo>
                <a:lnTo>
                  <a:pt x="33364" y="173834"/>
                </a:lnTo>
                <a:lnTo>
                  <a:pt x="32398" y="174782"/>
                </a:lnTo>
                <a:lnTo>
                  <a:pt x="29249" y="179538"/>
                </a:lnTo>
                <a:lnTo>
                  <a:pt x="28317" y="180558"/>
                </a:lnTo>
                <a:lnTo>
                  <a:pt x="27162" y="181326"/>
                </a:lnTo>
                <a:lnTo>
                  <a:pt x="25715" y="181631"/>
                </a:lnTo>
                <a:lnTo>
                  <a:pt x="24127" y="181426"/>
                </a:lnTo>
                <a:lnTo>
                  <a:pt x="22643" y="180887"/>
                </a:lnTo>
                <a:lnTo>
                  <a:pt x="21393" y="179993"/>
                </a:lnTo>
                <a:lnTo>
                  <a:pt x="17368" y="176160"/>
                </a:lnTo>
                <a:lnTo>
                  <a:pt x="15120" y="174440"/>
                </a:lnTo>
                <a:lnTo>
                  <a:pt x="12188" y="173139"/>
                </a:lnTo>
                <a:lnTo>
                  <a:pt x="8955" y="172457"/>
                </a:lnTo>
                <a:lnTo>
                  <a:pt x="7176" y="172401"/>
                </a:lnTo>
                <a:lnTo>
                  <a:pt x="3853" y="172983"/>
                </a:lnTo>
                <a:lnTo>
                  <a:pt x="0" y="174562"/>
                </a:lnTo>
                <a:lnTo>
                  <a:pt x="3734" y="159635"/>
                </a:lnTo>
                <a:lnTo>
                  <a:pt x="5726" y="155051"/>
                </a:lnTo>
                <a:lnTo>
                  <a:pt x="11356" y="147592"/>
                </a:lnTo>
                <a:lnTo>
                  <a:pt x="13013" y="143095"/>
                </a:lnTo>
                <a:lnTo>
                  <a:pt x="18906" y="116629"/>
                </a:lnTo>
                <a:lnTo>
                  <a:pt x="19010" y="114808"/>
                </a:lnTo>
                <a:lnTo>
                  <a:pt x="18271" y="108634"/>
                </a:lnTo>
                <a:lnTo>
                  <a:pt x="18338" y="104644"/>
                </a:lnTo>
                <a:lnTo>
                  <a:pt x="18781" y="103005"/>
                </a:lnTo>
                <a:lnTo>
                  <a:pt x="19553" y="101998"/>
                </a:lnTo>
                <a:lnTo>
                  <a:pt x="20703" y="101834"/>
                </a:lnTo>
                <a:lnTo>
                  <a:pt x="21518" y="101926"/>
                </a:lnTo>
                <a:lnTo>
                  <a:pt x="22808" y="102286"/>
                </a:lnTo>
                <a:lnTo>
                  <a:pt x="26688" y="104082"/>
                </a:lnTo>
                <a:lnTo>
                  <a:pt x="28270" y="104508"/>
                </a:lnTo>
                <a:lnTo>
                  <a:pt x="38739" y="104732"/>
                </a:lnTo>
                <a:lnTo>
                  <a:pt x="40321" y="105180"/>
                </a:lnTo>
                <a:lnTo>
                  <a:pt x="42285" y="105207"/>
                </a:lnTo>
                <a:lnTo>
                  <a:pt x="44510" y="104729"/>
                </a:lnTo>
                <a:lnTo>
                  <a:pt x="58017" y="96700"/>
                </a:lnTo>
                <a:lnTo>
                  <a:pt x="64372" y="91935"/>
                </a:lnTo>
                <a:lnTo>
                  <a:pt x="67687" y="90007"/>
                </a:lnTo>
                <a:lnTo>
                  <a:pt x="69714" y="89159"/>
                </a:lnTo>
                <a:lnTo>
                  <a:pt x="90992" y="58734"/>
                </a:lnTo>
                <a:lnTo>
                  <a:pt x="83236" y="52673"/>
                </a:lnTo>
                <a:lnTo>
                  <a:pt x="80783" y="48725"/>
                </a:lnTo>
                <a:lnTo>
                  <a:pt x="81940" y="43986"/>
                </a:lnTo>
                <a:lnTo>
                  <a:pt x="84650" y="42441"/>
                </a:lnTo>
                <a:lnTo>
                  <a:pt x="92865" y="40957"/>
                </a:lnTo>
                <a:lnTo>
                  <a:pt x="99994" y="35770"/>
                </a:lnTo>
                <a:lnTo>
                  <a:pt x="108608" y="33141"/>
                </a:lnTo>
                <a:lnTo>
                  <a:pt x="110055" y="30959"/>
                </a:lnTo>
                <a:lnTo>
                  <a:pt x="107124" y="17488"/>
                </a:lnTo>
                <a:lnTo>
                  <a:pt x="104768" y="11997"/>
                </a:lnTo>
                <a:lnTo>
                  <a:pt x="101549" y="8176"/>
                </a:lnTo>
                <a:lnTo>
                  <a:pt x="108046" y="1718"/>
                </a:lnTo>
                <a:close/>
              </a:path>
            </a:pathLst>
          </a:custGeom>
          <a:solidFill>
            <a:srgbClr val="007D8F"/>
          </a:solidFill>
          <a:ln w="9525" cap="rnd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2" name="Freeform 76">
            <a:extLst>
              <a:ext uri="{FF2B5EF4-FFF2-40B4-BE49-F238E27FC236}">
                <a16:creationId xmlns:a16="http://schemas.microsoft.com/office/drawing/2014/main" id="{E8B8C811-1FB6-40E2-B3A7-23298C48BD30}"/>
              </a:ext>
            </a:extLst>
          </p:cNvPr>
          <p:cNvSpPr>
            <a:spLocks noChangeAspect="1"/>
          </p:cNvSpPr>
          <p:nvPr>
            <p:custDataLst>
              <p:tags r:id="rId12"/>
            </p:custDataLst>
          </p:nvPr>
        </p:nvSpPr>
        <p:spPr>
          <a:xfrm rot="261424">
            <a:off x="8226404" y="3147959"/>
            <a:ext cx="215902" cy="163089"/>
          </a:xfrm>
          <a:custGeom>
            <a:avLst/>
            <a:gdLst/>
            <a:ahLst/>
            <a:cxnLst/>
            <a:rect l="0" t="0" r="0" b="0"/>
            <a:pathLst>
              <a:path w="223193" h="168596">
                <a:moveTo>
                  <a:pt x="193368" y="6819"/>
                </a:moveTo>
                <a:lnTo>
                  <a:pt x="205731" y="3572"/>
                </a:lnTo>
                <a:lnTo>
                  <a:pt x="209871" y="29301"/>
                </a:lnTo>
                <a:lnTo>
                  <a:pt x="223192" y="74514"/>
                </a:lnTo>
                <a:lnTo>
                  <a:pt x="217875" y="75215"/>
                </a:lnTo>
                <a:lnTo>
                  <a:pt x="195459" y="81128"/>
                </a:lnTo>
                <a:lnTo>
                  <a:pt x="177846" y="89328"/>
                </a:lnTo>
                <a:lnTo>
                  <a:pt x="171375" y="91504"/>
                </a:lnTo>
                <a:lnTo>
                  <a:pt x="166681" y="91248"/>
                </a:lnTo>
                <a:lnTo>
                  <a:pt x="164788" y="91924"/>
                </a:lnTo>
                <a:lnTo>
                  <a:pt x="162806" y="93220"/>
                </a:lnTo>
                <a:lnTo>
                  <a:pt x="160048" y="96452"/>
                </a:lnTo>
                <a:lnTo>
                  <a:pt x="158860" y="98629"/>
                </a:lnTo>
                <a:lnTo>
                  <a:pt x="158201" y="100558"/>
                </a:lnTo>
                <a:lnTo>
                  <a:pt x="157915" y="104516"/>
                </a:lnTo>
                <a:lnTo>
                  <a:pt x="157687" y="106095"/>
                </a:lnTo>
                <a:lnTo>
                  <a:pt x="157077" y="107609"/>
                </a:lnTo>
                <a:lnTo>
                  <a:pt x="156263" y="108842"/>
                </a:lnTo>
                <a:lnTo>
                  <a:pt x="155399" y="109943"/>
                </a:lnTo>
                <a:lnTo>
                  <a:pt x="153271" y="111835"/>
                </a:lnTo>
                <a:lnTo>
                  <a:pt x="148028" y="114301"/>
                </a:lnTo>
                <a:lnTo>
                  <a:pt x="139487" y="116117"/>
                </a:lnTo>
                <a:lnTo>
                  <a:pt x="137098" y="116034"/>
                </a:lnTo>
                <a:lnTo>
                  <a:pt x="135480" y="115700"/>
                </a:lnTo>
                <a:lnTo>
                  <a:pt x="132628" y="114669"/>
                </a:lnTo>
                <a:lnTo>
                  <a:pt x="131068" y="114435"/>
                </a:lnTo>
                <a:lnTo>
                  <a:pt x="129065" y="114850"/>
                </a:lnTo>
                <a:lnTo>
                  <a:pt x="120445" y="118215"/>
                </a:lnTo>
                <a:lnTo>
                  <a:pt x="118352" y="118659"/>
                </a:lnTo>
                <a:lnTo>
                  <a:pt x="116641" y="118637"/>
                </a:lnTo>
                <a:lnTo>
                  <a:pt x="115265" y="118144"/>
                </a:lnTo>
                <a:lnTo>
                  <a:pt x="114086" y="117427"/>
                </a:lnTo>
                <a:lnTo>
                  <a:pt x="112015" y="115581"/>
                </a:lnTo>
                <a:lnTo>
                  <a:pt x="110780" y="114757"/>
                </a:lnTo>
                <a:lnTo>
                  <a:pt x="109410" y="114263"/>
                </a:lnTo>
                <a:lnTo>
                  <a:pt x="107514" y="114917"/>
                </a:lnTo>
                <a:lnTo>
                  <a:pt x="105656" y="116522"/>
                </a:lnTo>
                <a:lnTo>
                  <a:pt x="103016" y="120568"/>
                </a:lnTo>
                <a:lnTo>
                  <a:pt x="99678" y="127952"/>
                </a:lnTo>
                <a:lnTo>
                  <a:pt x="98909" y="129160"/>
                </a:lnTo>
                <a:lnTo>
                  <a:pt x="96307" y="132539"/>
                </a:lnTo>
                <a:lnTo>
                  <a:pt x="95538" y="133825"/>
                </a:lnTo>
                <a:lnTo>
                  <a:pt x="94924" y="135243"/>
                </a:lnTo>
                <a:lnTo>
                  <a:pt x="94499" y="136932"/>
                </a:lnTo>
                <a:lnTo>
                  <a:pt x="94103" y="140598"/>
                </a:lnTo>
                <a:lnTo>
                  <a:pt x="93727" y="142334"/>
                </a:lnTo>
                <a:lnTo>
                  <a:pt x="93259" y="143872"/>
                </a:lnTo>
                <a:lnTo>
                  <a:pt x="91756" y="145286"/>
                </a:lnTo>
                <a:lnTo>
                  <a:pt x="89454" y="146466"/>
                </a:lnTo>
                <a:lnTo>
                  <a:pt x="84332" y="147762"/>
                </a:lnTo>
                <a:lnTo>
                  <a:pt x="81266" y="148969"/>
                </a:lnTo>
                <a:lnTo>
                  <a:pt x="78691" y="150620"/>
                </a:lnTo>
                <a:lnTo>
                  <a:pt x="76327" y="153947"/>
                </a:lnTo>
                <a:lnTo>
                  <a:pt x="75375" y="156424"/>
                </a:lnTo>
                <a:lnTo>
                  <a:pt x="74905" y="158623"/>
                </a:lnTo>
                <a:lnTo>
                  <a:pt x="74409" y="162270"/>
                </a:lnTo>
                <a:lnTo>
                  <a:pt x="71327" y="164033"/>
                </a:lnTo>
                <a:lnTo>
                  <a:pt x="68696" y="165168"/>
                </a:lnTo>
                <a:lnTo>
                  <a:pt x="45366" y="168595"/>
                </a:lnTo>
                <a:lnTo>
                  <a:pt x="37075" y="155099"/>
                </a:lnTo>
                <a:lnTo>
                  <a:pt x="34686" y="152269"/>
                </a:lnTo>
                <a:lnTo>
                  <a:pt x="27788" y="146478"/>
                </a:lnTo>
                <a:lnTo>
                  <a:pt x="25231" y="144971"/>
                </a:lnTo>
                <a:lnTo>
                  <a:pt x="23174" y="144323"/>
                </a:lnTo>
                <a:lnTo>
                  <a:pt x="22198" y="144504"/>
                </a:lnTo>
                <a:lnTo>
                  <a:pt x="21273" y="144938"/>
                </a:lnTo>
                <a:lnTo>
                  <a:pt x="18049" y="147394"/>
                </a:lnTo>
                <a:lnTo>
                  <a:pt x="16682" y="147937"/>
                </a:lnTo>
                <a:lnTo>
                  <a:pt x="15118" y="148271"/>
                </a:lnTo>
                <a:lnTo>
                  <a:pt x="46" y="148806"/>
                </a:lnTo>
                <a:lnTo>
                  <a:pt x="0" y="142584"/>
                </a:lnTo>
                <a:lnTo>
                  <a:pt x="1509" y="139619"/>
                </a:lnTo>
                <a:lnTo>
                  <a:pt x="2799" y="137944"/>
                </a:lnTo>
                <a:lnTo>
                  <a:pt x="4522" y="137634"/>
                </a:lnTo>
                <a:lnTo>
                  <a:pt x="5898" y="138189"/>
                </a:lnTo>
                <a:lnTo>
                  <a:pt x="7757" y="138585"/>
                </a:lnTo>
                <a:lnTo>
                  <a:pt x="9953" y="138456"/>
                </a:lnTo>
                <a:lnTo>
                  <a:pt x="13809" y="137128"/>
                </a:lnTo>
                <a:lnTo>
                  <a:pt x="15848" y="135714"/>
                </a:lnTo>
                <a:lnTo>
                  <a:pt x="17113" y="134426"/>
                </a:lnTo>
                <a:lnTo>
                  <a:pt x="17538" y="133115"/>
                </a:lnTo>
                <a:lnTo>
                  <a:pt x="19271" y="123867"/>
                </a:lnTo>
                <a:lnTo>
                  <a:pt x="19348" y="121526"/>
                </a:lnTo>
                <a:lnTo>
                  <a:pt x="19304" y="119507"/>
                </a:lnTo>
                <a:lnTo>
                  <a:pt x="19090" y="117909"/>
                </a:lnTo>
                <a:lnTo>
                  <a:pt x="18318" y="114928"/>
                </a:lnTo>
                <a:lnTo>
                  <a:pt x="16319" y="109222"/>
                </a:lnTo>
                <a:lnTo>
                  <a:pt x="13883" y="104061"/>
                </a:lnTo>
                <a:lnTo>
                  <a:pt x="13092" y="102878"/>
                </a:lnTo>
                <a:lnTo>
                  <a:pt x="12156" y="101819"/>
                </a:lnTo>
                <a:lnTo>
                  <a:pt x="11272" y="101128"/>
                </a:lnTo>
                <a:lnTo>
                  <a:pt x="9071" y="100177"/>
                </a:lnTo>
                <a:lnTo>
                  <a:pt x="14432" y="81115"/>
                </a:lnTo>
                <a:lnTo>
                  <a:pt x="17276" y="80621"/>
                </a:lnTo>
                <a:lnTo>
                  <a:pt x="19474" y="79641"/>
                </a:lnTo>
                <a:lnTo>
                  <a:pt x="21346" y="77874"/>
                </a:lnTo>
                <a:lnTo>
                  <a:pt x="26447" y="69595"/>
                </a:lnTo>
                <a:lnTo>
                  <a:pt x="28469" y="67620"/>
                </a:lnTo>
                <a:lnTo>
                  <a:pt x="30965" y="67017"/>
                </a:lnTo>
                <a:lnTo>
                  <a:pt x="48308" y="71236"/>
                </a:lnTo>
                <a:lnTo>
                  <a:pt x="50644" y="72597"/>
                </a:lnTo>
                <a:lnTo>
                  <a:pt x="52835" y="74823"/>
                </a:lnTo>
                <a:lnTo>
                  <a:pt x="56016" y="80718"/>
                </a:lnTo>
                <a:lnTo>
                  <a:pt x="57272" y="81858"/>
                </a:lnTo>
                <a:lnTo>
                  <a:pt x="60484" y="80851"/>
                </a:lnTo>
                <a:lnTo>
                  <a:pt x="63083" y="76592"/>
                </a:lnTo>
                <a:lnTo>
                  <a:pt x="64729" y="71140"/>
                </a:lnTo>
                <a:lnTo>
                  <a:pt x="65064" y="66546"/>
                </a:lnTo>
                <a:lnTo>
                  <a:pt x="62952" y="56337"/>
                </a:lnTo>
                <a:lnTo>
                  <a:pt x="63224" y="51711"/>
                </a:lnTo>
                <a:lnTo>
                  <a:pt x="66068" y="47446"/>
                </a:lnTo>
                <a:lnTo>
                  <a:pt x="69528" y="45369"/>
                </a:lnTo>
                <a:lnTo>
                  <a:pt x="72374" y="45543"/>
                </a:lnTo>
                <a:lnTo>
                  <a:pt x="79163" y="48275"/>
                </a:lnTo>
                <a:lnTo>
                  <a:pt x="83513" y="47634"/>
                </a:lnTo>
                <a:lnTo>
                  <a:pt x="111025" y="36983"/>
                </a:lnTo>
                <a:lnTo>
                  <a:pt x="134248" y="20641"/>
                </a:lnTo>
                <a:lnTo>
                  <a:pt x="182588" y="0"/>
                </a:lnTo>
                <a:lnTo>
                  <a:pt x="184454" y="1271"/>
                </a:lnTo>
                <a:lnTo>
                  <a:pt x="186036" y="3883"/>
                </a:lnTo>
                <a:lnTo>
                  <a:pt x="189875" y="6569"/>
                </a:lnTo>
                <a:close/>
              </a:path>
            </a:pathLst>
          </a:custGeom>
          <a:solidFill>
            <a:srgbClr val="F2F2F2"/>
          </a:solidFill>
          <a:ln w="9525" cap="rnd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3" name="Freeform 78">
            <a:extLst>
              <a:ext uri="{FF2B5EF4-FFF2-40B4-BE49-F238E27FC236}">
                <a16:creationId xmlns:a16="http://schemas.microsoft.com/office/drawing/2014/main" id="{1D12B1C3-4A8B-478A-98F6-10103A9C0C3F}"/>
              </a:ext>
            </a:extLst>
          </p:cNvPr>
          <p:cNvSpPr>
            <a:spLocks noChangeAspect="1"/>
          </p:cNvSpPr>
          <p:nvPr>
            <p:custDataLst>
              <p:tags r:id="rId13"/>
            </p:custDataLst>
          </p:nvPr>
        </p:nvSpPr>
        <p:spPr>
          <a:xfrm>
            <a:off x="7777873" y="3182294"/>
            <a:ext cx="346302" cy="265928"/>
          </a:xfrm>
          <a:custGeom>
            <a:avLst/>
            <a:gdLst/>
            <a:ahLst/>
            <a:cxnLst/>
            <a:rect l="0" t="0" r="0" b="0"/>
            <a:pathLst>
              <a:path w="319366" h="245243">
                <a:moveTo>
                  <a:pt x="150325" y="113112"/>
                </a:moveTo>
                <a:lnTo>
                  <a:pt x="154745" y="109748"/>
                </a:lnTo>
                <a:lnTo>
                  <a:pt x="157843" y="104145"/>
                </a:lnTo>
                <a:lnTo>
                  <a:pt x="161014" y="100008"/>
                </a:lnTo>
                <a:lnTo>
                  <a:pt x="165644" y="101045"/>
                </a:lnTo>
                <a:lnTo>
                  <a:pt x="167305" y="102945"/>
                </a:lnTo>
                <a:lnTo>
                  <a:pt x="168384" y="104762"/>
                </a:lnTo>
                <a:lnTo>
                  <a:pt x="169637" y="106260"/>
                </a:lnTo>
                <a:lnTo>
                  <a:pt x="171855" y="107202"/>
                </a:lnTo>
                <a:lnTo>
                  <a:pt x="174263" y="107272"/>
                </a:lnTo>
                <a:lnTo>
                  <a:pt x="175713" y="106434"/>
                </a:lnTo>
                <a:lnTo>
                  <a:pt x="189431" y="91440"/>
                </a:lnTo>
                <a:lnTo>
                  <a:pt x="190383" y="89488"/>
                </a:lnTo>
                <a:lnTo>
                  <a:pt x="191784" y="88823"/>
                </a:lnTo>
                <a:lnTo>
                  <a:pt x="195374" y="89728"/>
                </a:lnTo>
                <a:lnTo>
                  <a:pt x="197161" y="91172"/>
                </a:lnTo>
                <a:lnTo>
                  <a:pt x="200750" y="96213"/>
                </a:lnTo>
                <a:lnTo>
                  <a:pt x="203786" y="98280"/>
                </a:lnTo>
                <a:lnTo>
                  <a:pt x="205804" y="98710"/>
                </a:lnTo>
                <a:lnTo>
                  <a:pt x="210415" y="98140"/>
                </a:lnTo>
                <a:lnTo>
                  <a:pt x="212378" y="97352"/>
                </a:lnTo>
                <a:lnTo>
                  <a:pt x="214215" y="95111"/>
                </a:lnTo>
                <a:lnTo>
                  <a:pt x="215441" y="88202"/>
                </a:lnTo>
                <a:lnTo>
                  <a:pt x="216432" y="85272"/>
                </a:lnTo>
                <a:lnTo>
                  <a:pt x="218788" y="83229"/>
                </a:lnTo>
                <a:lnTo>
                  <a:pt x="221379" y="83256"/>
                </a:lnTo>
                <a:lnTo>
                  <a:pt x="223834" y="84879"/>
                </a:lnTo>
                <a:lnTo>
                  <a:pt x="225776" y="87600"/>
                </a:lnTo>
                <a:lnTo>
                  <a:pt x="227011" y="91204"/>
                </a:lnTo>
                <a:lnTo>
                  <a:pt x="228642" y="103480"/>
                </a:lnTo>
                <a:lnTo>
                  <a:pt x="229699" y="107470"/>
                </a:lnTo>
                <a:lnTo>
                  <a:pt x="231129" y="110031"/>
                </a:lnTo>
                <a:lnTo>
                  <a:pt x="256776" y="134625"/>
                </a:lnTo>
                <a:lnTo>
                  <a:pt x="257856" y="136558"/>
                </a:lnTo>
                <a:lnTo>
                  <a:pt x="258304" y="138515"/>
                </a:lnTo>
                <a:lnTo>
                  <a:pt x="258728" y="142901"/>
                </a:lnTo>
                <a:lnTo>
                  <a:pt x="259997" y="145792"/>
                </a:lnTo>
                <a:lnTo>
                  <a:pt x="262055" y="146807"/>
                </a:lnTo>
                <a:lnTo>
                  <a:pt x="264298" y="146354"/>
                </a:lnTo>
                <a:lnTo>
                  <a:pt x="266136" y="144832"/>
                </a:lnTo>
                <a:lnTo>
                  <a:pt x="267581" y="141695"/>
                </a:lnTo>
                <a:lnTo>
                  <a:pt x="269309" y="134478"/>
                </a:lnTo>
                <a:lnTo>
                  <a:pt x="271038" y="131619"/>
                </a:lnTo>
                <a:lnTo>
                  <a:pt x="273327" y="130567"/>
                </a:lnTo>
                <a:lnTo>
                  <a:pt x="278283" y="130286"/>
                </a:lnTo>
                <a:lnTo>
                  <a:pt x="280223" y="128527"/>
                </a:lnTo>
                <a:lnTo>
                  <a:pt x="282342" y="124270"/>
                </a:lnTo>
                <a:lnTo>
                  <a:pt x="283650" y="122615"/>
                </a:lnTo>
                <a:lnTo>
                  <a:pt x="285438" y="121700"/>
                </a:lnTo>
                <a:lnTo>
                  <a:pt x="290695" y="120415"/>
                </a:lnTo>
                <a:lnTo>
                  <a:pt x="297786" y="115850"/>
                </a:lnTo>
                <a:lnTo>
                  <a:pt x="300656" y="114850"/>
                </a:lnTo>
                <a:lnTo>
                  <a:pt x="303481" y="115114"/>
                </a:lnTo>
                <a:lnTo>
                  <a:pt x="306658" y="117088"/>
                </a:lnTo>
                <a:lnTo>
                  <a:pt x="309744" y="120216"/>
                </a:lnTo>
                <a:lnTo>
                  <a:pt x="312430" y="123999"/>
                </a:lnTo>
                <a:lnTo>
                  <a:pt x="314396" y="127946"/>
                </a:lnTo>
                <a:lnTo>
                  <a:pt x="317064" y="139037"/>
                </a:lnTo>
                <a:lnTo>
                  <a:pt x="319365" y="141472"/>
                </a:lnTo>
                <a:lnTo>
                  <a:pt x="312194" y="149780"/>
                </a:lnTo>
                <a:lnTo>
                  <a:pt x="311569" y="153599"/>
                </a:lnTo>
                <a:lnTo>
                  <a:pt x="312165" y="154886"/>
                </a:lnTo>
                <a:lnTo>
                  <a:pt x="312663" y="156238"/>
                </a:lnTo>
                <a:lnTo>
                  <a:pt x="313010" y="157790"/>
                </a:lnTo>
                <a:lnTo>
                  <a:pt x="313015" y="159374"/>
                </a:lnTo>
                <a:lnTo>
                  <a:pt x="312527" y="160788"/>
                </a:lnTo>
                <a:lnTo>
                  <a:pt x="309158" y="163064"/>
                </a:lnTo>
                <a:lnTo>
                  <a:pt x="280910" y="177043"/>
                </a:lnTo>
                <a:lnTo>
                  <a:pt x="279787" y="178333"/>
                </a:lnTo>
                <a:lnTo>
                  <a:pt x="276417" y="185155"/>
                </a:lnTo>
                <a:lnTo>
                  <a:pt x="275584" y="186279"/>
                </a:lnTo>
                <a:lnTo>
                  <a:pt x="273967" y="187902"/>
                </a:lnTo>
                <a:lnTo>
                  <a:pt x="273280" y="188436"/>
                </a:lnTo>
                <a:lnTo>
                  <a:pt x="273085" y="188559"/>
                </a:lnTo>
                <a:lnTo>
                  <a:pt x="262374" y="190313"/>
                </a:lnTo>
                <a:lnTo>
                  <a:pt x="261193" y="191269"/>
                </a:lnTo>
                <a:lnTo>
                  <a:pt x="260710" y="193175"/>
                </a:lnTo>
                <a:lnTo>
                  <a:pt x="260907" y="194732"/>
                </a:lnTo>
                <a:lnTo>
                  <a:pt x="261446" y="196237"/>
                </a:lnTo>
                <a:lnTo>
                  <a:pt x="263913" y="201516"/>
                </a:lnTo>
                <a:lnTo>
                  <a:pt x="264312" y="202959"/>
                </a:lnTo>
                <a:lnTo>
                  <a:pt x="264364" y="204535"/>
                </a:lnTo>
                <a:lnTo>
                  <a:pt x="263970" y="205998"/>
                </a:lnTo>
                <a:lnTo>
                  <a:pt x="263437" y="207264"/>
                </a:lnTo>
                <a:lnTo>
                  <a:pt x="262652" y="208465"/>
                </a:lnTo>
                <a:lnTo>
                  <a:pt x="259758" y="209913"/>
                </a:lnTo>
                <a:lnTo>
                  <a:pt x="255283" y="211242"/>
                </a:lnTo>
                <a:lnTo>
                  <a:pt x="244757" y="213021"/>
                </a:lnTo>
                <a:lnTo>
                  <a:pt x="240432" y="212870"/>
                </a:lnTo>
                <a:lnTo>
                  <a:pt x="237730" y="212095"/>
                </a:lnTo>
                <a:lnTo>
                  <a:pt x="233336" y="204908"/>
                </a:lnTo>
                <a:lnTo>
                  <a:pt x="232306" y="203933"/>
                </a:lnTo>
                <a:lnTo>
                  <a:pt x="230976" y="203316"/>
                </a:lnTo>
                <a:lnTo>
                  <a:pt x="229305" y="203538"/>
                </a:lnTo>
                <a:lnTo>
                  <a:pt x="227788" y="204591"/>
                </a:lnTo>
                <a:lnTo>
                  <a:pt x="226606" y="207310"/>
                </a:lnTo>
                <a:lnTo>
                  <a:pt x="226510" y="209220"/>
                </a:lnTo>
                <a:lnTo>
                  <a:pt x="226907" y="210871"/>
                </a:lnTo>
                <a:lnTo>
                  <a:pt x="227396" y="212283"/>
                </a:lnTo>
                <a:lnTo>
                  <a:pt x="227745" y="213759"/>
                </a:lnTo>
                <a:lnTo>
                  <a:pt x="227843" y="215453"/>
                </a:lnTo>
                <a:lnTo>
                  <a:pt x="227650" y="217185"/>
                </a:lnTo>
                <a:lnTo>
                  <a:pt x="226371" y="222115"/>
                </a:lnTo>
                <a:lnTo>
                  <a:pt x="225195" y="224909"/>
                </a:lnTo>
                <a:lnTo>
                  <a:pt x="221609" y="231272"/>
                </a:lnTo>
                <a:lnTo>
                  <a:pt x="219840" y="233367"/>
                </a:lnTo>
                <a:lnTo>
                  <a:pt x="216432" y="235902"/>
                </a:lnTo>
                <a:lnTo>
                  <a:pt x="207873" y="240828"/>
                </a:lnTo>
                <a:lnTo>
                  <a:pt x="203934" y="244866"/>
                </a:lnTo>
                <a:lnTo>
                  <a:pt x="202706" y="245242"/>
                </a:lnTo>
                <a:lnTo>
                  <a:pt x="201228" y="244800"/>
                </a:lnTo>
                <a:lnTo>
                  <a:pt x="199396" y="242335"/>
                </a:lnTo>
                <a:lnTo>
                  <a:pt x="197384" y="237214"/>
                </a:lnTo>
                <a:lnTo>
                  <a:pt x="195363" y="236251"/>
                </a:lnTo>
                <a:lnTo>
                  <a:pt x="193495" y="235741"/>
                </a:lnTo>
                <a:lnTo>
                  <a:pt x="181176" y="237299"/>
                </a:lnTo>
                <a:lnTo>
                  <a:pt x="180795" y="237348"/>
                </a:lnTo>
                <a:lnTo>
                  <a:pt x="178190" y="236236"/>
                </a:lnTo>
                <a:lnTo>
                  <a:pt x="175415" y="236865"/>
                </a:lnTo>
                <a:lnTo>
                  <a:pt x="172795" y="236384"/>
                </a:lnTo>
                <a:lnTo>
                  <a:pt x="170372" y="234639"/>
                </a:lnTo>
                <a:lnTo>
                  <a:pt x="173426" y="228771"/>
                </a:lnTo>
                <a:lnTo>
                  <a:pt x="174919" y="226898"/>
                </a:lnTo>
                <a:lnTo>
                  <a:pt x="176872" y="225317"/>
                </a:lnTo>
                <a:lnTo>
                  <a:pt x="176876" y="222650"/>
                </a:lnTo>
                <a:lnTo>
                  <a:pt x="175435" y="221563"/>
                </a:lnTo>
                <a:lnTo>
                  <a:pt x="171835" y="220516"/>
                </a:lnTo>
                <a:lnTo>
                  <a:pt x="170395" y="219448"/>
                </a:lnTo>
                <a:lnTo>
                  <a:pt x="169525" y="219143"/>
                </a:lnTo>
                <a:lnTo>
                  <a:pt x="167003" y="219573"/>
                </a:lnTo>
                <a:lnTo>
                  <a:pt x="166056" y="219441"/>
                </a:lnTo>
                <a:lnTo>
                  <a:pt x="165855" y="218462"/>
                </a:lnTo>
                <a:lnTo>
                  <a:pt x="166237" y="214868"/>
                </a:lnTo>
                <a:lnTo>
                  <a:pt x="166065" y="213849"/>
                </a:lnTo>
                <a:lnTo>
                  <a:pt x="158548" y="204809"/>
                </a:lnTo>
                <a:lnTo>
                  <a:pt x="142498" y="192138"/>
                </a:lnTo>
                <a:lnTo>
                  <a:pt x="134963" y="189499"/>
                </a:lnTo>
                <a:lnTo>
                  <a:pt x="129142" y="192964"/>
                </a:lnTo>
                <a:lnTo>
                  <a:pt x="127433" y="189920"/>
                </a:lnTo>
                <a:lnTo>
                  <a:pt x="123814" y="185946"/>
                </a:lnTo>
                <a:lnTo>
                  <a:pt x="122693" y="184145"/>
                </a:lnTo>
                <a:lnTo>
                  <a:pt x="121822" y="180448"/>
                </a:lnTo>
                <a:lnTo>
                  <a:pt x="121290" y="173123"/>
                </a:lnTo>
                <a:lnTo>
                  <a:pt x="120355" y="167834"/>
                </a:lnTo>
                <a:lnTo>
                  <a:pt x="120605" y="162013"/>
                </a:lnTo>
                <a:lnTo>
                  <a:pt x="120026" y="160214"/>
                </a:lnTo>
                <a:lnTo>
                  <a:pt x="118664" y="160398"/>
                </a:lnTo>
                <a:lnTo>
                  <a:pt x="117147" y="160992"/>
                </a:lnTo>
                <a:lnTo>
                  <a:pt x="116099" y="160398"/>
                </a:lnTo>
                <a:lnTo>
                  <a:pt x="111815" y="151847"/>
                </a:lnTo>
                <a:lnTo>
                  <a:pt x="112489" y="146128"/>
                </a:lnTo>
                <a:lnTo>
                  <a:pt x="111793" y="137123"/>
                </a:lnTo>
                <a:lnTo>
                  <a:pt x="110352" y="128831"/>
                </a:lnTo>
                <a:lnTo>
                  <a:pt x="108866" y="125184"/>
                </a:lnTo>
                <a:lnTo>
                  <a:pt x="104350" y="122867"/>
                </a:lnTo>
                <a:lnTo>
                  <a:pt x="103798" y="121946"/>
                </a:lnTo>
                <a:lnTo>
                  <a:pt x="98981" y="122148"/>
                </a:lnTo>
                <a:lnTo>
                  <a:pt x="83880" y="113116"/>
                </a:lnTo>
                <a:lnTo>
                  <a:pt x="82555" y="112944"/>
                </a:lnTo>
                <a:lnTo>
                  <a:pt x="81478" y="113483"/>
                </a:lnTo>
                <a:lnTo>
                  <a:pt x="80543" y="114463"/>
                </a:lnTo>
                <a:lnTo>
                  <a:pt x="78222" y="118128"/>
                </a:lnTo>
                <a:lnTo>
                  <a:pt x="77334" y="119208"/>
                </a:lnTo>
                <a:lnTo>
                  <a:pt x="76289" y="120139"/>
                </a:lnTo>
                <a:lnTo>
                  <a:pt x="75057" y="120840"/>
                </a:lnTo>
                <a:lnTo>
                  <a:pt x="73543" y="121068"/>
                </a:lnTo>
                <a:lnTo>
                  <a:pt x="71829" y="121002"/>
                </a:lnTo>
                <a:lnTo>
                  <a:pt x="65522" y="119345"/>
                </a:lnTo>
                <a:lnTo>
                  <a:pt x="63905" y="119394"/>
                </a:lnTo>
                <a:lnTo>
                  <a:pt x="54670" y="121440"/>
                </a:lnTo>
                <a:lnTo>
                  <a:pt x="44998" y="125531"/>
                </a:lnTo>
                <a:lnTo>
                  <a:pt x="43775" y="125792"/>
                </a:lnTo>
                <a:lnTo>
                  <a:pt x="42304" y="125717"/>
                </a:lnTo>
                <a:lnTo>
                  <a:pt x="40646" y="124475"/>
                </a:lnTo>
                <a:lnTo>
                  <a:pt x="33049" y="115489"/>
                </a:lnTo>
                <a:lnTo>
                  <a:pt x="29890" y="112807"/>
                </a:lnTo>
                <a:lnTo>
                  <a:pt x="21724" y="108803"/>
                </a:lnTo>
                <a:lnTo>
                  <a:pt x="20068" y="107569"/>
                </a:lnTo>
                <a:lnTo>
                  <a:pt x="18319" y="105735"/>
                </a:lnTo>
                <a:lnTo>
                  <a:pt x="12548" y="98224"/>
                </a:lnTo>
                <a:lnTo>
                  <a:pt x="11977" y="96747"/>
                </a:lnTo>
                <a:lnTo>
                  <a:pt x="11844" y="95001"/>
                </a:lnTo>
                <a:lnTo>
                  <a:pt x="12688" y="92422"/>
                </a:lnTo>
                <a:lnTo>
                  <a:pt x="13683" y="91022"/>
                </a:lnTo>
                <a:lnTo>
                  <a:pt x="14912" y="89843"/>
                </a:lnTo>
                <a:lnTo>
                  <a:pt x="17224" y="88326"/>
                </a:lnTo>
                <a:lnTo>
                  <a:pt x="20953" y="86489"/>
                </a:lnTo>
                <a:lnTo>
                  <a:pt x="23135" y="84740"/>
                </a:lnTo>
                <a:lnTo>
                  <a:pt x="24051" y="83594"/>
                </a:lnTo>
                <a:lnTo>
                  <a:pt x="24815" y="82344"/>
                </a:lnTo>
                <a:lnTo>
                  <a:pt x="25455" y="81041"/>
                </a:lnTo>
                <a:lnTo>
                  <a:pt x="26005" y="79677"/>
                </a:lnTo>
                <a:lnTo>
                  <a:pt x="26451" y="78194"/>
                </a:lnTo>
                <a:lnTo>
                  <a:pt x="26319" y="76339"/>
                </a:lnTo>
                <a:lnTo>
                  <a:pt x="25356" y="74294"/>
                </a:lnTo>
                <a:lnTo>
                  <a:pt x="22326" y="71673"/>
                </a:lnTo>
                <a:lnTo>
                  <a:pt x="18387" y="69404"/>
                </a:lnTo>
                <a:lnTo>
                  <a:pt x="13689" y="63015"/>
                </a:lnTo>
                <a:lnTo>
                  <a:pt x="0" y="37450"/>
                </a:lnTo>
                <a:lnTo>
                  <a:pt x="13495" y="28408"/>
                </a:lnTo>
                <a:lnTo>
                  <a:pt x="16464" y="31064"/>
                </a:lnTo>
                <a:lnTo>
                  <a:pt x="20672" y="31689"/>
                </a:lnTo>
                <a:lnTo>
                  <a:pt x="29015" y="29627"/>
                </a:lnTo>
                <a:lnTo>
                  <a:pt x="34544" y="26144"/>
                </a:lnTo>
                <a:lnTo>
                  <a:pt x="36406" y="22646"/>
                </a:lnTo>
                <a:lnTo>
                  <a:pt x="37333" y="18401"/>
                </a:lnTo>
                <a:lnTo>
                  <a:pt x="40045" y="12676"/>
                </a:lnTo>
                <a:lnTo>
                  <a:pt x="48194" y="3753"/>
                </a:lnTo>
                <a:lnTo>
                  <a:pt x="56659" y="0"/>
                </a:lnTo>
                <a:lnTo>
                  <a:pt x="129756" y="10494"/>
                </a:lnTo>
                <a:lnTo>
                  <a:pt x="135129" y="14265"/>
                </a:lnTo>
                <a:lnTo>
                  <a:pt x="138358" y="21692"/>
                </a:lnTo>
                <a:lnTo>
                  <a:pt x="137947" y="34985"/>
                </a:lnTo>
                <a:lnTo>
                  <a:pt x="128937" y="60786"/>
                </a:lnTo>
                <a:lnTo>
                  <a:pt x="126334" y="73838"/>
                </a:lnTo>
                <a:lnTo>
                  <a:pt x="128657" y="82127"/>
                </a:lnTo>
                <a:lnTo>
                  <a:pt x="140860" y="84837"/>
                </a:lnTo>
                <a:lnTo>
                  <a:pt x="144614" y="91357"/>
                </a:lnTo>
                <a:lnTo>
                  <a:pt x="143801" y="105831"/>
                </a:lnTo>
                <a:lnTo>
                  <a:pt x="145035" y="111619"/>
                </a:lnTo>
                <a:close/>
              </a:path>
            </a:pathLst>
          </a:custGeom>
          <a:solidFill>
            <a:srgbClr val="F2F2F2"/>
          </a:solidFill>
          <a:ln w="9525" cap="rnd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4" name="Freeform 43">
            <a:extLst>
              <a:ext uri="{FF2B5EF4-FFF2-40B4-BE49-F238E27FC236}">
                <a16:creationId xmlns:a16="http://schemas.microsoft.com/office/drawing/2014/main" id="{5CE68F11-DCEB-4B59-8B17-201E60DE6190}"/>
              </a:ext>
            </a:extLst>
          </p:cNvPr>
          <p:cNvSpPr>
            <a:spLocks noChangeAspect="1"/>
          </p:cNvSpPr>
          <p:nvPr>
            <p:custDataLst>
              <p:tags r:id="rId14"/>
            </p:custDataLst>
          </p:nvPr>
        </p:nvSpPr>
        <p:spPr>
          <a:xfrm>
            <a:off x="8562609" y="3841869"/>
            <a:ext cx="312202" cy="273367"/>
          </a:xfrm>
          <a:custGeom>
            <a:avLst/>
            <a:gdLst/>
            <a:ahLst/>
            <a:cxnLst/>
            <a:rect l="l" t="t" r="r" b="b"/>
            <a:pathLst>
              <a:path w="252756" h="221316">
                <a:moveTo>
                  <a:pt x="109457" y="196972"/>
                </a:moveTo>
                <a:lnTo>
                  <a:pt x="114932" y="206738"/>
                </a:lnTo>
                <a:lnTo>
                  <a:pt x="114822" y="211825"/>
                </a:lnTo>
                <a:lnTo>
                  <a:pt x="112545" y="217716"/>
                </a:lnTo>
                <a:lnTo>
                  <a:pt x="108935" y="221316"/>
                </a:lnTo>
                <a:lnTo>
                  <a:pt x="104830" y="219544"/>
                </a:lnTo>
                <a:lnTo>
                  <a:pt x="103773" y="214486"/>
                </a:lnTo>
                <a:lnTo>
                  <a:pt x="104776" y="207381"/>
                </a:lnTo>
                <a:lnTo>
                  <a:pt x="106964" y="200719"/>
                </a:lnTo>
                <a:close/>
                <a:moveTo>
                  <a:pt x="202451" y="0"/>
                </a:moveTo>
                <a:lnTo>
                  <a:pt x="204030" y="1056"/>
                </a:lnTo>
                <a:lnTo>
                  <a:pt x="212683" y="5415"/>
                </a:lnTo>
                <a:lnTo>
                  <a:pt x="218828" y="7350"/>
                </a:lnTo>
                <a:lnTo>
                  <a:pt x="220529" y="8664"/>
                </a:lnTo>
                <a:lnTo>
                  <a:pt x="224702" y="14751"/>
                </a:lnTo>
                <a:lnTo>
                  <a:pt x="226301" y="16715"/>
                </a:lnTo>
                <a:lnTo>
                  <a:pt x="227794" y="18168"/>
                </a:lnTo>
                <a:lnTo>
                  <a:pt x="234730" y="21340"/>
                </a:lnTo>
                <a:lnTo>
                  <a:pt x="235882" y="23194"/>
                </a:lnTo>
                <a:lnTo>
                  <a:pt x="236816" y="26075"/>
                </a:lnTo>
                <a:lnTo>
                  <a:pt x="237950" y="35749"/>
                </a:lnTo>
                <a:lnTo>
                  <a:pt x="237875" y="38280"/>
                </a:lnTo>
                <a:lnTo>
                  <a:pt x="237264" y="39654"/>
                </a:lnTo>
                <a:lnTo>
                  <a:pt x="236294" y="40617"/>
                </a:lnTo>
                <a:lnTo>
                  <a:pt x="233682" y="41869"/>
                </a:lnTo>
                <a:lnTo>
                  <a:pt x="232761" y="42850"/>
                </a:lnTo>
                <a:lnTo>
                  <a:pt x="232199" y="44198"/>
                </a:lnTo>
                <a:lnTo>
                  <a:pt x="231943" y="45642"/>
                </a:lnTo>
                <a:lnTo>
                  <a:pt x="231429" y="46978"/>
                </a:lnTo>
                <a:lnTo>
                  <a:pt x="230608" y="47956"/>
                </a:lnTo>
                <a:lnTo>
                  <a:pt x="229534" y="48794"/>
                </a:lnTo>
                <a:lnTo>
                  <a:pt x="228515" y="49792"/>
                </a:lnTo>
                <a:lnTo>
                  <a:pt x="227651" y="51040"/>
                </a:lnTo>
                <a:lnTo>
                  <a:pt x="226941" y="52415"/>
                </a:lnTo>
                <a:lnTo>
                  <a:pt x="226798" y="54350"/>
                </a:lnTo>
                <a:lnTo>
                  <a:pt x="227162" y="56625"/>
                </a:lnTo>
                <a:lnTo>
                  <a:pt x="228927" y="62261"/>
                </a:lnTo>
                <a:lnTo>
                  <a:pt x="230087" y="64381"/>
                </a:lnTo>
                <a:lnTo>
                  <a:pt x="231689" y="66085"/>
                </a:lnTo>
                <a:lnTo>
                  <a:pt x="235400" y="68153"/>
                </a:lnTo>
                <a:lnTo>
                  <a:pt x="239997" y="69684"/>
                </a:lnTo>
                <a:lnTo>
                  <a:pt x="243630" y="70288"/>
                </a:lnTo>
                <a:lnTo>
                  <a:pt x="247430" y="73617"/>
                </a:lnTo>
                <a:lnTo>
                  <a:pt x="252756" y="87678"/>
                </a:lnTo>
                <a:lnTo>
                  <a:pt x="252214" y="89945"/>
                </a:lnTo>
                <a:lnTo>
                  <a:pt x="248693" y="94422"/>
                </a:lnTo>
                <a:lnTo>
                  <a:pt x="244565" y="97850"/>
                </a:lnTo>
                <a:lnTo>
                  <a:pt x="240396" y="99452"/>
                </a:lnTo>
                <a:lnTo>
                  <a:pt x="235882" y="98465"/>
                </a:lnTo>
                <a:lnTo>
                  <a:pt x="228218" y="93082"/>
                </a:lnTo>
                <a:lnTo>
                  <a:pt x="223768" y="92569"/>
                </a:lnTo>
                <a:lnTo>
                  <a:pt x="217001" y="94369"/>
                </a:lnTo>
                <a:lnTo>
                  <a:pt x="214688" y="94375"/>
                </a:lnTo>
                <a:lnTo>
                  <a:pt x="207416" y="90876"/>
                </a:lnTo>
                <a:lnTo>
                  <a:pt x="203786" y="90213"/>
                </a:lnTo>
                <a:lnTo>
                  <a:pt x="201356" y="93114"/>
                </a:lnTo>
                <a:lnTo>
                  <a:pt x="201421" y="104060"/>
                </a:lnTo>
                <a:lnTo>
                  <a:pt x="205280" y="111565"/>
                </a:lnTo>
                <a:lnTo>
                  <a:pt x="206718" y="118527"/>
                </a:lnTo>
                <a:lnTo>
                  <a:pt x="196585" y="131854"/>
                </a:lnTo>
                <a:lnTo>
                  <a:pt x="196138" y="136219"/>
                </a:lnTo>
                <a:lnTo>
                  <a:pt x="197824" y="140138"/>
                </a:lnTo>
                <a:lnTo>
                  <a:pt x="206369" y="146303"/>
                </a:lnTo>
                <a:lnTo>
                  <a:pt x="208224" y="149058"/>
                </a:lnTo>
                <a:lnTo>
                  <a:pt x="209449" y="152678"/>
                </a:lnTo>
                <a:lnTo>
                  <a:pt x="209662" y="156704"/>
                </a:lnTo>
                <a:lnTo>
                  <a:pt x="208543" y="159384"/>
                </a:lnTo>
                <a:lnTo>
                  <a:pt x="206462" y="161269"/>
                </a:lnTo>
                <a:lnTo>
                  <a:pt x="155900" y="191876"/>
                </a:lnTo>
                <a:lnTo>
                  <a:pt x="151590" y="192882"/>
                </a:lnTo>
                <a:lnTo>
                  <a:pt x="149113" y="192342"/>
                </a:lnTo>
                <a:lnTo>
                  <a:pt x="147862" y="191062"/>
                </a:lnTo>
                <a:lnTo>
                  <a:pt x="145882" y="186625"/>
                </a:lnTo>
                <a:lnTo>
                  <a:pt x="144379" y="184635"/>
                </a:lnTo>
                <a:lnTo>
                  <a:pt x="142507" y="183244"/>
                </a:lnTo>
                <a:lnTo>
                  <a:pt x="140459" y="182753"/>
                </a:lnTo>
                <a:lnTo>
                  <a:pt x="138413" y="183491"/>
                </a:lnTo>
                <a:lnTo>
                  <a:pt x="136743" y="186070"/>
                </a:lnTo>
                <a:lnTo>
                  <a:pt x="136333" y="189535"/>
                </a:lnTo>
                <a:lnTo>
                  <a:pt x="136342" y="193269"/>
                </a:lnTo>
                <a:lnTo>
                  <a:pt x="135902" y="196645"/>
                </a:lnTo>
                <a:lnTo>
                  <a:pt x="133231" y="201420"/>
                </a:lnTo>
                <a:lnTo>
                  <a:pt x="129664" y="203149"/>
                </a:lnTo>
                <a:lnTo>
                  <a:pt x="125750" y="202120"/>
                </a:lnTo>
                <a:lnTo>
                  <a:pt x="122066" y="198630"/>
                </a:lnTo>
                <a:lnTo>
                  <a:pt x="120661" y="195678"/>
                </a:lnTo>
                <a:lnTo>
                  <a:pt x="118369" y="188254"/>
                </a:lnTo>
                <a:lnTo>
                  <a:pt x="116025" y="184456"/>
                </a:lnTo>
                <a:lnTo>
                  <a:pt x="114165" y="184347"/>
                </a:lnTo>
                <a:lnTo>
                  <a:pt x="94661" y="189248"/>
                </a:lnTo>
                <a:lnTo>
                  <a:pt x="89866" y="189082"/>
                </a:lnTo>
                <a:lnTo>
                  <a:pt x="84128" y="187246"/>
                </a:lnTo>
                <a:lnTo>
                  <a:pt x="79571" y="188363"/>
                </a:lnTo>
                <a:lnTo>
                  <a:pt x="74751" y="193513"/>
                </a:lnTo>
                <a:lnTo>
                  <a:pt x="71335" y="200324"/>
                </a:lnTo>
                <a:lnTo>
                  <a:pt x="71020" y="206420"/>
                </a:lnTo>
                <a:lnTo>
                  <a:pt x="64127" y="203333"/>
                </a:lnTo>
                <a:lnTo>
                  <a:pt x="61018" y="203174"/>
                </a:lnTo>
                <a:lnTo>
                  <a:pt x="57814" y="205088"/>
                </a:lnTo>
                <a:lnTo>
                  <a:pt x="56040" y="197190"/>
                </a:lnTo>
                <a:lnTo>
                  <a:pt x="52514" y="191767"/>
                </a:lnTo>
                <a:lnTo>
                  <a:pt x="47518" y="188933"/>
                </a:lnTo>
                <a:lnTo>
                  <a:pt x="41337" y="188790"/>
                </a:lnTo>
                <a:lnTo>
                  <a:pt x="30239" y="191697"/>
                </a:lnTo>
                <a:lnTo>
                  <a:pt x="24436" y="190964"/>
                </a:lnTo>
                <a:lnTo>
                  <a:pt x="21958" y="185581"/>
                </a:lnTo>
                <a:lnTo>
                  <a:pt x="25754" y="170905"/>
                </a:lnTo>
                <a:lnTo>
                  <a:pt x="24748" y="166122"/>
                </a:lnTo>
                <a:lnTo>
                  <a:pt x="21856" y="163571"/>
                </a:lnTo>
                <a:lnTo>
                  <a:pt x="10152" y="159885"/>
                </a:lnTo>
                <a:lnTo>
                  <a:pt x="2646" y="152822"/>
                </a:lnTo>
                <a:lnTo>
                  <a:pt x="0" y="147956"/>
                </a:lnTo>
                <a:lnTo>
                  <a:pt x="859" y="143100"/>
                </a:lnTo>
                <a:lnTo>
                  <a:pt x="6929" y="141485"/>
                </a:lnTo>
                <a:lnTo>
                  <a:pt x="20937" y="146902"/>
                </a:lnTo>
                <a:lnTo>
                  <a:pt x="27141" y="145266"/>
                </a:lnTo>
                <a:lnTo>
                  <a:pt x="31219" y="140349"/>
                </a:lnTo>
                <a:lnTo>
                  <a:pt x="33237" y="135130"/>
                </a:lnTo>
                <a:lnTo>
                  <a:pt x="28750" y="122864"/>
                </a:lnTo>
                <a:lnTo>
                  <a:pt x="27207" y="120789"/>
                </a:lnTo>
                <a:lnTo>
                  <a:pt x="22555" y="117449"/>
                </a:lnTo>
                <a:lnTo>
                  <a:pt x="20068" y="112750"/>
                </a:lnTo>
                <a:lnTo>
                  <a:pt x="19765" y="107239"/>
                </a:lnTo>
                <a:lnTo>
                  <a:pt x="20935" y="101575"/>
                </a:lnTo>
                <a:lnTo>
                  <a:pt x="22846" y="96420"/>
                </a:lnTo>
                <a:lnTo>
                  <a:pt x="25606" y="91532"/>
                </a:lnTo>
                <a:lnTo>
                  <a:pt x="29034" y="87719"/>
                </a:lnTo>
                <a:lnTo>
                  <a:pt x="33022" y="84942"/>
                </a:lnTo>
                <a:lnTo>
                  <a:pt x="37429" y="83163"/>
                </a:lnTo>
                <a:lnTo>
                  <a:pt x="41002" y="79327"/>
                </a:lnTo>
                <a:lnTo>
                  <a:pt x="38881" y="73522"/>
                </a:lnTo>
                <a:lnTo>
                  <a:pt x="34307" y="67950"/>
                </a:lnTo>
                <a:lnTo>
                  <a:pt x="30531" y="64787"/>
                </a:lnTo>
                <a:lnTo>
                  <a:pt x="26849" y="62984"/>
                </a:lnTo>
                <a:lnTo>
                  <a:pt x="26419" y="61134"/>
                </a:lnTo>
                <a:lnTo>
                  <a:pt x="27692" y="57424"/>
                </a:lnTo>
                <a:lnTo>
                  <a:pt x="29250" y="55158"/>
                </a:lnTo>
                <a:lnTo>
                  <a:pt x="35708" y="50895"/>
                </a:lnTo>
                <a:lnTo>
                  <a:pt x="43462" y="49215"/>
                </a:lnTo>
                <a:lnTo>
                  <a:pt x="48519" y="43904"/>
                </a:lnTo>
                <a:lnTo>
                  <a:pt x="52399" y="44208"/>
                </a:lnTo>
                <a:lnTo>
                  <a:pt x="61991" y="43454"/>
                </a:lnTo>
                <a:lnTo>
                  <a:pt x="63753" y="44013"/>
                </a:lnTo>
                <a:lnTo>
                  <a:pt x="65073" y="45047"/>
                </a:lnTo>
                <a:lnTo>
                  <a:pt x="67408" y="48643"/>
                </a:lnTo>
                <a:lnTo>
                  <a:pt x="68331" y="49654"/>
                </a:lnTo>
                <a:lnTo>
                  <a:pt x="69448" y="50473"/>
                </a:lnTo>
                <a:lnTo>
                  <a:pt x="70865" y="51105"/>
                </a:lnTo>
                <a:lnTo>
                  <a:pt x="72467" y="51469"/>
                </a:lnTo>
                <a:lnTo>
                  <a:pt x="74712" y="51137"/>
                </a:lnTo>
                <a:lnTo>
                  <a:pt x="77188" y="50077"/>
                </a:lnTo>
                <a:lnTo>
                  <a:pt x="91497" y="39889"/>
                </a:lnTo>
                <a:lnTo>
                  <a:pt x="93933" y="37277"/>
                </a:lnTo>
                <a:lnTo>
                  <a:pt x="95186" y="36711"/>
                </a:lnTo>
                <a:lnTo>
                  <a:pt x="97420" y="36280"/>
                </a:lnTo>
                <a:lnTo>
                  <a:pt x="118886" y="35146"/>
                </a:lnTo>
                <a:lnTo>
                  <a:pt x="121020" y="34450"/>
                </a:lnTo>
                <a:lnTo>
                  <a:pt x="123332" y="33216"/>
                </a:lnTo>
                <a:lnTo>
                  <a:pt x="127108" y="30265"/>
                </a:lnTo>
                <a:lnTo>
                  <a:pt x="128806" y="28300"/>
                </a:lnTo>
                <a:lnTo>
                  <a:pt x="129820" y="26432"/>
                </a:lnTo>
                <a:lnTo>
                  <a:pt x="130998" y="21550"/>
                </a:lnTo>
                <a:lnTo>
                  <a:pt x="131553" y="20015"/>
                </a:lnTo>
                <a:lnTo>
                  <a:pt x="132272" y="18841"/>
                </a:lnTo>
                <a:lnTo>
                  <a:pt x="133494" y="17936"/>
                </a:lnTo>
                <a:lnTo>
                  <a:pt x="135136" y="17657"/>
                </a:lnTo>
                <a:lnTo>
                  <a:pt x="137701" y="18356"/>
                </a:lnTo>
                <a:lnTo>
                  <a:pt x="139225" y="19261"/>
                </a:lnTo>
                <a:lnTo>
                  <a:pt x="140495" y="20228"/>
                </a:lnTo>
                <a:lnTo>
                  <a:pt x="142543" y="22243"/>
                </a:lnTo>
                <a:lnTo>
                  <a:pt x="144788" y="23957"/>
                </a:lnTo>
                <a:lnTo>
                  <a:pt x="147420" y="25253"/>
                </a:lnTo>
                <a:lnTo>
                  <a:pt x="148974" y="25689"/>
                </a:lnTo>
                <a:lnTo>
                  <a:pt x="156870" y="23195"/>
                </a:lnTo>
                <a:lnTo>
                  <a:pt x="166217" y="18134"/>
                </a:lnTo>
                <a:lnTo>
                  <a:pt x="178306" y="14142"/>
                </a:lnTo>
                <a:lnTo>
                  <a:pt x="180792" y="13709"/>
                </a:lnTo>
                <a:lnTo>
                  <a:pt x="183961" y="12168"/>
                </a:lnTo>
                <a:close/>
              </a:path>
            </a:pathLst>
          </a:custGeom>
          <a:solidFill>
            <a:srgbClr val="F2F2F2"/>
          </a:solidFill>
          <a:ln w="9525" cap="rnd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5" name="Freeform 44">
            <a:extLst>
              <a:ext uri="{FF2B5EF4-FFF2-40B4-BE49-F238E27FC236}">
                <a16:creationId xmlns:a16="http://schemas.microsoft.com/office/drawing/2014/main" id="{1005E9F9-DD35-4F44-AA0C-41BE08480B52}"/>
              </a:ext>
            </a:extLst>
          </p:cNvPr>
          <p:cNvSpPr>
            <a:spLocks noChangeAspect="1"/>
          </p:cNvSpPr>
          <p:nvPr>
            <p:custDataLst>
              <p:tags r:id="rId15"/>
            </p:custDataLst>
          </p:nvPr>
        </p:nvSpPr>
        <p:spPr>
          <a:xfrm>
            <a:off x="8634197" y="3948060"/>
            <a:ext cx="472270" cy="268992"/>
          </a:xfrm>
          <a:custGeom>
            <a:avLst/>
            <a:gdLst/>
            <a:ahLst/>
            <a:cxnLst/>
            <a:rect l="l" t="t" r="r" b="b"/>
            <a:pathLst>
              <a:path w="325818" h="248070">
                <a:moveTo>
                  <a:pt x="38437" y="115836"/>
                </a:moveTo>
                <a:lnTo>
                  <a:pt x="35944" y="119583"/>
                </a:lnTo>
                <a:lnTo>
                  <a:pt x="33756" y="126245"/>
                </a:lnTo>
                <a:lnTo>
                  <a:pt x="32753" y="133350"/>
                </a:lnTo>
                <a:lnTo>
                  <a:pt x="33810" y="138408"/>
                </a:lnTo>
                <a:lnTo>
                  <a:pt x="37915" y="140180"/>
                </a:lnTo>
                <a:lnTo>
                  <a:pt x="41525" y="136580"/>
                </a:lnTo>
                <a:lnTo>
                  <a:pt x="43802" y="130689"/>
                </a:lnTo>
                <a:lnTo>
                  <a:pt x="43912" y="125602"/>
                </a:lnTo>
                <a:close/>
                <a:moveTo>
                  <a:pt x="192918" y="0"/>
                </a:moveTo>
                <a:lnTo>
                  <a:pt x="195644" y="780"/>
                </a:lnTo>
                <a:lnTo>
                  <a:pt x="206689" y="6815"/>
                </a:lnTo>
                <a:lnTo>
                  <a:pt x="213028" y="8973"/>
                </a:lnTo>
                <a:lnTo>
                  <a:pt x="214917" y="10157"/>
                </a:lnTo>
                <a:lnTo>
                  <a:pt x="216982" y="12245"/>
                </a:lnTo>
                <a:lnTo>
                  <a:pt x="220487" y="16989"/>
                </a:lnTo>
                <a:lnTo>
                  <a:pt x="221765" y="19493"/>
                </a:lnTo>
                <a:lnTo>
                  <a:pt x="222269" y="21087"/>
                </a:lnTo>
                <a:lnTo>
                  <a:pt x="221798" y="22155"/>
                </a:lnTo>
                <a:lnTo>
                  <a:pt x="220925" y="23061"/>
                </a:lnTo>
                <a:lnTo>
                  <a:pt x="219748" y="23796"/>
                </a:lnTo>
                <a:lnTo>
                  <a:pt x="215581" y="25174"/>
                </a:lnTo>
                <a:lnTo>
                  <a:pt x="215018" y="26234"/>
                </a:lnTo>
                <a:lnTo>
                  <a:pt x="215508" y="27640"/>
                </a:lnTo>
                <a:lnTo>
                  <a:pt x="217979" y="31292"/>
                </a:lnTo>
                <a:lnTo>
                  <a:pt x="218281" y="33016"/>
                </a:lnTo>
                <a:lnTo>
                  <a:pt x="217878" y="34426"/>
                </a:lnTo>
                <a:lnTo>
                  <a:pt x="217165" y="35713"/>
                </a:lnTo>
                <a:lnTo>
                  <a:pt x="216299" y="36897"/>
                </a:lnTo>
                <a:lnTo>
                  <a:pt x="213380" y="39873"/>
                </a:lnTo>
                <a:lnTo>
                  <a:pt x="211281" y="41604"/>
                </a:lnTo>
                <a:lnTo>
                  <a:pt x="202378" y="52720"/>
                </a:lnTo>
                <a:lnTo>
                  <a:pt x="201821" y="54020"/>
                </a:lnTo>
                <a:lnTo>
                  <a:pt x="201559" y="55450"/>
                </a:lnTo>
                <a:lnTo>
                  <a:pt x="201856" y="56819"/>
                </a:lnTo>
                <a:lnTo>
                  <a:pt x="202490" y="58008"/>
                </a:lnTo>
                <a:lnTo>
                  <a:pt x="204501" y="59646"/>
                </a:lnTo>
                <a:lnTo>
                  <a:pt x="219790" y="68521"/>
                </a:lnTo>
                <a:lnTo>
                  <a:pt x="220821" y="69422"/>
                </a:lnTo>
                <a:lnTo>
                  <a:pt x="222691" y="71498"/>
                </a:lnTo>
                <a:lnTo>
                  <a:pt x="226461" y="77663"/>
                </a:lnTo>
                <a:lnTo>
                  <a:pt x="228195" y="78495"/>
                </a:lnTo>
                <a:lnTo>
                  <a:pt x="230565" y="78997"/>
                </a:lnTo>
                <a:lnTo>
                  <a:pt x="261340" y="80158"/>
                </a:lnTo>
                <a:lnTo>
                  <a:pt x="264504" y="79643"/>
                </a:lnTo>
                <a:lnTo>
                  <a:pt x="266339" y="77495"/>
                </a:lnTo>
                <a:lnTo>
                  <a:pt x="267363" y="76598"/>
                </a:lnTo>
                <a:lnTo>
                  <a:pt x="268816" y="76418"/>
                </a:lnTo>
                <a:lnTo>
                  <a:pt x="270694" y="77087"/>
                </a:lnTo>
                <a:lnTo>
                  <a:pt x="274869" y="80513"/>
                </a:lnTo>
                <a:lnTo>
                  <a:pt x="285150" y="87163"/>
                </a:lnTo>
                <a:lnTo>
                  <a:pt x="318889" y="96425"/>
                </a:lnTo>
                <a:lnTo>
                  <a:pt x="325039" y="108472"/>
                </a:lnTo>
                <a:lnTo>
                  <a:pt x="325818" y="115131"/>
                </a:lnTo>
                <a:lnTo>
                  <a:pt x="324162" y="120983"/>
                </a:lnTo>
                <a:lnTo>
                  <a:pt x="319021" y="132269"/>
                </a:lnTo>
                <a:lnTo>
                  <a:pt x="315828" y="144317"/>
                </a:lnTo>
                <a:lnTo>
                  <a:pt x="313591" y="148983"/>
                </a:lnTo>
                <a:lnTo>
                  <a:pt x="309599" y="153017"/>
                </a:lnTo>
                <a:lnTo>
                  <a:pt x="298598" y="160578"/>
                </a:lnTo>
                <a:lnTo>
                  <a:pt x="292714" y="163219"/>
                </a:lnTo>
                <a:lnTo>
                  <a:pt x="259781" y="165535"/>
                </a:lnTo>
                <a:lnTo>
                  <a:pt x="258755" y="171111"/>
                </a:lnTo>
                <a:lnTo>
                  <a:pt x="257381" y="175440"/>
                </a:lnTo>
                <a:lnTo>
                  <a:pt x="257564" y="181132"/>
                </a:lnTo>
                <a:lnTo>
                  <a:pt x="258055" y="183967"/>
                </a:lnTo>
                <a:lnTo>
                  <a:pt x="259184" y="187561"/>
                </a:lnTo>
                <a:lnTo>
                  <a:pt x="259438" y="189220"/>
                </a:lnTo>
                <a:lnTo>
                  <a:pt x="258355" y="193297"/>
                </a:lnTo>
                <a:lnTo>
                  <a:pt x="252757" y="199397"/>
                </a:lnTo>
                <a:lnTo>
                  <a:pt x="245321" y="192419"/>
                </a:lnTo>
                <a:lnTo>
                  <a:pt x="240390" y="191891"/>
                </a:lnTo>
                <a:lnTo>
                  <a:pt x="237661" y="193437"/>
                </a:lnTo>
                <a:lnTo>
                  <a:pt x="233200" y="201071"/>
                </a:lnTo>
                <a:lnTo>
                  <a:pt x="232428" y="203593"/>
                </a:lnTo>
                <a:lnTo>
                  <a:pt x="231968" y="209225"/>
                </a:lnTo>
                <a:lnTo>
                  <a:pt x="230473" y="211024"/>
                </a:lnTo>
                <a:lnTo>
                  <a:pt x="224783" y="213275"/>
                </a:lnTo>
                <a:lnTo>
                  <a:pt x="223403" y="214405"/>
                </a:lnTo>
                <a:lnTo>
                  <a:pt x="220077" y="224564"/>
                </a:lnTo>
                <a:lnTo>
                  <a:pt x="220304" y="234499"/>
                </a:lnTo>
                <a:lnTo>
                  <a:pt x="219325" y="242225"/>
                </a:lnTo>
                <a:lnTo>
                  <a:pt x="212393" y="245777"/>
                </a:lnTo>
                <a:lnTo>
                  <a:pt x="198337" y="248070"/>
                </a:lnTo>
                <a:lnTo>
                  <a:pt x="193378" y="244925"/>
                </a:lnTo>
                <a:lnTo>
                  <a:pt x="188796" y="234427"/>
                </a:lnTo>
                <a:lnTo>
                  <a:pt x="184480" y="227998"/>
                </a:lnTo>
                <a:lnTo>
                  <a:pt x="177894" y="225311"/>
                </a:lnTo>
                <a:lnTo>
                  <a:pt x="136747" y="220336"/>
                </a:lnTo>
                <a:lnTo>
                  <a:pt x="114775" y="210259"/>
                </a:lnTo>
                <a:lnTo>
                  <a:pt x="111139" y="209499"/>
                </a:lnTo>
                <a:lnTo>
                  <a:pt x="98606" y="213222"/>
                </a:lnTo>
                <a:lnTo>
                  <a:pt x="63879" y="211236"/>
                </a:lnTo>
                <a:lnTo>
                  <a:pt x="57026" y="208927"/>
                </a:lnTo>
                <a:lnTo>
                  <a:pt x="54648" y="206948"/>
                </a:lnTo>
                <a:lnTo>
                  <a:pt x="54821" y="205018"/>
                </a:lnTo>
                <a:lnTo>
                  <a:pt x="55768" y="202596"/>
                </a:lnTo>
                <a:lnTo>
                  <a:pt x="55696" y="199139"/>
                </a:lnTo>
                <a:lnTo>
                  <a:pt x="53683" y="196296"/>
                </a:lnTo>
                <a:lnTo>
                  <a:pt x="50258" y="194399"/>
                </a:lnTo>
                <a:lnTo>
                  <a:pt x="46506" y="193394"/>
                </a:lnTo>
                <a:lnTo>
                  <a:pt x="43531" y="193237"/>
                </a:lnTo>
                <a:lnTo>
                  <a:pt x="40173" y="195155"/>
                </a:lnTo>
                <a:lnTo>
                  <a:pt x="35920" y="202327"/>
                </a:lnTo>
                <a:lnTo>
                  <a:pt x="33042" y="204130"/>
                </a:lnTo>
                <a:lnTo>
                  <a:pt x="27970" y="203199"/>
                </a:lnTo>
                <a:lnTo>
                  <a:pt x="12511" y="194542"/>
                </a:lnTo>
                <a:lnTo>
                  <a:pt x="3364" y="183094"/>
                </a:lnTo>
                <a:lnTo>
                  <a:pt x="1940" y="178635"/>
                </a:lnTo>
                <a:lnTo>
                  <a:pt x="3591" y="172582"/>
                </a:lnTo>
                <a:lnTo>
                  <a:pt x="8349" y="170715"/>
                </a:lnTo>
                <a:lnTo>
                  <a:pt x="27704" y="174283"/>
                </a:lnTo>
                <a:lnTo>
                  <a:pt x="30345" y="173742"/>
                </a:lnTo>
                <a:lnTo>
                  <a:pt x="32594" y="171166"/>
                </a:lnTo>
                <a:lnTo>
                  <a:pt x="32455" y="167766"/>
                </a:lnTo>
                <a:lnTo>
                  <a:pt x="30629" y="164544"/>
                </a:lnTo>
                <a:lnTo>
                  <a:pt x="27777" y="162509"/>
                </a:lnTo>
                <a:lnTo>
                  <a:pt x="9873" y="158738"/>
                </a:lnTo>
                <a:lnTo>
                  <a:pt x="4097" y="153813"/>
                </a:lnTo>
                <a:lnTo>
                  <a:pt x="2743" y="134513"/>
                </a:lnTo>
                <a:lnTo>
                  <a:pt x="0" y="125284"/>
                </a:lnTo>
                <a:lnTo>
                  <a:pt x="315" y="119188"/>
                </a:lnTo>
                <a:lnTo>
                  <a:pt x="3731" y="112377"/>
                </a:lnTo>
                <a:lnTo>
                  <a:pt x="8551" y="107227"/>
                </a:lnTo>
                <a:lnTo>
                  <a:pt x="13108" y="106110"/>
                </a:lnTo>
                <a:lnTo>
                  <a:pt x="18846" y="107946"/>
                </a:lnTo>
                <a:lnTo>
                  <a:pt x="23641" y="108112"/>
                </a:lnTo>
                <a:lnTo>
                  <a:pt x="43145" y="103211"/>
                </a:lnTo>
                <a:lnTo>
                  <a:pt x="45005" y="103320"/>
                </a:lnTo>
                <a:lnTo>
                  <a:pt x="47349" y="107118"/>
                </a:lnTo>
                <a:lnTo>
                  <a:pt x="49641" y="114542"/>
                </a:lnTo>
                <a:lnTo>
                  <a:pt x="51046" y="117494"/>
                </a:lnTo>
                <a:lnTo>
                  <a:pt x="54730" y="120984"/>
                </a:lnTo>
                <a:lnTo>
                  <a:pt x="58644" y="122013"/>
                </a:lnTo>
                <a:lnTo>
                  <a:pt x="62211" y="120284"/>
                </a:lnTo>
                <a:lnTo>
                  <a:pt x="64882" y="115509"/>
                </a:lnTo>
                <a:lnTo>
                  <a:pt x="65322" y="112133"/>
                </a:lnTo>
                <a:lnTo>
                  <a:pt x="65313" y="108399"/>
                </a:lnTo>
                <a:lnTo>
                  <a:pt x="65723" y="104934"/>
                </a:lnTo>
                <a:lnTo>
                  <a:pt x="67393" y="102355"/>
                </a:lnTo>
                <a:lnTo>
                  <a:pt x="69439" y="101617"/>
                </a:lnTo>
                <a:lnTo>
                  <a:pt x="71487" y="102108"/>
                </a:lnTo>
                <a:lnTo>
                  <a:pt x="73359" y="103499"/>
                </a:lnTo>
                <a:lnTo>
                  <a:pt x="74862" y="105489"/>
                </a:lnTo>
                <a:lnTo>
                  <a:pt x="76842" y="109926"/>
                </a:lnTo>
                <a:lnTo>
                  <a:pt x="78093" y="111206"/>
                </a:lnTo>
                <a:lnTo>
                  <a:pt x="80570" y="111746"/>
                </a:lnTo>
                <a:lnTo>
                  <a:pt x="84880" y="110740"/>
                </a:lnTo>
                <a:lnTo>
                  <a:pt x="135442" y="80133"/>
                </a:lnTo>
                <a:lnTo>
                  <a:pt x="137523" y="78248"/>
                </a:lnTo>
                <a:lnTo>
                  <a:pt x="138642" y="75568"/>
                </a:lnTo>
                <a:lnTo>
                  <a:pt x="138429" y="71542"/>
                </a:lnTo>
                <a:lnTo>
                  <a:pt x="137204" y="67922"/>
                </a:lnTo>
                <a:lnTo>
                  <a:pt x="135349" y="65167"/>
                </a:lnTo>
                <a:lnTo>
                  <a:pt x="126804" y="59002"/>
                </a:lnTo>
                <a:lnTo>
                  <a:pt x="125118" y="55083"/>
                </a:lnTo>
                <a:lnTo>
                  <a:pt x="125565" y="50718"/>
                </a:lnTo>
                <a:lnTo>
                  <a:pt x="135698" y="37391"/>
                </a:lnTo>
                <a:lnTo>
                  <a:pt x="134260" y="30429"/>
                </a:lnTo>
                <a:lnTo>
                  <a:pt x="130401" y="22924"/>
                </a:lnTo>
                <a:lnTo>
                  <a:pt x="130336" y="11978"/>
                </a:lnTo>
                <a:lnTo>
                  <a:pt x="132766" y="9077"/>
                </a:lnTo>
                <a:lnTo>
                  <a:pt x="136396" y="9740"/>
                </a:lnTo>
                <a:lnTo>
                  <a:pt x="143668" y="13239"/>
                </a:lnTo>
                <a:lnTo>
                  <a:pt x="145981" y="13233"/>
                </a:lnTo>
                <a:lnTo>
                  <a:pt x="152748" y="11433"/>
                </a:lnTo>
                <a:lnTo>
                  <a:pt x="157198" y="11946"/>
                </a:lnTo>
                <a:lnTo>
                  <a:pt x="164862" y="17329"/>
                </a:lnTo>
                <a:lnTo>
                  <a:pt x="169376" y="18316"/>
                </a:lnTo>
                <a:lnTo>
                  <a:pt x="173545" y="16714"/>
                </a:lnTo>
                <a:lnTo>
                  <a:pt x="177673" y="13286"/>
                </a:lnTo>
                <a:lnTo>
                  <a:pt x="181194" y="8809"/>
                </a:lnTo>
                <a:lnTo>
                  <a:pt x="181736" y="6542"/>
                </a:lnTo>
                <a:lnTo>
                  <a:pt x="185529" y="6195"/>
                </a:lnTo>
                <a:lnTo>
                  <a:pt x="186766" y="5828"/>
                </a:lnTo>
                <a:lnTo>
                  <a:pt x="188215" y="5184"/>
                </a:lnTo>
                <a:lnTo>
                  <a:pt x="189344" y="4249"/>
                </a:lnTo>
                <a:lnTo>
                  <a:pt x="191782" y="677"/>
                </a:lnTo>
                <a:close/>
              </a:path>
            </a:pathLst>
          </a:custGeom>
          <a:solidFill>
            <a:srgbClr val="F2F2F2"/>
          </a:solidFill>
          <a:ln w="9525" cap="rnd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6" name="CasellaDiTesto 75"/>
          <p:cNvSpPr txBox="1"/>
          <p:nvPr/>
        </p:nvSpPr>
        <p:spPr>
          <a:xfrm>
            <a:off x="6210155" y="5857831"/>
            <a:ext cx="126989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igures</a:t>
            </a:r>
            <a:r>
              <a:rPr kumimoji="0" lang="it-IT" sz="9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in </a:t>
            </a:r>
            <a:r>
              <a:rPr kumimoji="0" lang="it-IT" sz="9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ousands</a:t>
            </a:r>
            <a:endParaRPr kumimoji="0" lang="it-IT" sz="11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7" name="Elaborazione alternativa 76"/>
          <p:cNvSpPr/>
          <p:nvPr/>
        </p:nvSpPr>
        <p:spPr>
          <a:xfrm>
            <a:off x="1681177" y="739312"/>
            <a:ext cx="3134259" cy="258422"/>
          </a:xfrm>
          <a:prstGeom prst="flowChartAlternateProcess">
            <a:avLst/>
          </a:prstGeom>
          <a:noFill/>
          <a:ln w="1270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talian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Market</a:t>
            </a:r>
          </a:p>
        </p:txBody>
      </p:sp>
      <p:grpSp>
        <p:nvGrpSpPr>
          <p:cNvPr id="78" name="Gruppo 77"/>
          <p:cNvGrpSpPr/>
          <p:nvPr/>
        </p:nvGrpSpPr>
        <p:grpSpPr>
          <a:xfrm>
            <a:off x="419525" y="1246704"/>
            <a:ext cx="3754179" cy="4874615"/>
            <a:chOff x="1051588" y="1609775"/>
            <a:chExt cx="2772000" cy="2916000"/>
          </a:xfrm>
        </p:grpSpPr>
        <p:sp>
          <p:nvSpPr>
            <p:cNvPr id="79" name="Freeform 4348"/>
            <p:cNvSpPr>
              <a:spLocks/>
            </p:cNvSpPr>
            <p:nvPr/>
          </p:nvSpPr>
          <p:spPr bwMode="auto">
            <a:xfrm>
              <a:off x="2279941" y="2477041"/>
              <a:ext cx="402336" cy="382449"/>
            </a:xfrm>
            <a:custGeom>
              <a:avLst/>
              <a:gdLst>
                <a:gd name="T0" fmla="*/ 181 w 182"/>
                <a:gd name="T1" fmla="*/ 176 h 210"/>
                <a:gd name="T2" fmla="*/ 178 w 182"/>
                <a:gd name="T3" fmla="*/ 166 h 210"/>
                <a:gd name="T4" fmla="*/ 175 w 182"/>
                <a:gd name="T5" fmla="*/ 140 h 210"/>
                <a:gd name="T6" fmla="*/ 172 w 182"/>
                <a:gd name="T7" fmla="*/ 120 h 210"/>
                <a:gd name="T8" fmla="*/ 165 w 182"/>
                <a:gd name="T9" fmla="*/ 94 h 210"/>
                <a:gd name="T10" fmla="*/ 158 w 182"/>
                <a:gd name="T11" fmla="*/ 84 h 210"/>
                <a:gd name="T12" fmla="*/ 146 w 182"/>
                <a:gd name="T13" fmla="*/ 69 h 210"/>
                <a:gd name="T14" fmla="*/ 133 w 182"/>
                <a:gd name="T15" fmla="*/ 62 h 210"/>
                <a:gd name="T16" fmla="*/ 118 w 182"/>
                <a:gd name="T17" fmla="*/ 48 h 210"/>
                <a:gd name="T18" fmla="*/ 102 w 182"/>
                <a:gd name="T19" fmla="*/ 34 h 210"/>
                <a:gd name="T20" fmla="*/ 87 w 182"/>
                <a:gd name="T21" fmla="*/ 19 h 210"/>
                <a:gd name="T22" fmla="*/ 75 w 182"/>
                <a:gd name="T23" fmla="*/ 7 h 210"/>
                <a:gd name="T24" fmla="*/ 66 w 182"/>
                <a:gd name="T25" fmla="*/ 0 h 210"/>
                <a:gd name="T26" fmla="*/ 68 w 182"/>
                <a:gd name="T27" fmla="*/ 11 h 210"/>
                <a:gd name="T28" fmla="*/ 63 w 182"/>
                <a:gd name="T29" fmla="*/ 19 h 210"/>
                <a:gd name="T30" fmla="*/ 56 w 182"/>
                <a:gd name="T31" fmla="*/ 23 h 210"/>
                <a:gd name="T32" fmla="*/ 49 w 182"/>
                <a:gd name="T33" fmla="*/ 19 h 210"/>
                <a:gd name="T34" fmla="*/ 41 w 182"/>
                <a:gd name="T35" fmla="*/ 12 h 210"/>
                <a:gd name="T36" fmla="*/ 37 w 182"/>
                <a:gd name="T37" fmla="*/ 11 h 210"/>
                <a:gd name="T38" fmla="*/ 29 w 182"/>
                <a:gd name="T39" fmla="*/ 11 h 210"/>
                <a:gd name="T40" fmla="*/ 20 w 182"/>
                <a:gd name="T41" fmla="*/ 14 h 210"/>
                <a:gd name="T42" fmla="*/ 12 w 182"/>
                <a:gd name="T43" fmla="*/ 11 h 210"/>
                <a:gd name="T44" fmla="*/ 8 w 182"/>
                <a:gd name="T45" fmla="*/ 17 h 210"/>
                <a:gd name="T46" fmla="*/ 8 w 182"/>
                <a:gd name="T47" fmla="*/ 28 h 210"/>
                <a:gd name="T48" fmla="*/ 0 w 182"/>
                <a:gd name="T49" fmla="*/ 29 h 210"/>
                <a:gd name="T50" fmla="*/ 0 w 182"/>
                <a:gd name="T51" fmla="*/ 34 h 210"/>
                <a:gd name="T52" fmla="*/ 6 w 182"/>
                <a:gd name="T53" fmla="*/ 41 h 210"/>
                <a:gd name="T54" fmla="*/ 13 w 182"/>
                <a:gd name="T55" fmla="*/ 38 h 210"/>
                <a:gd name="T56" fmla="*/ 22 w 182"/>
                <a:gd name="T57" fmla="*/ 40 h 210"/>
                <a:gd name="T58" fmla="*/ 24 w 182"/>
                <a:gd name="T59" fmla="*/ 45 h 210"/>
                <a:gd name="T60" fmla="*/ 22 w 182"/>
                <a:gd name="T61" fmla="*/ 50 h 210"/>
                <a:gd name="T62" fmla="*/ 15 w 182"/>
                <a:gd name="T63" fmla="*/ 52 h 210"/>
                <a:gd name="T64" fmla="*/ 13 w 182"/>
                <a:gd name="T65" fmla="*/ 57 h 210"/>
                <a:gd name="T66" fmla="*/ 13 w 182"/>
                <a:gd name="T67" fmla="*/ 62 h 210"/>
                <a:gd name="T68" fmla="*/ 15 w 182"/>
                <a:gd name="T69" fmla="*/ 65 h 210"/>
                <a:gd name="T70" fmla="*/ 15 w 182"/>
                <a:gd name="T71" fmla="*/ 72 h 210"/>
                <a:gd name="T72" fmla="*/ 25 w 182"/>
                <a:gd name="T73" fmla="*/ 74 h 210"/>
                <a:gd name="T74" fmla="*/ 29 w 182"/>
                <a:gd name="T75" fmla="*/ 74 h 210"/>
                <a:gd name="T76" fmla="*/ 41 w 182"/>
                <a:gd name="T77" fmla="*/ 89 h 210"/>
                <a:gd name="T78" fmla="*/ 46 w 182"/>
                <a:gd name="T79" fmla="*/ 96 h 210"/>
                <a:gd name="T80" fmla="*/ 53 w 182"/>
                <a:gd name="T81" fmla="*/ 94 h 210"/>
                <a:gd name="T82" fmla="*/ 66 w 182"/>
                <a:gd name="T83" fmla="*/ 104 h 210"/>
                <a:gd name="T84" fmla="*/ 76 w 182"/>
                <a:gd name="T85" fmla="*/ 113 h 210"/>
                <a:gd name="T86" fmla="*/ 76 w 182"/>
                <a:gd name="T87" fmla="*/ 130 h 210"/>
                <a:gd name="T88" fmla="*/ 78 w 182"/>
                <a:gd name="T89" fmla="*/ 142 h 210"/>
                <a:gd name="T90" fmla="*/ 80 w 182"/>
                <a:gd name="T91" fmla="*/ 159 h 210"/>
                <a:gd name="T92" fmla="*/ 82 w 182"/>
                <a:gd name="T93" fmla="*/ 167 h 210"/>
                <a:gd name="T94" fmla="*/ 87 w 182"/>
                <a:gd name="T95" fmla="*/ 173 h 210"/>
                <a:gd name="T96" fmla="*/ 95 w 182"/>
                <a:gd name="T97" fmla="*/ 176 h 210"/>
                <a:gd name="T98" fmla="*/ 109 w 182"/>
                <a:gd name="T99" fmla="*/ 186 h 210"/>
                <a:gd name="T100" fmla="*/ 116 w 182"/>
                <a:gd name="T101" fmla="*/ 192 h 210"/>
                <a:gd name="T102" fmla="*/ 119 w 182"/>
                <a:gd name="T103" fmla="*/ 199 h 210"/>
                <a:gd name="T104" fmla="*/ 121 w 182"/>
                <a:gd name="T105" fmla="*/ 206 h 210"/>
                <a:gd name="T106" fmla="*/ 124 w 182"/>
                <a:gd name="T107" fmla="*/ 209 h 210"/>
                <a:gd name="T108" fmla="*/ 126 w 182"/>
                <a:gd name="T109" fmla="*/ 204 h 210"/>
                <a:gd name="T110" fmla="*/ 136 w 182"/>
                <a:gd name="T111" fmla="*/ 192 h 210"/>
                <a:gd name="T112" fmla="*/ 148 w 182"/>
                <a:gd name="T113" fmla="*/ 195 h 210"/>
                <a:gd name="T114" fmla="*/ 155 w 182"/>
                <a:gd name="T115" fmla="*/ 186 h 210"/>
                <a:gd name="T116" fmla="*/ 165 w 182"/>
                <a:gd name="T117" fmla="*/ 188 h 210"/>
                <a:gd name="T118" fmla="*/ 181 w 182"/>
                <a:gd name="T119" fmla="*/ 176 h 2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82"/>
                <a:gd name="T181" fmla="*/ 0 h 210"/>
                <a:gd name="T182" fmla="*/ 182 w 182"/>
                <a:gd name="T183" fmla="*/ 210 h 2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82" h="210">
                  <a:moveTo>
                    <a:pt x="181" y="176"/>
                  </a:moveTo>
                  <a:lnTo>
                    <a:pt x="178" y="166"/>
                  </a:lnTo>
                  <a:lnTo>
                    <a:pt x="175" y="140"/>
                  </a:lnTo>
                  <a:lnTo>
                    <a:pt x="172" y="120"/>
                  </a:lnTo>
                  <a:lnTo>
                    <a:pt x="165" y="94"/>
                  </a:lnTo>
                  <a:lnTo>
                    <a:pt x="158" y="84"/>
                  </a:lnTo>
                  <a:lnTo>
                    <a:pt x="146" y="69"/>
                  </a:lnTo>
                  <a:lnTo>
                    <a:pt x="133" y="62"/>
                  </a:lnTo>
                  <a:lnTo>
                    <a:pt x="118" y="48"/>
                  </a:lnTo>
                  <a:lnTo>
                    <a:pt x="102" y="34"/>
                  </a:lnTo>
                  <a:lnTo>
                    <a:pt x="87" y="19"/>
                  </a:lnTo>
                  <a:lnTo>
                    <a:pt x="75" y="7"/>
                  </a:lnTo>
                  <a:lnTo>
                    <a:pt x="66" y="0"/>
                  </a:lnTo>
                  <a:lnTo>
                    <a:pt x="68" y="11"/>
                  </a:lnTo>
                  <a:lnTo>
                    <a:pt x="63" y="19"/>
                  </a:lnTo>
                  <a:lnTo>
                    <a:pt x="56" y="23"/>
                  </a:lnTo>
                  <a:lnTo>
                    <a:pt x="49" y="19"/>
                  </a:lnTo>
                  <a:lnTo>
                    <a:pt x="41" y="12"/>
                  </a:lnTo>
                  <a:lnTo>
                    <a:pt x="37" y="11"/>
                  </a:lnTo>
                  <a:lnTo>
                    <a:pt x="29" y="11"/>
                  </a:lnTo>
                  <a:lnTo>
                    <a:pt x="20" y="14"/>
                  </a:lnTo>
                  <a:lnTo>
                    <a:pt x="12" y="11"/>
                  </a:lnTo>
                  <a:lnTo>
                    <a:pt x="8" y="17"/>
                  </a:lnTo>
                  <a:lnTo>
                    <a:pt x="8" y="28"/>
                  </a:lnTo>
                  <a:lnTo>
                    <a:pt x="0" y="29"/>
                  </a:lnTo>
                  <a:lnTo>
                    <a:pt x="0" y="34"/>
                  </a:lnTo>
                  <a:lnTo>
                    <a:pt x="6" y="41"/>
                  </a:lnTo>
                  <a:lnTo>
                    <a:pt x="13" y="38"/>
                  </a:lnTo>
                  <a:lnTo>
                    <a:pt x="22" y="40"/>
                  </a:lnTo>
                  <a:lnTo>
                    <a:pt x="24" y="45"/>
                  </a:lnTo>
                  <a:lnTo>
                    <a:pt x="22" y="50"/>
                  </a:lnTo>
                  <a:lnTo>
                    <a:pt x="15" y="52"/>
                  </a:lnTo>
                  <a:lnTo>
                    <a:pt x="13" y="57"/>
                  </a:lnTo>
                  <a:lnTo>
                    <a:pt x="13" y="62"/>
                  </a:lnTo>
                  <a:lnTo>
                    <a:pt x="15" y="65"/>
                  </a:lnTo>
                  <a:lnTo>
                    <a:pt x="15" y="72"/>
                  </a:lnTo>
                  <a:lnTo>
                    <a:pt x="25" y="74"/>
                  </a:lnTo>
                  <a:lnTo>
                    <a:pt x="29" y="74"/>
                  </a:lnTo>
                  <a:lnTo>
                    <a:pt x="41" y="89"/>
                  </a:lnTo>
                  <a:lnTo>
                    <a:pt x="46" y="96"/>
                  </a:lnTo>
                  <a:lnTo>
                    <a:pt x="53" y="94"/>
                  </a:lnTo>
                  <a:lnTo>
                    <a:pt x="66" y="104"/>
                  </a:lnTo>
                  <a:lnTo>
                    <a:pt x="76" y="113"/>
                  </a:lnTo>
                  <a:lnTo>
                    <a:pt x="76" y="130"/>
                  </a:lnTo>
                  <a:lnTo>
                    <a:pt x="78" y="142"/>
                  </a:lnTo>
                  <a:lnTo>
                    <a:pt x="80" y="159"/>
                  </a:lnTo>
                  <a:lnTo>
                    <a:pt x="82" y="167"/>
                  </a:lnTo>
                  <a:lnTo>
                    <a:pt x="87" y="173"/>
                  </a:lnTo>
                  <a:lnTo>
                    <a:pt x="95" y="176"/>
                  </a:lnTo>
                  <a:lnTo>
                    <a:pt x="109" y="186"/>
                  </a:lnTo>
                  <a:lnTo>
                    <a:pt x="116" y="192"/>
                  </a:lnTo>
                  <a:lnTo>
                    <a:pt x="119" y="199"/>
                  </a:lnTo>
                  <a:lnTo>
                    <a:pt x="121" y="206"/>
                  </a:lnTo>
                  <a:lnTo>
                    <a:pt x="124" y="209"/>
                  </a:lnTo>
                  <a:lnTo>
                    <a:pt x="126" y="204"/>
                  </a:lnTo>
                  <a:lnTo>
                    <a:pt x="136" y="192"/>
                  </a:lnTo>
                  <a:lnTo>
                    <a:pt x="148" y="195"/>
                  </a:lnTo>
                  <a:lnTo>
                    <a:pt x="155" y="186"/>
                  </a:lnTo>
                  <a:lnTo>
                    <a:pt x="165" y="188"/>
                  </a:lnTo>
                  <a:lnTo>
                    <a:pt x="181" y="176"/>
                  </a:lnTo>
                </a:path>
              </a:pathLst>
            </a:custGeom>
            <a:solidFill>
              <a:srgbClr val="AFDFDF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127844" tIns="63920" rIns="127844" bIns="63920" anchor="ctr"/>
            <a:lstStyle/>
            <a:p>
              <a:pPr marL="0" marR="0" lvl="0" indent="0" algn="ctr" defTabSz="95882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endParaRPr>
            </a:p>
          </p:txBody>
        </p:sp>
        <p:sp>
          <p:nvSpPr>
            <p:cNvPr id="80" name="Freeform 3449"/>
            <p:cNvSpPr>
              <a:spLocks/>
            </p:cNvSpPr>
            <p:nvPr/>
          </p:nvSpPr>
          <p:spPr bwMode="auto">
            <a:xfrm>
              <a:off x="1227303" y="3165167"/>
              <a:ext cx="426968" cy="671064"/>
            </a:xfrm>
            <a:custGeom>
              <a:avLst/>
              <a:gdLst>
                <a:gd name="T0" fmla="*/ 6 w 193"/>
                <a:gd name="T1" fmla="*/ 44 h 367"/>
                <a:gd name="T2" fmla="*/ 8 w 193"/>
                <a:gd name="T3" fmla="*/ 63 h 367"/>
                <a:gd name="T4" fmla="*/ 5 w 193"/>
                <a:gd name="T5" fmla="*/ 81 h 367"/>
                <a:gd name="T6" fmla="*/ 6 w 193"/>
                <a:gd name="T7" fmla="*/ 94 h 367"/>
                <a:gd name="T8" fmla="*/ 23 w 193"/>
                <a:gd name="T9" fmla="*/ 105 h 367"/>
                <a:gd name="T10" fmla="*/ 26 w 193"/>
                <a:gd name="T11" fmla="*/ 137 h 367"/>
                <a:gd name="T12" fmla="*/ 29 w 193"/>
                <a:gd name="T13" fmla="*/ 161 h 367"/>
                <a:gd name="T14" fmla="*/ 27 w 193"/>
                <a:gd name="T15" fmla="*/ 178 h 367"/>
                <a:gd name="T16" fmla="*/ 18 w 193"/>
                <a:gd name="T17" fmla="*/ 199 h 367"/>
                <a:gd name="T18" fmla="*/ 26 w 193"/>
                <a:gd name="T19" fmla="*/ 216 h 367"/>
                <a:gd name="T20" fmla="*/ 27 w 193"/>
                <a:gd name="T21" fmla="*/ 235 h 367"/>
                <a:gd name="T22" fmla="*/ 13 w 193"/>
                <a:gd name="T23" fmla="*/ 250 h 367"/>
                <a:gd name="T24" fmla="*/ 8 w 193"/>
                <a:gd name="T25" fmla="*/ 269 h 367"/>
                <a:gd name="T26" fmla="*/ 1 w 193"/>
                <a:gd name="T27" fmla="*/ 289 h 367"/>
                <a:gd name="T28" fmla="*/ 5 w 193"/>
                <a:gd name="T29" fmla="*/ 309 h 367"/>
                <a:gd name="T30" fmla="*/ 20 w 193"/>
                <a:gd name="T31" fmla="*/ 325 h 367"/>
                <a:gd name="T32" fmla="*/ 26 w 193"/>
                <a:gd name="T33" fmla="*/ 355 h 367"/>
                <a:gd name="T34" fmla="*/ 40 w 193"/>
                <a:gd name="T35" fmla="*/ 353 h 367"/>
                <a:gd name="T36" fmla="*/ 62 w 193"/>
                <a:gd name="T37" fmla="*/ 366 h 367"/>
                <a:gd name="T38" fmla="*/ 82 w 193"/>
                <a:gd name="T39" fmla="*/ 347 h 367"/>
                <a:gd name="T40" fmla="*/ 86 w 193"/>
                <a:gd name="T41" fmla="*/ 330 h 367"/>
                <a:gd name="T42" fmla="*/ 96 w 193"/>
                <a:gd name="T43" fmla="*/ 322 h 367"/>
                <a:gd name="T44" fmla="*/ 118 w 193"/>
                <a:gd name="T45" fmla="*/ 328 h 367"/>
                <a:gd name="T46" fmla="*/ 140 w 193"/>
                <a:gd name="T47" fmla="*/ 337 h 367"/>
                <a:gd name="T48" fmla="*/ 144 w 193"/>
                <a:gd name="T49" fmla="*/ 277 h 367"/>
                <a:gd name="T50" fmla="*/ 167 w 193"/>
                <a:gd name="T51" fmla="*/ 190 h 367"/>
                <a:gd name="T52" fmla="*/ 188 w 193"/>
                <a:gd name="T53" fmla="*/ 139 h 367"/>
                <a:gd name="T54" fmla="*/ 185 w 193"/>
                <a:gd name="T55" fmla="*/ 123 h 367"/>
                <a:gd name="T56" fmla="*/ 181 w 193"/>
                <a:gd name="T57" fmla="*/ 96 h 367"/>
                <a:gd name="T58" fmla="*/ 178 w 193"/>
                <a:gd name="T59" fmla="*/ 70 h 367"/>
                <a:gd name="T60" fmla="*/ 166 w 193"/>
                <a:gd name="T61" fmla="*/ 31 h 367"/>
                <a:gd name="T62" fmla="*/ 157 w 193"/>
                <a:gd name="T63" fmla="*/ 12 h 367"/>
                <a:gd name="T64" fmla="*/ 139 w 193"/>
                <a:gd name="T65" fmla="*/ 12 h 367"/>
                <a:gd name="T66" fmla="*/ 118 w 193"/>
                <a:gd name="T67" fmla="*/ 14 h 367"/>
                <a:gd name="T68" fmla="*/ 108 w 193"/>
                <a:gd name="T69" fmla="*/ 24 h 367"/>
                <a:gd name="T70" fmla="*/ 94 w 193"/>
                <a:gd name="T71" fmla="*/ 33 h 367"/>
                <a:gd name="T72" fmla="*/ 77 w 193"/>
                <a:gd name="T73" fmla="*/ 51 h 367"/>
                <a:gd name="T74" fmla="*/ 62 w 193"/>
                <a:gd name="T75" fmla="*/ 50 h 367"/>
                <a:gd name="T76" fmla="*/ 46 w 193"/>
                <a:gd name="T77" fmla="*/ 65 h 367"/>
                <a:gd name="T78" fmla="*/ 27 w 193"/>
                <a:gd name="T79" fmla="*/ 54 h 367"/>
                <a:gd name="T80" fmla="*/ 15 w 193"/>
                <a:gd name="T81" fmla="*/ 50 h 36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93"/>
                <a:gd name="T124" fmla="*/ 0 h 367"/>
                <a:gd name="T125" fmla="*/ 193 w 193"/>
                <a:gd name="T126" fmla="*/ 367 h 367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93" h="367">
                  <a:moveTo>
                    <a:pt x="15" y="37"/>
                  </a:moveTo>
                  <a:lnTo>
                    <a:pt x="6" y="44"/>
                  </a:lnTo>
                  <a:lnTo>
                    <a:pt x="6" y="54"/>
                  </a:lnTo>
                  <a:lnTo>
                    <a:pt x="8" y="63"/>
                  </a:lnTo>
                  <a:lnTo>
                    <a:pt x="1" y="71"/>
                  </a:lnTo>
                  <a:lnTo>
                    <a:pt x="5" y="81"/>
                  </a:lnTo>
                  <a:lnTo>
                    <a:pt x="1" y="93"/>
                  </a:lnTo>
                  <a:lnTo>
                    <a:pt x="6" y="94"/>
                  </a:lnTo>
                  <a:lnTo>
                    <a:pt x="18" y="93"/>
                  </a:lnTo>
                  <a:lnTo>
                    <a:pt x="23" y="105"/>
                  </a:lnTo>
                  <a:lnTo>
                    <a:pt x="27" y="123"/>
                  </a:lnTo>
                  <a:lnTo>
                    <a:pt x="26" y="137"/>
                  </a:lnTo>
                  <a:lnTo>
                    <a:pt x="33" y="149"/>
                  </a:lnTo>
                  <a:lnTo>
                    <a:pt x="29" y="161"/>
                  </a:lnTo>
                  <a:lnTo>
                    <a:pt x="27" y="168"/>
                  </a:lnTo>
                  <a:lnTo>
                    <a:pt x="27" y="178"/>
                  </a:lnTo>
                  <a:lnTo>
                    <a:pt x="18" y="187"/>
                  </a:lnTo>
                  <a:lnTo>
                    <a:pt x="18" y="199"/>
                  </a:lnTo>
                  <a:lnTo>
                    <a:pt x="18" y="207"/>
                  </a:lnTo>
                  <a:lnTo>
                    <a:pt x="26" y="216"/>
                  </a:lnTo>
                  <a:lnTo>
                    <a:pt x="27" y="224"/>
                  </a:lnTo>
                  <a:lnTo>
                    <a:pt x="27" y="235"/>
                  </a:lnTo>
                  <a:lnTo>
                    <a:pt x="17" y="244"/>
                  </a:lnTo>
                  <a:lnTo>
                    <a:pt x="13" y="250"/>
                  </a:lnTo>
                  <a:lnTo>
                    <a:pt x="11" y="263"/>
                  </a:lnTo>
                  <a:lnTo>
                    <a:pt x="8" y="269"/>
                  </a:lnTo>
                  <a:lnTo>
                    <a:pt x="3" y="272"/>
                  </a:lnTo>
                  <a:lnTo>
                    <a:pt x="1" y="289"/>
                  </a:lnTo>
                  <a:lnTo>
                    <a:pt x="0" y="303"/>
                  </a:lnTo>
                  <a:lnTo>
                    <a:pt x="5" y="309"/>
                  </a:lnTo>
                  <a:lnTo>
                    <a:pt x="13" y="320"/>
                  </a:lnTo>
                  <a:lnTo>
                    <a:pt x="20" y="325"/>
                  </a:lnTo>
                  <a:lnTo>
                    <a:pt x="25" y="339"/>
                  </a:lnTo>
                  <a:lnTo>
                    <a:pt x="26" y="355"/>
                  </a:lnTo>
                  <a:lnTo>
                    <a:pt x="33" y="361"/>
                  </a:lnTo>
                  <a:lnTo>
                    <a:pt x="40" y="353"/>
                  </a:lnTo>
                  <a:lnTo>
                    <a:pt x="46" y="353"/>
                  </a:lnTo>
                  <a:lnTo>
                    <a:pt x="62" y="366"/>
                  </a:lnTo>
                  <a:lnTo>
                    <a:pt x="69" y="355"/>
                  </a:lnTo>
                  <a:lnTo>
                    <a:pt x="82" y="347"/>
                  </a:lnTo>
                  <a:lnTo>
                    <a:pt x="91" y="342"/>
                  </a:lnTo>
                  <a:lnTo>
                    <a:pt x="86" y="330"/>
                  </a:lnTo>
                  <a:lnTo>
                    <a:pt x="84" y="320"/>
                  </a:lnTo>
                  <a:lnTo>
                    <a:pt x="96" y="322"/>
                  </a:lnTo>
                  <a:lnTo>
                    <a:pt x="111" y="316"/>
                  </a:lnTo>
                  <a:lnTo>
                    <a:pt x="118" y="328"/>
                  </a:lnTo>
                  <a:lnTo>
                    <a:pt x="125" y="330"/>
                  </a:lnTo>
                  <a:lnTo>
                    <a:pt x="140" y="337"/>
                  </a:lnTo>
                  <a:lnTo>
                    <a:pt x="146" y="333"/>
                  </a:lnTo>
                  <a:lnTo>
                    <a:pt x="144" y="277"/>
                  </a:lnTo>
                  <a:lnTo>
                    <a:pt x="154" y="243"/>
                  </a:lnTo>
                  <a:lnTo>
                    <a:pt x="167" y="190"/>
                  </a:lnTo>
                  <a:lnTo>
                    <a:pt x="169" y="157"/>
                  </a:lnTo>
                  <a:lnTo>
                    <a:pt x="188" y="139"/>
                  </a:lnTo>
                  <a:lnTo>
                    <a:pt x="192" y="132"/>
                  </a:lnTo>
                  <a:lnTo>
                    <a:pt x="185" y="123"/>
                  </a:lnTo>
                  <a:lnTo>
                    <a:pt x="183" y="110"/>
                  </a:lnTo>
                  <a:lnTo>
                    <a:pt x="181" y="96"/>
                  </a:lnTo>
                  <a:lnTo>
                    <a:pt x="173" y="83"/>
                  </a:lnTo>
                  <a:lnTo>
                    <a:pt x="178" y="70"/>
                  </a:lnTo>
                  <a:lnTo>
                    <a:pt x="166" y="59"/>
                  </a:lnTo>
                  <a:lnTo>
                    <a:pt x="166" y="31"/>
                  </a:lnTo>
                  <a:lnTo>
                    <a:pt x="156" y="22"/>
                  </a:lnTo>
                  <a:lnTo>
                    <a:pt x="157" y="12"/>
                  </a:lnTo>
                  <a:lnTo>
                    <a:pt x="146" y="8"/>
                  </a:lnTo>
                  <a:lnTo>
                    <a:pt x="139" y="12"/>
                  </a:lnTo>
                  <a:lnTo>
                    <a:pt x="132" y="0"/>
                  </a:lnTo>
                  <a:lnTo>
                    <a:pt x="118" y="14"/>
                  </a:lnTo>
                  <a:lnTo>
                    <a:pt x="116" y="20"/>
                  </a:lnTo>
                  <a:lnTo>
                    <a:pt x="108" y="24"/>
                  </a:lnTo>
                  <a:lnTo>
                    <a:pt x="103" y="22"/>
                  </a:lnTo>
                  <a:lnTo>
                    <a:pt x="94" y="33"/>
                  </a:lnTo>
                  <a:lnTo>
                    <a:pt x="93" y="39"/>
                  </a:lnTo>
                  <a:lnTo>
                    <a:pt x="77" y="51"/>
                  </a:lnTo>
                  <a:lnTo>
                    <a:pt x="72" y="48"/>
                  </a:lnTo>
                  <a:lnTo>
                    <a:pt x="62" y="50"/>
                  </a:lnTo>
                  <a:lnTo>
                    <a:pt x="57" y="58"/>
                  </a:lnTo>
                  <a:lnTo>
                    <a:pt x="46" y="65"/>
                  </a:lnTo>
                  <a:lnTo>
                    <a:pt x="36" y="63"/>
                  </a:lnTo>
                  <a:lnTo>
                    <a:pt x="27" y="54"/>
                  </a:lnTo>
                  <a:lnTo>
                    <a:pt x="22" y="54"/>
                  </a:lnTo>
                  <a:lnTo>
                    <a:pt x="15" y="50"/>
                  </a:lnTo>
                  <a:lnTo>
                    <a:pt x="15" y="37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l" defTabSz="9143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endParaRPr>
            </a:p>
          </p:txBody>
        </p:sp>
        <p:sp>
          <p:nvSpPr>
            <p:cNvPr id="81" name="Freeform 3550"/>
            <p:cNvSpPr>
              <a:spLocks/>
            </p:cNvSpPr>
            <p:nvPr/>
          </p:nvSpPr>
          <p:spPr bwMode="auto">
            <a:xfrm>
              <a:off x="3092817" y="3571785"/>
              <a:ext cx="382627" cy="618459"/>
            </a:xfrm>
            <a:custGeom>
              <a:avLst/>
              <a:gdLst>
                <a:gd name="T0" fmla="*/ 0 w 173"/>
                <a:gd name="T1" fmla="*/ 8 h 339"/>
                <a:gd name="T2" fmla="*/ 8 w 173"/>
                <a:gd name="T3" fmla="*/ 24 h 339"/>
                <a:gd name="T4" fmla="*/ 6 w 173"/>
                <a:gd name="T5" fmla="*/ 36 h 339"/>
                <a:gd name="T6" fmla="*/ 10 w 173"/>
                <a:gd name="T7" fmla="*/ 48 h 339"/>
                <a:gd name="T8" fmla="*/ 24 w 173"/>
                <a:gd name="T9" fmla="*/ 73 h 339"/>
                <a:gd name="T10" fmla="*/ 38 w 173"/>
                <a:gd name="T11" fmla="*/ 97 h 339"/>
                <a:gd name="T12" fmla="*/ 41 w 173"/>
                <a:gd name="T13" fmla="*/ 107 h 339"/>
                <a:gd name="T14" fmla="*/ 41 w 173"/>
                <a:gd name="T15" fmla="*/ 132 h 339"/>
                <a:gd name="T16" fmla="*/ 45 w 173"/>
                <a:gd name="T17" fmla="*/ 144 h 339"/>
                <a:gd name="T18" fmla="*/ 57 w 173"/>
                <a:gd name="T19" fmla="*/ 164 h 339"/>
                <a:gd name="T20" fmla="*/ 60 w 173"/>
                <a:gd name="T21" fmla="*/ 171 h 339"/>
                <a:gd name="T22" fmla="*/ 62 w 173"/>
                <a:gd name="T23" fmla="*/ 188 h 339"/>
                <a:gd name="T24" fmla="*/ 60 w 173"/>
                <a:gd name="T25" fmla="*/ 198 h 339"/>
                <a:gd name="T26" fmla="*/ 45 w 173"/>
                <a:gd name="T27" fmla="*/ 206 h 339"/>
                <a:gd name="T28" fmla="*/ 40 w 173"/>
                <a:gd name="T29" fmla="*/ 209 h 339"/>
                <a:gd name="T30" fmla="*/ 40 w 173"/>
                <a:gd name="T31" fmla="*/ 215 h 339"/>
                <a:gd name="T32" fmla="*/ 36 w 173"/>
                <a:gd name="T33" fmla="*/ 215 h 339"/>
                <a:gd name="T34" fmla="*/ 23 w 173"/>
                <a:gd name="T35" fmla="*/ 217 h 339"/>
                <a:gd name="T36" fmla="*/ 20 w 173"/>
                <a:gd name="T37" fmla="*/ 227 h 339"/>
                <a:gd name="T38" fmla="*/ 23 w 173"/>
                <a:gd name="T39" fmla="*/ 243 h 339"/>
                <a:gd name="T40" fmla="*/ 16 w 173"/>
                <a:gd name="T41" fmla="*/ 260 h 339"/>
                <a:gd name="T42" fmla="*/ 12 w 173"/>
                <a:gd name="T43" fmla="*/ 274 h 339"/>
                <a:gd name="T44" fmla="*/ 2 w 173"/>
                <a:gd name="T45" fmla="*/ 282 h 339"/>
                <a:gd name="T46" fmla="*/ 0 w 173"/>
                <a:gd name="T47" fmla="*/ 293 h 339"/>
                <a:gd name="T48" fmla="*/ 3 w 173"/>
                <a:gd name="T49" fmla="*/ 308 h 339"/>
                <a:gd name="T50" fmla="*/ 0 w 173"/>
                <a:gd name="T51" fmla="*/ 323 h 339"/>
                <a:gd name="T52" fmla="*/ 12 w 173"/>
                <a:gd name="T53" fmla="*/ 338 h 339"/>
                <a:gd name="T54" fmla="*/ 28 w 173"/>
                <a:gd name="T55" fmla="*/ 332 h 339"/>
                <a:gd name="T56" fmla="*/ 43 w 173"/>
                <a:gd name="T57" fmla="*/ 332 h 339"/>
                <a:gd name="T58" fmla="*/ 55 w 173"/>
                <a:gd name="T59" fmla="*/ 318 h 339"/>
                <a:gd name="T60" fmla="*/ 57 w 173"/>
                <a:gd name="T61" fmla="*/ 294 h 339"/>
                <a:gd name="T62" fmla="*/ 76 w 173"/>
                <a:gd name="T63" fmla="*/ 279 h 339"/>
                <a:gd name="T64" fmla="*/ 94 w 173"/>
                <a:gd name="T65" fmla="*/ 262 h 339"/>
                <a:gd name="T66" fmla="*/ 106 w 173"/>
                <a:gd name="T67" fmla="*/ 241 h 339"/>
                <a:gd name="T68" fmla="*/ 106 w 173"/>
                <a:gd name="T69" fmla="*/ 215 h 339"/>
                <a:gd name="T70" fmla="*/ 144 w 173"/>
                <a:gd name="T71" fmla="*/ 188 h 339"/>
                <a:gd name="T72" fmla="*/ 159 w 173"/>
                <a:gd name="T73" fmla="*/ 185 h 339"/>
                <a:gd name="T74" fmla="*/ 169 w 173"/>
                <a:gd name="T75" fmla="*/ 175 h 339"/>
                <a:gd name="T76" fmla="*/ 171 w 173"/>
                <a:gd name="T77" fmla="*/ 151 h 339"/>
                <a:gd name="T78" fmla="*/ 166 w 173"/>
                <a:gd name="T79" fmla="*/ 139 h 339"/>
                <a:gd name="T80" fmla="*/ 172 w 173"/>
                <a:gd name="T81" fmla="*/ 116 h 339"/>
                <a:gd name="T82" fmla="*/ 172 w 173"/>
                <a:gd name="T83" fmla="*/ 102 h 339"/>
                <a:gd name="T84" fmla="*/ 167 w 173"/>
                <a:gd name="T85" fmla="*/ 95 h 339"/>
                <a:gd name="T86" fmla="*/ 152 w 173"/>
                <a:gd name="T87" fmla="*/ 90 h 339"/>
                <a:gd name="T88" fmla="*/ 127 w 173"/>
                <a:gd name="T89" fmla="*/ 68 h 339"/>
                <a:gd name="T90" fmla="*/ 108 w 173"/>
                <a:gd name="T91" fmla="*/ 68 h 339"/>
                <a:gd name="T92" fmla="*/ 101 w 173"/>
                <a:gd name="T93" fmla="*/ 49 h 339"/>
                <a:gd name="T94" fmla="*/ 108 w 173"/>
                <a:gd name="T95" fmla="*/ 42 h 339"/>
                <a:gd name="T96" fmla="*/ 115 w 173"/>
                <a:gd name="T97" fmla="*/ 34 h 339"/>
                <a:gd name="T98" fmla="*/ 115 w 173"/>
                <a:gd name="T99" fmla="*/ 19 h 339"/>
                <a:gd name="T100" fmla="*/ 111 w 173"/>
                <a:gd name="T101" fmla="*/ 2 h 339"/>
                <a:gd name="T102" fmla="*/ 94 w 173"/>
                <a:gd name="T103" fmla="*/ 0 h 339"/>
                <a:gd name="T104" fmla="*/ 87 w 173"/>
                <a:gd name="T105" fmla="*/ 24 h 339"/>
                <a:gd name="T106" fmla="*/ 74 w 173"/>
                <a:gd name="T107" fmla="*/ 27 h 339"/>
                <a:gd name="T108" fmla="*/ 64 w 173"/>
                <a:gd name="T109" fmla="*/ 27 h 339"/>
                <a:gd name="T110" fmla="*/ 58 w 173"/>
                <a:gd name="T111" fmla="*/ 32 h 339"/>
                <a:gd name="T112" fmla="*/ 38 w 173"/>
                <a:gd name="T113" fmla="*/ 17 h 339"/>
                <a:gd name="T114" fmla="*/ 28 w 173"/>
                <a:gd name="T115" fmla="*/ 22 h 339"/>
                <a:gd name="T116" fmla="*/ 18 w 173"/>
                <a:gd name="T117" fmla="*/ 22 h 339"/>
                <a:gd name="T118" fmla="*/ 8 w 173"/>
                <a:gd name="T119" fmla="*/ 10 h 339"/>
                <a:gd name="T120" fmla="*/ 0 w 173"/>
                <a:gd name="T121" fmla="*/ 8 h 33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73"/>
                <a:gd name="T184" fmla="*/ 0 h 339"/>
                <a:gd name="T185" fmla="*/ 173 w 173"/>
                <a:gd name="T186" fmla="*/ 339 h 33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73" h="339">
                  <a:moveTo>
                    <a:pt x="0" y="8"/>
                  </a:moveTo>
                  <a:lnTo>
                    <a:pt x="8" y="24"/>
                  </a:lnTo>
                  <a:lnTo>
                    <a:pt x="6" y="36"/>
                  </a:lnTo>
                  <a:lnTo>
                    <a:pt x="10" y="48"/>
                  </a:lnTo>
                  <a:lnTo>
                    <a:pt x="24" y="73"/>
                  </a:lnTo>
                  <a:lnTo>
                    <a:pt x="38" y="97"/>
                  </a:lnTo>
                  <a:lnTo>
                    <a:pt x="41" y="107"/>
                  </a:lnTo>
                  <a:lnTo>
                    <a:pt x="41" y="132"/>
                  </a:lnTo>
                  <a:lnTo>
                    <a:pt x="45" y="144"/>
                  </a:lnTo>
                  <a:lnTo>
                    <a:pt x="57" y="164"/>
                  </a:lnTo>
                  <a:lnTo>
                    <a:pt x="60" y="171"/>
                  </a:lnTo>
                  <a:lnTo>
                    <a:pt x="62" y="188"/>
                  </a:lnTo>
                  <a:lnTo>
                    <a:pt x="60" y="198"/>
                  </a:lnTo>
                  <a:lnTo>
                    <a:pt x="45" y="206"/>
                  </a:lnTo>
                  <a:lnTo>
                    <a:pt x="40" y="209"/>
                  </a:lnTo>
                  <a:lnTo>
                    <a:pt x="40" y="215"/>
                  </a:lnTo>
                  <a:lnTo>
                    <a:pt x="36" y="215"/>
                  </a:lnTo>
                  <a:lnTo>
                    <a:pt x="23" y="217"/>
                  </a:lnTo>
                  <a:lnTo>
                    <a:pt x="20" y="227"/>
                  </a:lnTo>
                  <a:lnTo>
                    <a:pt x="23" y="243"/>
                  </a:lnTo>
                  <a:lnTo>
                    <a:pt x="16" y="260"/>
                  </a:lnTo>
                  <a:lnTo>
                    <a:pt x="12" y="274"/>
                  </a:lnTo>
                  <a:lnTo>
                    <a:pt x="2" y="282"/>
                  </a:lnTo>
                  <a:lnTo>
                    <a:pt x="0" y="293"/>
                  </a:lnTo>
                  <a:lnTo>
                    <a:pt x="3" y="308"/>
                  </a:lnTo>
                  <a:lnTo>
                    <a:pt x="0" y="323"/>
                  </a:lnTo>
                  <a:lnTo>
                    <a:pt x="12" y="338"/>
                  </a:lnTo>
                  <a:lnTo>
                    <a:pt x="28" y="332"/>
                  </a:lnTo>
                  <a:lnTo>
                    <a:pt x="43" y="332"/>
                  </a:lnTo>
                  <a:lnTo>
                    <a:pt x="55" y="318"/>
                  </a:lnTo>
                  <a:lnTo>
                    <a:pt x="57" y="294"/>
                  </a:lnTo>
                  <a:lnTo>
                    <a:pt x="76" y="279"/>
                  </a:lnTo>
                  <a:lnTo>
                    <a:pt x="94" y="262"/>
                  </a:lnTo>
                  <a:lnTo>
                    <a:pt x="106" y="241"/>
                  </a:lnTo>
                  <a:lnTo>
                    <a:pt x="106" y="215"/>
                  </a:lnTo>
                  <a:lnTo>
                    <a:pt x="144" y="188"/>
                  </a:lnTo>
                  <a:lnTo>
                    <a:pt x="159" y="185"/>
                  </a:lnTo>
                  <a:lnTo>
                    <a:pt x="169" y="175"/>
                  </a:lnTo>
                  <a:lnTo>
                    <a:pt x="171" y="151"/>
                  </a:lnTo>
                  <a:lnTo>
                    <a:pt x="166" y="139"/>
                  </a:lnTo>
                  <a:lnTo>
                    <a:pt x="172" y="116"/>
                  </a:lnTo>
                  <a:lnTo>
                    <a:pt x="172" y="102"/>
                  </a:lnTo>
                  <a:lnTo>
                    <a:pt x="167" y="95"/>
                  </a:lnTo>
                  <a:lnTo>
                    <a:pt x="152" y="90"/>
                  </a:lnTo>
                  <a:lnTo>
                    <a:pt x="127" y="68"/>
                  </a:lnTo>
                  <a:lnTo>
                    <a:pt x="108" y="68"/>
                  </a:lnTo>
                  <a:lnTo>
                    <a:pt x="101" y="49"/>
                  </a:lnTo>
                  <a:lnTo>
                    <a:pt x="108" y="42"/>
                  </a:lnTo>
                  <a:lnTo>
                    <a:pt x="115" y="34"/>
                  </a:lnTo>
                  <a:lnTo>
                    <a:pt x="115" y="19"/>
                  </a:lnTo>
                  <a:lnTo>
                    <a:pt x="111" y="2"/>
                  </a:lnTo>
                  <a:lnTo>
                    <a:pt x="94" y="0"/>
                  </a:lnTo>
                  <a:lnTo>
                    <a:pt x="87" y="24"/>
                  </a:lnTo>
                  <a:lnTo>
                    <a:pt x="74" y="27"/>
                  </a:lnTo>
                  <a:lnTo>
                    <a:pt x="64" y="27"/>
                  </a:lnTo>
                  <a:lnTo>
                    <a:pt x="58" y="32"/>
                  </a:lnTo>
                  <a:lnTo>
                    <a:pt x="38" y="17"/>
                  </a:lnTo>
                  <a:lnTo>
                    <a:pt x="28" y="22"/>
                  </a:lnTo>
                  <a:lnTo>
                    <a:pt x="18" y="22"/>
                  </a:lnTo>
                  <a:lnTo>
                    <a:pt x="8" y="10"/>
                  </a:lnTo>
                  <a:lnTo>
                    <a:pt x="0" y="8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l" defTabSz="9143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endParaRPr>
            </a:p>
          </p:txBody>
        </p:sp>
        <p:sp>
          <p:nvSpPr>
            <p:cNvPr id="82" name="Freeform 3651"/>
            <p:cNvSpPr>
              <a:spLocks/>
            </p:cNvSpPr>
            <p:nvPr/>
          </p:nvSpPr>
          <p:spPr bwMode="auto">
            <a:xfrm>
              <a:off x="3043551" y="3290279"/>
              <a:ext cx="376059" cy="341220"/>
            </a:xfrm>
            <a:custGeom>
              <a:avLst/>
              <a:gdLst>
                <a:gd name="T0" fmla="*/ 132 w 169"/>
                <a:gd name="T1" fmla="*/ 156 h 186"/>
                <a:gd name="T2" fmla="*/ 149 w 169"/>
                <a:gd name="T3" fmla="*/ 134 h 186"/>
                <a:gd name="T4" fmla="*/ 148 w 169"/>
                <a:gd name="T5" fmla="*/ 127 h 186"/>
                <a:gd name="T6" fmla="*/ 159 w 169"/>
                <a:gd name="T7" fmla="*/ 114 h 186"/>
                <a:gd name="T8" fmla="*/ 168 w 169"/>
                <a:gd name="T9" fmla="*/ 110 h 186"/>
                <a:gd name="T10" fmla="*/ 158 w 169"/>
                <a:gd name="T11" fmla="*/ 95 h 186"/>
                <a:gd name="T12" fmla="*/ 149 w 169"/>
                <a:gd name="T13" fmla="*/ 76 h 186"/>
                <a:gd name="T14" fmla="*/ 146 w 169"/>
                <a:gd name="T15" fmla="*/ 61 h 186"/>
                <a:gd name="T16" fmla="*/ 137 w 169"/>
                <a:gd name="T17" fmla="*/ 59 h 186"/>
                <a:gd name="T18" fmla="*/ 114 w 169"/>
                <a:gd name="T19" fmla="*/ 62 h 186"/>
                <a:gd name="T20" fmla="*/ 106 w 169"/>
                <a:gd name="T21" fmla="*/ 59 h 186"/>
                <a:gd name="T22" fmla="*/ 106 w 169"/>
                <a:gd name="T23" fmla="*/ 50 h 186"/>
                <a:gd name="T24" fmla="*/ 106 w 169"/>
                <a:gd name="T25" fmla="*/ 40 h 186"/>
                <a:gd name="T26" fmla="*/ 101 w 169"/>
                <a:gd name="T27" fmla="*/ 35 h 186"/>
                <a:gd name="T28" fmla="*/ 91 w 169"/>
                <a:gd name="T29" fmla="*/ 35 h 186"/>
                <a:gd name="T30" fmla="*/ 79 w 169"/>
                <a:gd name="T31" fmla="*/ 28 h 186"/>
                <a:gd name="T32" fmla="*/ 70 w 169"/>
                <a:gd name="T33" fmla="*/ 14 h 186"/>
                <a:gd name="T34" fmla="*/ 67 w 169"/>
                <a:gd name="T35" fmla="*/ 3 h 186"/>
                <a:gd name="T36" fmla="*/ 61 w 169"/>
                <a:gd name="T37" fmla="*/ 0 h 186"/>
                <a:gd name="T38" fmla="*/ 50 w 169"/>
                <a:gd name="T39" fmla="*/ 7 h 186"/>
                <a:gd name="T40" fmla="*/ 29 w 169"/>
                <a:gd name="T41" fmla="*/ 5 h 186"/>
                <a:gd name="T42" fmla="*/ 19 w 169"/>
                <a:gd name="T43" fmla="*/ 26 h 186"/>
                <a:gd name="T44" fmla="*/ 15 w 169"/>
                <a:gd name="T45" fmla="*/ 30 h 186"/>
                <a:gd name="T46" fmla="*/ 3 w 169"/>
                <a:gd name="T47" fmla="*/ 32 h 186"/>
                <a:gd name="T48" fmla="*/ 0 w 169"/>
                <a:gd name="T49" fmla="*/ 38 h 186"/>
                <a:gd name="T50" fmla="*/ 12 w 169"/>
                <a:gd name="T51" fmla="*/ 49 h 186"/>
                <a:gd name="T52" fmla="*/ 10 w 169"/>
                <a:gd name="T53" fmla="*/ 59 h 186"/>
                <a:gd name="T54" fmla="*/ 3 w 169"/>
                <a:gd name="T55" fmla="*/ 74 h 186"/>
                <a:gd name="T56" fmla="*/ 22 w 169"/>
                <a:gd name="T57" fmla="*/ 91 h 186"/>
                <a:gd name="T58" fmla="*/ 27 w 169"/>
                <a:gd name="T59" fmla="*/ 105 h 186"/>
                <a:gd name="T60" fmla="*/ 34 w 169"/>
                <a:gd name="T61" fmla="*/ 123 h 186"/>
                <a:gd name="T62" fmla="*/ 36 w 169"/>
                <a:gd name="T63" fmla="*/ 137 h 186"/>
                <a:gd name="T64" fmla="*/ 31 w 169"/>
                <a:gd name="T65" fmla="*/ 146 h 186"/>
                <a:gd name="T66" fmla="*/ 27 w 169"/>
                <a:gd name="T67" fmla="*/ 154 h 186"/>
                <a:gd name="T68" fmla="*/ 20 w 169"/>
                <a:gd name="T69" fmla="*/ 158 h 186"/>
                <a:gd name="T70" fmla="*/ 27 w 169"/>
                <a:gd name="T71" fmla="*/ 161 h 186"/>
                <a:gd name="T72" fmla="*/ 39 w 169"/>
                <a:gd name="T73" fmla="*/ 173 h 186"/>
                <a:gd name="T74" fmla="*/ 50 w 169"/>
                <a:gd name="T75" fmla="*/ 175 h 186"/>
                <a:gd name="T76" fmla="*/ 57 w 169"/>
                <a:gd name="T77" fmla="*/ 170 h 186"/>
                <a:gd name="T78" fmla="*/ 78 w 169"/>
                <a:gd name="T79" fmla="*/ 185 h 186"/>
                <a:gd name="T80" fmla="*/ 84 w 169"/>
                <a:gd name="T81" fmla="*/ 180 h 186"/>
                <a:gd name="T82" fmla="*/ 100 w 169"/>
                <a:gd name="T83" fmla="*/ 178 h 186"/>
                <a:gd name="T84" fmla="*/ 105 w 169"/>
                <a:gd name="T85" fmla="*/ 175 h 186"/>
                <a:gd name="T86" fmla="*/ 110 w 169"/>
                <a:gd name="T87" fmla="*/ 163 h 186"/>
                <a:gd name="T88" fmla="*/ 115 w 169"/>
                <a:gd name="T89" fmla="*/ 151 h 186"/>
                <a:gd name="T90" fmla="*/ 132 w 169"/>
                <a:gd name="T91" fmla="*/ 156 h 18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69"/>
                <a:gd name="T139" fmla="*/ 0 h 186"/>
                <a:gd name="T140" fmla="*/ 169 w 169"/>
                <a:gd name="T141" fmla="*/ 186 h 18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69" h="186">
                  <a:moveTo>
                    <a:pt x="132" y="156"/>
                  </a:moveTo>
                  <a:lnTo>
                    <a:pt x="149" y="134"/>
                  </a:lnTo>
                  <a:lnTo>
                    <a:pt x="148" y="127"/>
                  </a:lnTo>
                  <a:lnTo>
                    <a:pt x="159" y="114"/>
                  </a:lnTo>
                  <a:lnTo>
                    <a:pt x="168" y="110"/>
                  </a:lnTo>
                  <a:lnTo>
                    <a:pt x="158" y="95"/>
                  </a:lnTo>
                  <a:lnTo>
                    <a:pt x="149" y="76"/>
                  </a:lnTo>
                  <a:lnTo>
                    <a:pt x="146" y="61"/>
                  </a:lnTo>
                  <a:lnTo>
                    <a:pt x="137" y="59"/>
                  </a:lnTo>
                  <a:lnTo>
                    <a:pt x="114" y="62"/>
                  </a:lnTo>
                  <a:lnTo>
                    <a:pt x="106" y="59"/>
                  </a:lnTo>
                  <a:lnTo>
                    <a:pt x="106" y="50"/>
                  </a:lnTo>
                  <a:lnTo>
                    <a:pt x="106" y="40"/>
                  </a:lnTo>
                  <a:lnTo>
                    <a:pt x="101" y="35"/>
                  </a:lnTo>
                  <a:lnTo>
                    <a:pt x="91" y="35"/>
                  </a:lnTo>
                  <a:lnTo>
                    <a:pt x="79" y="28"/>
                  </a:lnTo>
                  <a:lnTo>
                    <a:pt x="70" y="14"/>
                  </a:lnTo>
                  <a:lnTo>
                    <a:pt x="67" y="3"/>
                  </a:lnTo>
                  <a:lnTo>
                    <a:pt x="61" y="0"/>
                  </a:lnTo>
                  <a:lnTo>
                    <a:pt x="50" y="7"/>
                  </a:lnTo>
                  <a:lnTo>
                    <a:pt x="29" y="5"/>
                  </a:lnTo>
                  <a:lnTo>
                    <a:pt x="19" y="26"/>
                  </a:lnTo>
                  <a:lnTo>
                    <a:pt x="15" y="30"/>
                  </a:lnTo>
                  <a:lnTo>
                    <a:pt x="3" y="32"/>
                  </a:lnTo>
                  <a:lnTo>
                    <a:pt x="0" y="38"/>
                  </a:lnTo>
                  <a:lnTo>
                    <a:pt x="12" y="49"/>
                  </a:lnTo>
                  <a:lnTo>
                    <a:pt x="10" y="59"/>
                  </a:lnTo>
                  <a:lnTo>
                    <a:pt x="3" y="74"/>
                  </a:lnTo>
                  <a:lnTo>
                    <a:pt x="22" y="91"/>
                  </a:lnTo>
                  <a:lnTo>
                    <a:pt x="27" y="105"/>
                  </a:lnTo>
                  <a:lnTo>
                    <a:pt x="34" y="123"/>
                  </a:lnTo>
                  <a:lnTo>
                    <a:pt x="36" y="137"/>
                  </a:lnTo>
                  <a:lnTo>
                    <a:pt x="31" y="146"/>
                  </a:lnTo>
                  <a:lnTo>
                    <a:pt x="27" y="154"/>
                  </a:lnTo>
                  <a:lnTo>
                    <a:pt x="20" y="158"/>
                  </a:lnTo>
                  <a:lnTo>
                    <a:pt x="27" y="161"/>
                  </a:lnTo>
                  <a:lnTo>
                    <a:pt x="39" y="173"/>
                  </a:lnTo>
                  <a:lnTo>
                    <a:pt x="50" y="175"/>
                  </a:lnTo>
                  <a:lnTo>
                    <a:pt x="57" y="170"/>
                  </a:lnTo>
                  <a:lnTo>
                    <a:pt x="78" y="185"/>
                  </a:lnTo>
                  <a:lnTo>
                    <a:pt x="84" y="180"/>
                  </a:lnTo>
                  <a:lnTo>
                    <a:pt x="100" y="178"/>
                  </a:lnTo>
                  <a:lnTo>
                    <a:pt x="105" y="175"/>
                  </a:lnTo>
                  <a:lnTo>
                    <a:pt x="110" y="163"/>
                  </a:lnTo>
                  <a:lnTo>
                    <a:pt x="115" y="151"/>
                  </a:lnTo>
                  <a:lnTo>
                    <a:pt x="132" y="156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l" defTabSz="9143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endParaRPr>
            </a:p>
          </p:txBody>
        </p:sp>
        <p:sp>
          <p:nvSpPr>
            <p:cNvPr id="83" name="Freeform 3752"/>
            <p:cNvSpPr>
              <a:spLocks/>
            </p:cNvSpPr>
            <p:nvPr/>
          </p:nvSpPr>
          <p:spPr bwMode="auto">
            <a:xfrm>
              <a:off x="2243811" y="4070816"/>
              <a:ext cx="830943" cy="454959"/>
            </a:xfrm>
            <a:custGeom>
              <a:avLst/>
              <a:gdLst>
                <a:gd name="T0" fmla="*/ 374 w 375"/>
                <a:gd name="T1" fmla="*/ 6 h 249"/>
                <a:gd name="T2" fmla="*/ 354 w 375"/>
                <a:gd name="T3" fmla="*/ 47 h 249"/>
                <a:gd name="T4" fmla="*/ 333 w 375"/>
                <a:gd name="T5" fmla="*/ 87 h 249"/>
                <a:gd name="T6" fmla="*/ 330 w 375"/>
                <a:gd name="T7" fmla="*/ 110 h 249"/>
                <a:gd name="T8" fmla="*/ 313 w 375"/>
                <a:gd name="T9" fmla="*/ 135 h 249"/>
                <a:gd name="T10" fmla="*/ 325 w 375"/>
                <a:gd name="T11" fmla="*/ 159 h 249"/>
                <a:gd name="T12" fmla="*/ 332 w 375"/>
                <a:gd name="T13" fmla="*/ 181 h 249"/>
                <a:gd name="T14" fmla="*/ 337 w 375"/>
                <a:gd name="T15" fmla="*/ 195 h 249"/>
                <a:gd name="T16" fmla="*/ 316 w 375"/>
                <a:gd name="T17" fmla="*/ 222 h 249"/>
                <a:gd name="T18" fmla="*/ 315 w 375"/>
                <a:gd name="T19" fmla="*/ 242 h 249"/>
                <a:gd name="T20" fmla="*/ 301 w 375"/>
                <a:gd name="T21" fmla="*/ 248 h 249"/>
                <a:gd name="T22" fmla="*/ 287 w 375"/>
                <a:gd name="T23" fmla="*/ 236 h 249"/>
                <a:gd name="T24" fmla="*/ 262 w 375"/>
                <a:gd name="T25" fmla="*/ 232 h 249"/>
                <a:gd name="T26" fmla="*/ 250 w 375"/>
                <a:gd name="T27" fmla="*/ 227 h 249"/>
                <a:gd name="T28" fmla="*/ 236 w 375"/>
                <a:gd name="T29" fmla="*/ 220 h 249"/>
                <a:gd name="T30" fmla="*/ 231 w 375"/>
                <a:gd name="T31" fmla="*/ 208 h 249"/>
                <a:gd name="T32" fmla="*/ 222 w 375"/>
                <a:gd name="T33" fmla="*/ 193 h 249"/>
                <a:gd name="T34" fmla="*/ 194 w 375"/>
                <a:gd name="T35" fmla="*/ 169 h 249"/>
                <a:gd name="T36" fmla="*/ 170 w 375"/>
                <a:gd name="T37" fmla="*/ 169 h 249"/>
                <a:gd name="T38" fmla="*/ 148 w 375"/>
                <a:gd name="T39" fmla="*/ 157 h 249"/>
                <a:gd name="T40" fmla="*/ 131 w 375"/>
                <a:gd name="T41" fmla="*/ 147 h 249"/>
                <a:gd name="T42" fmla="*/ 111 w 375"/>
                <a:gd name="T43" fmla="*/ 145 h 249"/>
                <a:gd name="T44" fmla="*/ 97 w 375"/>
                <a:gd name="T45" fmla="*/ 130 h 249"/>
                <a:gd name="T46" fmla="*/ 89 w 375"/>
                <a:gd name="T47" fmla="*/ 123 h 249"/>
                <a:gd name="T48" fmla="*/ 73 w 375"/>
                <a:gd name="T49" fmla="*/ 110 h 249"/>
                <a:gd name="T50" fmla="*/ 58 w 375"/>
                <a:gd name="T51" fmla="*/ 97 h 249"/>
                <a:gd name="T52" fmla="*/ 48 w 375"/>
                <a:gd name="T53" fmla="*/ 95 h 249"/>
                <a:gd name="T54" fmla="*/ 30 w 375"/>
                <a:gd name="T55" fmla="*/ 99 h 249"/>
                <a:gd name="T56" fmla="*/ 24 w 375"/>
                <a:gd name="T57" fmla="*/ 87 h 249"/>
                <a:gd name="T58" fmla="*/ 12 w 375"/>
                <a:gd name="T59" fmla="*/ 81 h 249"/>
                <a:gd name="T60" fmla="*/ 12 w 375"/>
                <a:gd name="T61" fmla="*/ 75 h 249"/>
                <a:gd name="T62" fmla="*/ 0 w 375"/>
                <a:gd name="T63" fmla="*/ 59 h 249"/>
                <a:gd name="T64" fmla="*/ 8 w 375"/>
                <a:gd name="T65" fmla="*/ 49 h 249"/>
                <a:gd name="T66" fmla="*/ 3 w 375"/>
                <a:gd name="T67" fmla="*/ 39 h 249"/>
                <a:gd name="T68" fmla="*/ 10 w 375"/>
                <a:gd name="T69" fmla="*/ 25 h 249"/>
                <a:gd name="T70" fmla="*/ 42 w 375"/>
                <a:gd name="T71" fmla="*/ 10 h 249"/>
                <a:gd name="T72" fmla="*/ 59 w 375"/>
                <a:gd name="T73" fmla="*/ 22 h 249"/>
                <a:gd name="T74" fmla="*/ 72 w 375"/>
                <a:gd name="T75" fmla="*/ 6 h 249"/>
                <a:gd name="T76" fmla="*/ 114 w 375"/>
                <a:gd name="T77" fmla="*/ 13 h 249"/>
                <a:gd name="T78" fmla="*/ 131 w 375"/>
                <a:gd name="T79" fmla="*/ 27 h 249"/>
                <a:gd name="T80" fmla="*/ 142 w 375"/>
                <a:gd name="T81" fmla="*/ 27 h 249"/>
                <a:gd name="T82" fmla="*/ 167 w 375"/>
                <a:gd name="T83" fmla="*/ 39 h 249"/>
                <a:gd name="T84" fmla="*/ 189 w 375"/>
                <a:gd name="T85" fmla="*/ 29 h 249"/>
                <a:gd name="T86" fmla="*/ 212 w 375"/>
                <a:gd name="T87" fmla="*/ 36 h 249"/>
                <a:gd name="T88" fmla="*/ 232 w 375"/>
                <a:gd name="T89" fmla="*/ 34 h 249"/>
                <a:gd name="T90" fmla="*/ 255 w 375"/>
                <a:gd name="T91" fmla="*/ 32 h 249"/>
                <a:gd name="T92" fmla="*/ 277 w 375"/>
                <a:gd name="T93" fmla="*/ 20 h 249"/>
                <a:gd name="T94" fmla="*/ 302 w 375"/>
                <a:gd name="T95" fmla="*/ 15 h 249"/>
                <a:gd name="T96" fmla="*/ 325 w 375"/>
                <a:gd name="T97" fmla="*/ 15 h 249"/>
                <a:gd name="T98" fmla="*/ 340 w 375"/>
                <a:gd name="T99" fmla="*/ 3 h 249"/>
                <a:gd name="T100" fmla="*/ 361 w 375"/>
                <a:gd name="T101" fmla="*/ 5 h 24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75"/>
                <a:gd name="T154" fmla="*/ 0 h 249"/>
                <a:gd name="T155" fmla="*/ 375 w 375"/>
                <a:gd name="T156" fmla="*/ 249 h 24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75" h="249">
                  <a:moveTo>
                    <a:pt x="371" y="0"/>
                  </a:moveTo>
                  <a:lnTo>
                    <a:pt x="374" y="6"/>
                  </a:lnTo>
                  <a:lnTo>
                    <a:pt x="361" y="29"/>
                  </a:lnTo>
                  <a:lnTo>
                    <a:pt x="354" y="47"/>
                  </a:lnTo>
                  <a:lnTo>
                    <a:pt x="344" y="66"/>
                  </a:lnTo>
                  <a:lnTo>
                    <a:pt x="333" y="87"/>
                  </a:lnTo>
                  <a:lnTo>
                    <a:pt x="327" y="93"/>
                  </a:lnTo>
                  <a:lnTo>
                    <a:pt x="330" y="110"/>
                  </a:lnTo>
                  <a:lnTo>
                    <a:pt x="310" y="123"/>
                  </a:lnTo>
                  <a:lnTo>
                    <a:pt x="313" y="135"/>
                  </a:lnTo>
                  <a:lnTo>
                    <a:pt x="313" y="149"/>
                  </a:lnTo>
                  <a:lnTo>
                    <a:pt x="325" y="159"/>
                  </a:lnTo>
                  <a:lnTo>
                    <a:pt x="323" y="168"/>
                  </a:lnTo>
                  <a:lnTo>
                    <a:pt x="332" y="181"/>
                  </a:lnTo>
                  <a:lnTo>
                    <a:pt x="337" y="185"/>
                  </a:lnTo>
                  <a:lnTo>
                    <a:pt x="337" y="195"/>
                  </a:lnTo>
                  <a:lnTo>
                    <a:pt x="318" y="213"/>
                  </a:lnTo>
                  <a:lnTo>
                    <a:pt x="316" y="222"/>
                  </a:lnTo>
                  <a:lnTo>
                    <a:pt x="318" y="232"/>
                  </a:lnTo>
                  <a:lnTo>
                    <a:pt x="315" y="242"/>
                  </a:lnTo>
                  <a:lnTo>
                    <a:pt x="306" y="248"/>
                  </a:lnTo>
                  <a:lnTo>
                    <a:pt x="301" y="248"/>
                  </a:lnTo>
                  <a:lnTo>
                    <a:pt x="292" y="241"/>
                  </a:lnTo>
                  <a:lnTo>
                    <a:pt x="287" y="236"/>
                  </a:lnTo>
                  <a:lnTo>
                    <a:pt x="277" y="236"/>
                  </a:lnTo>
                  <a:lnTo>
                    <a:pt x="262" y="232"/>
                  </a:lnTo>
                  <a:lnTo>
                    <a:pt x="257" y="234"/>
                  </a:lnTo>
                  <a:lnTo>
                    <a:pt x="250" y="227"/>
                  </a:lnTo>
                  <a:lnTo>
                    <a:pt x="243" y="220"/>
                  </a:lnTo>
                  <a:lnTo>
                    <a:pt x="236" y="220"/>
                  </a:lnTo>
                  <a:lnTo>
                    <a:pt x="231" y="217"/>
                  </a:lnTo>
                  <a:lnTo>
                    <a:pt x="231" y="208"/>
                  </a:lnTo>
                  <a:lnTo>
                    <a:pt x="228" y="198"/>
                  </a:lnTo>
                  <a:lnTo>
                    <a:pt x="222" y="193"/>
                  </a:lnTo>
                  <a:lnTo>
                    <a:pt x="212" y="183"/>
                  </a:lnTo>
                  <a:lnTo>
                    <a:pt x="194" y="169"/>
                  </a:lnTo>
                  <a:lnTo>
                    <a:pt x="182" y="169"/>
                  </a:lnTo>
                  <a:lnTo>
                    <a:pt x="170" y="169"/>
                  </a:lnTo>
                  <a:lnTo>
                    <a:pt x="162" y="162"/>
                  </a:lnTo>
                  <a:lnTo>
                    <a:pt x="148" y="157"/>
                  </a:lnTo>
                  <a:lnTo>
                    <a:pt x="143" y="152"/>
                  </a:lnTo>
                  <a:lnTo>
                    <a:pt x="131" y="147"/>
                  </a:lnTo>
                  <a:lnTo>
                    <a:pt x="118" y="145"/>
                  </a:lnTo>
                  <a:lnTo>
                    <a:pt x="111" y="145"/>
                  </a:lnTo>
                  <a:lnTo>
                    <a:pt x="100" y="134"/>
                  </a:lnTo>
                  <a:lnTo>
                    <a:pt x="97" y="130"/>
                  </a:lnTo>
                  <a:lnTo>
                    <a:pt x="90" y="128"/>
                  </a:lnTo>
                  <a:lnTo>
                    <a:pt x="89" y="123"/>
                  </a:lnTo>
                  <a:lnTo>
                    <a:pt x="82" y="110"/>
                  </a:lnTo>
                  <a:lnTo>
                    <a:pt x="73" y="110"/>
                  </a:lnTo>
                  <a:lnTo>
                    <a:pt x="65" y="107"/>
                  </a:lnTo>
                  <a:lnTo>
                    <a:pt x="58" y="97"/>
                  </a:lnTo>
                  <a:lnTo>
                    <a:pt x="56" y="95"/>
                  </a:lnTo>
                  <a:lnTo>
                    <a:pt x="48" y="95"/>
                  </a:lnTo>
                  <a:lnTo>
                    <a:pt x="39" y="99"/>
                  </a:lnTo>
                  <a:lnTo>
                    <a:pt x="30" y="99"/>
                  </a:lnTo>
                  <a:lnTo>
                    <a:pt x="24" y="93"/>
                  </a:lnTo>
                  <a:lnTo>
                    <a:pt x="24" y="87"/>
                  </a:lnTo>
                  <a:lnTo>
                    <a:pt x="20" y="80"/>
                  </a:lnTo>
                  <a:lnTo>
                    <a:pt x="12" y="81"/>
                  </a:lnTo>
                  <a:lnTo>
                    <a:pt x="8" y="78"/>
                  </a:lnTo>
                  <a:lnTo>
                    <a:pt x="12" y="75"/>
                  </a:lnTo>
                  <a:lnTo>
                    <a:pt x="0" y="66"/>
                  </a:lnTo>
                  <a:lnTo>
                    <a:pt x="0" y="59"/>
                  </a:lnTo>
                  <a:lnTo>
                    <a:pt x="3" y="54"/>
                  </a:lnTo>
                  <a:lnTo>
                    <a:pt x="8" y="49"/>
                  </a:lnTo>
                  <a:lnTo>
                    <a:pt x="8" y="44"/>
                  </a:lnTo>
                  <a:lnTo>
                    <a:pt x="3" y="39"/>
                  </a:lnTo>
                  <a:lnTo>
                    <a:pt x="5" y="32"/>
                  </a:lnTo>
                  <a:lnTo>
                    <a:pt x="10" y="25"/>
                  </a:lnTo>
                  <a:lnTo>
                    <a:pt x="32" y="8"/>
                  </a:lnTo>
                  <a:lnTo>
                    <a:pt x="42" y="10"/>
                  </a:lnTo>
                  <a:lnTo>
                    <a:pt x="46" y="15"/>
                  </a:lnTo>
                  <a:lnTo>
                    <a:pt x="59" y="22"/>
                  </a:lnTo>
                  <a:lnTo>
                    <a:pt x="66" y="15"/>
                  </a:lnTo>
                  <a:lnTo>
                    <a:pt x="72" y="6"/>
                  </a:lnTo>
                  <a:lnTo>
                    <a:pt x="112" y="6"/>
                  </a:lnTo>
                  <a:lnTo>
                    <a:pt x="114" y="13"/>
                  </a:lnTo>
                  <a:lnTo>
                    <a:pt x="128" y="20"/>
                  </a:lnTo>
                  <a:lnTo>
                    <a:pt x="131" y="27"/>
                  </a:lnTo>
                  <a:lnTo>
                    <a:pt x="136" y="30"/>
                  </a:lnTo>
                  <a:lnTo>
                    <a:pt x="142" y="27"/>
                  </a:lnTo>
                  <a:lnTo>
                    <a:pt x="159" y="36"/>
                  </a:lnTo>
                  <a:lnTo>
                    <a:pt x="167" y="39"/>
                  </a:lnTo>
                  <a:lnTo>
                    <a:pt x="177" y="36"/>
                  </a:lnTo>
                  <a:lnTo>
                    <a:pt x="189" y="29"/>
                  </a:lnTo>
                  <a:lnTo>
                    <a:pt x="200" y="29"/>
                  </a:lnTo>
                  <a:lnTo>
                    <a:pt x="212" y="36"/>
                  </a:lnTo>
                  <a:lnTo>
                    <a:pt x="219" y="37"/>
                  </a:lnTo>
                  <a:lnTo>
                    <a:pt x="232" y="34"/>
                  </a:lnTo>
                  <a:lnTo>
                    <a:pt x="246" y="36"/>
                  </a:lnTo>
                  <a:lnTo>
                    <a:pt x="255" y="32"/>
                  </a:lnTo>
                  <a:lnTo>
                    <a:pt x="265" y="29"/>
                  </a:lnTo>
                  <a:lnTo>
                    <a:pt x="277" y="20"/>
                  </a:lnTo>
                  <a:lnTo>
                    <a:pt x="287" y="17"/>
                  </a:lnTo>
                  <a:lnTo>
                    <a:pt x="302" y="15"/>
                  </a:lnTo>
                  <a:lnTo>
                    <a:pt x="315" y="17"/>
                  </a:lnTo>
                  <a:lnTo>
                    <a:pt x="325" y="15"/>
                  </a:lnTo>
                  <a:lnTo>
                    <a:pt x="335" y="5"/>
                  </a:lnTo>
                  <a:lnTo>
                    <a:pt x="340" y="3"/>
                  </a:lnTo>
                  <a:lnTo>
                    <a:pt x="347" y="5"/>
                  </a:lnTo>
                  <a:lnTo>
                    <a:pt x="361" y="5"/>
                  </a:lnTo>
                  <a:lnTo>
                    <a:pt x="371" y="0"/>
                  </a:lnTo>
                </a:path>
              </a:pathLst>
            </a:custGeom>
            <a:solidFill>
              <a:srgbClr val="AFDFDF">
                <a:alpha val="69804"/>
              </a:srgbClr>
            </a:solidFill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140519" tIns="70257" rIns="140519" bIns="70257" anchor="ctr"/>
            <a:lstStyle/>
            <a:p>
              <a:pPr marL="0" marR="0" lvl="0" indent="0" algn="l" defTabSz="9143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endParaRPr>
            </a:p>
          </p:txBody>
        </p:sp>
        <p:sp>
          <p:nvSpPr>
            <p:cNvPr id="84" name="Freeform 3853"/>
            <p:cNvSpPr>
              <a:spLocks/>
            </p:cNvSpPr>
            <p:nvPr/>
          </p:nvSpPr>
          <p:spPr bwMode="auto">
            <a:xfrm>
              <a:off x="2933525" y="3069908"/>
              <a:ext cx="890063" cy="599977"/>
            </a:xfrm>
            <a:custGeom>
              <a:avLst/>
              <a:gdLst>
                <a:gd name="T0" fmla="*/ 27 w 402"/>
                <a:gd name="T1" fmla="*/ 25 h 328"/>
                <a:gd name="T2" fmla="*/ 20 w 402"/>
                <a:gd name="T3" fmla="*/ 51 h 328"/>
                <a:gd name="T4" fmla="*/ 3 w 402"/>
                <a:gd name="T5" fmla="*/ 50 h 328"/>
                <a:gd name="T6" fmla="*/ 3 w 402"/>
                <a:gd name="T7" fmla="*/ 63 h 328"/>
                <a:gd name="T8" fmla="*/ 14 w 402"/>
                <a:gd name="T9" fmla="*/ 68 h 328"/>
                <a:gd name="T10" fmla="*/ 31 w 402"/>
                <a:gd name="T11" fmla="*/ 99 h 328"/>
                <a:gd name="T12" fmla="*/ 46 w 402"/>
                <a:gd name="T13" fmla="*/ 94 h 328"/>
                <a:gd name="T14" fmla="*/ 51 w 402"/>
                <a:gd name="T15" fmla="*/ 114 h 328"/>
                <a:gd name="T16" fmla="*/ 68 w 402"/>
                <a:gd name="T17" fmla="*/ 124 h 328"/>
                <a:gd name="T18" fmla="*/ 80 w 402"/>
                <a:gd name="T19" fmla="*/ 128 h 328"/>
                <a:gd name="T20" fmla="*/ 95 w 402"/>
                <a:gd name="T21" fmla="*/ 128 h 328"/>
                <a:gd name="T22" fmla="*/ 112 w 402"/>
                <a:gd name="T23" fmla="*/ 121 h 328"/>
                <a:gd name="T24" fmla="*/ 122 w 402"/>
                <a:gd name="T25" fmla="*/ 137 h 328"/>
                <a:gd name="T26" fmla="*/ 139 w 402"/>
                <a:gd name="T27" fmla="*/ 154 h 328"/>
                <a:gd name="T28" fmla="*/ 154 w 402"/>
                <a:gd name="T29" fmla="*/ 159 h 328"/>
                <a:gd name="T30" fmla="*/ 157 w 402"/>
                <a:gd name="T31" fmla="*/ 178 h 328"/>
                <a:gd name="T32" fmla="*/ 170 w 402"/>
                <a:gd name="T33" fmla="*/ 182 h 328"/>
                <a:gd name="T34" fmla="*/ 188 w 402"/>
                <a:gd name="T35" fmla="*/ 178 h 328"/>
                <a:gd name="T36" fmla="*/ 199 w 402"/>
                <a:gd name="T37" fmla="*/ 193 h 328"/>
                <a:gd name="T38" fmla="*/ 209 w 402"/>
                <a:gd name="T39" fmla="*/ 216 h 328"/>
                <a:gd name="T40" fmla="*/ 216 w 402"/>
                <a:gd name="T41" fmla="*/ 228 h 328"/>
                <a:gd name="T42" fmla="*/ 227 w 402"/>
                <a:gd name="T43" fmla="*/ 235 h 328"/>
                <a:gd name="T44" fmla="*/ 267 w 402"/>
                <a:gd name="T45" fmla="*/ 242 h 328"/>
                <a:gd name="T46" fmla="*/ 296 w 402"/>
                <a:gd name="T47" fmla="*/ 255 h 328"/>
                <a:gd name="T48" fmla="*/ 329 w 402"/>
                <a:gd name="T49" fmla="*/ 257 h 328"/>
                <a:gd name="T50" fmla="*/ 339 w 402"/>
                <a:gd name="T51" fmla="*/ 274 h 328"/>
                <a:gd name="T52" fmla="*/ 344 w 402"/>
                <a:gd name="T53" fmla="*/ 303 h 328"/>
                <a:gd name="T54" fmla="*/ 353 w 402"/>
                <a:gd name="T55" fmla="*/ 313 h 328"/>
                <a:gd name="T56" fmla="*/ 375 w 402"/>
                <a:gd name="T57" fmla="*/ 327 h 328"/>
                <a:gd name="T58" fmla="*/ 387 w 402"/>
                <a:gd name="T59" fmla="*/ 308 h 328"/>
                <a:gd name="T60" fmla="*/ 401 w 402"/>
                <a:gd name="T61" fmla="*/ 276 h 328"/>
                <a:gd name="T62" fmla="*/ 392 w 402"/>
                <a:gd name="T63" fmla="*/ 253 h 328"/>
                <a:gd name="T64" fmla="*/ 380 w 402"/>
                <a:gd name="T65" fmla="*/ 245 h 328"/>
                <a:gd name="T66" fmla="*/ 331 w 402"/>
                <a:gd name="T67" fmla="*/ 183 h 328"/>
                <a:gd name="T68" fmla="*/ 296 w 402"/>
                <a:gd name="T69" fmla="*/ 172 h 328"/>
                <a:gd name="T70" fmla="*/ 265 w 402"/>
                <a:gd name="T71" fmla="*/ 156 h 328"/>
                <a:gd name="T72" fmla="*/ 255 w 402"/>
                <a:gd name="T73" fmla="*/ 139 h 328"/>
                <a:gd name="T74" fmla="*/ 231 w 402"/>
                <a:gd name="T75" fmla="*/ 136 h 328"/>
                <a:gd name="T76" fmla="*/ 180 w 402"/>
                <a:gd name="T77" fmla="*/ 111 h 328"/>
                <a:gd name="T78" fmla="*/ 146 w 402"/>
                <a:gd name="T79" fmla="*/ 90 h 328"/>
                <a:gd name="T80" fmla="*/ 117 w 402"/>
                <a:gd name="T81" fmla="*/ 65 h 328"/>
                <a:gd name="T82" fmla="*/ 129 w 402"/>
                <a:gd name="T83" fmla="*/ 55 h 328"/>
                <a:gd name="T84" fmla="*/ 139 w 402"/>
                <a:gd name="T85" fmla="*/ 37 h 328"/>
                <a:gd name="T86" fmla="*/ 153 w 402"/>
                <a:gd name="T87" fmla="*/ 22 h 328"/>
                <a:gd name="T88" fmla="*/ 139 w 402"/>
                <a:gd name="T89" fmla="*/ 7 h 328"/>
                <a:gd name="T90" fmla="*/ 122 w 402"/>
                <a:gd name="T91" fmla="*/ 0 h 328"/>
                <a:gd name="T92" fmla="*/ 105 w 402"/>
                <a:gd name="T93" fmla="*/ 7 h 328"/>
                <a:gd name="T94" fmla="*/ 71 w 402"/>
                <a:gd name="T95" fmla="*/ 3 h 328"/>
                <a:gd name="T96" fmla="*/ 50 w 402"/>
                <a:gd name="T97" fmla="*/ 0 h 328"/>
                <a:gd name="T98" fmla="*/ 24 w 402"/>
                <a:gd name="T99" fmla="*/ 10 h 32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402"/>
                <a:gd name="T151" fmla="*/ 0 h 328"/>
                <a:gd name="T152" fmla="*/ 402 w 402"/>
                <a:gd name="T153" fmla="*/ 328 h 32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402" h="328">
                  <a:moveTo>
                    <a:pt x="24" y="10"/>
                  </a:moveTo>
                  <a:lnTo>
                    <a:pt x="27" y="25"/>
                  </a:lnTo>
                  <a:lnTo>
                    <a:pt x="27" y="41"/>
                  </a:lnTo>
                  <a:lnTo>
                    <a:pt x="20" y="51"/>
                  </a:lnTo>
                  <a:lnTo>
                    <a:pt x="14" y="50"/>
                  </a:lnTo>
                  <a:lnTo>
                    <a:pt x="3" y="50"/>
                  </a:lnTo>
                  <a:lnTo>
                    <a:pt x="0" y="58"/>
                  </a:lnTo>
                  <a:lnTo>
                    <a:pt x="3" y="63"/>
                  </a:lnTo>
                  <a:lnTo>
                    <a:pt x="10" y="63"/>
                  </a:lnTo>
                  <a:lnTo>
                    <a:pt x="14" y="68"/>
                  </a:lnTo>
                  <a:lnTo>
                    <a:pt x="14" y="78"/>
                  </a:lnTo>
                  <a:lnTo>
                    <a:pt x="31" y="99"/>
                  </a:lnTo>
                  <a:lnTo>
                    <a:pt x="37" y="95"/>
                  </a:lnTo>
                  <a:lnTo>
                    <a:pt x="46" y="94"/>
                  </a:lnTo>
                  <a:lnTo>
                    <a:pt x="53" y="97"/>
                  </a:lnTo>
                  <a:lnTo>
                    <a:pt x="51" y="114"/>
                  </a:lnTo>
                  <a:lnTo>
                    <a:pt x="60" y="121"/>
                  </a:lnTo>
                  <a:lnTo>
                    <a:pt x="68" y="124"/>
                  </a:lnTo>
                  <a:lnTo>
                    <a:pt x="73" y="121"/>
                  </a:lnTo>
                  <a:lnTo>
                    <a:pt x="80" y="128"/>
                  </a:lnTo>
                  <a:lnTo>
                    <a:pt x="88" y="126"/>
                  </a:lnTo>
                  <a:lnTo>
                    <a:pt x="95" y="128"/>
                  </a:lnTo>
                  <a:lnTo>
                    <a:pt x="101" y="128"/>
                  </a:lnTo>
                  <a:lnTo>
                    <a:pt x="112" y="121"/>
                  </a:lnTo>
                  <a:lnTo>
                    <a:pt x="118" y="124"/>
                  </a:lnTo>
                  <a:lnTo>
                    <a:pt x="122" y="137"/>
                  </a:lnTo>
                  <a:lnTo>
                    <a:pt x="132" y="153"/>
                  </a:lnTo>
                  <a:lnTo>
                    <a:pt x="139" y="154"/>
                  </a:lnTo>
                  <a:lnTo>
                    <a:pt x="151" y="156"/>
                  </a:lnTo>
                  <a:lnTo>
                    <a:pt x="154" y="159"/>
                  </a:lnTo>
                  <a:lnTo>
                    <a:pt x="157" y="172"/>
                  </a:lnTo>
                  <a:lnTo>
                    <a:pt x="157" y="178"/>
                  </a:lnTo>
                  <a:lnTo>
                    <a:pt x="161" y="183"/>
                  </a:lnTo>
                  <a:lnTo>
                    <a:pt x="170" y="182"/>
                  </a:lnTo>
                  <a:lnTo>
                    <a:pt x="180" y="180"/>
                  </a:lnTo>
                  <a:lnTo>
                    <a:pt x="188" y="178"/>
                  </a:lnTo>
                  <a:lnTo>
                    <a:pt x="197" y="182"/>
                  </a:lnTo>
                  <a:lnTo>
                    <a:pt x="199" y="193"/>
                  </a:lnTo>
                  <a:lnTo>
                    <a:pt x="204" y="206"/>
                  </a:lnTo>
                  <a:lnTo>
                    <a:pt x="209" y="216"/>
                  </a:lnTo>
                  <a:lnTo>
                    <a:pt x="212" y="221"/>
                  </a:lnTo>
                  <a:lnTo>
                    <a:pt x="216" y="228"/>
                  </a:lnTo>
                  <a:lnTo>
                    <a:pt x="219" y="231"/>
                  </a:lnTo>
                  <a:lnTo>
                    <a:pt x="227" y="235"/>
                  </a:lnTo>
                  <a:lnTo>
                    <a:pt x="252" y="233"/>
                  </a:lnTo>
                  <a:lnTo>
                    <a:pt x="267" y="242"/>
                  </a:lnTo>
                  <a:lnTo>
                    <a:pt x="286" y="253"/>
                  </a:lnTo>
                  <a:lnTo>
                    <a:pt x="296" y="255"/>
                  </a:lnTo>
                  <a:lnTo>
                    <a:pt x="315" y="253"/>
                  </a:lnTo>
                  <a:lnTo>
                    <a:pt x="329" y="257"/>
                  </a:lnTo>
                  <a:lnTo>
                    <a:pt x="336" y="265"/>
                  </a:lnTo>
                  <a:lnTo>
                    <a:pt x="339" y="274"/>
                  </a:lnTo>
                  <a:lnTo>
                    <a:pt x="346" y="288"/>
                  </a:lnTo>
                  <a:lnTo>
                    <a:pt x="344" y="303"/>
                  </a:lnTo>
                  <a:lnTo>
                    <a:pt x="344" y="310"/>
                  </a:lnTo>
                  <a:lnTo>
                    <a:pt x="353" y="313"/>
                  </a:lnTo>
                  <a:lnTo>
                    <a:pt x="365" y="323"/>
                  </a:lnTo>
                  <a:lnTo>
                    <a:pt x="375" y="327"/>
                  </a:lnTo>
                  <a:lnTo>
                    <a:pt x="389" y="323"/>
                  </a:lnTo>
                  <a:lnTo>
                    <a:pt x="387" y="308"/>
                  </a:lnTo>
                  <a:lnTo>
                    <a:pt x="392" y="282"/>
                  </a:lnTo>
                  <a:lnTo>
                    <a:pt x="401" y="276"/>
                  </a:lnTo>
                  <a:lnTo>
                    <a:pt x="399" y="262"/>
                  </a:lnTo>
                  <a:lnTo>
                    <a:pt x="392" y="253"/>
                  </a:lnTo>
                  <a:lnTo>
                    <a:pt x="385" y="252"/>
                  </a:lnTo>
                  <a:lnTo>
                    <a:pt x="380" y="245"/>
                  </a:lnTo>
                  <a:lnTo>
                    <a:pt x="380" y="236"/>
                  </a:lnTo>
                  <a:lnTo>
                    <a:pt x="331" y="183"/>
                  </a:lnTo>
                  <a:lnTo>
                    <a:pt x="317" y="183"/>
                  </a:lnTo>
                  <a:lnTo>
                    <a:pt x="296" y="172"/>
                  </a:lnTo>
                  <a:lnTo>
                    <a:pt x="272" y="161"/>
                  </a:lnTo>
                  <a:lnTo>
                    <a:pt x="265" y="156"/>
                  </a:lnTo>
                  <a:lnTo>
                    <a:pt x="263" y="146"/>
                  </a:lnTo>
                  <a:lnTo>
                    <a:pt x="255" y="139"/>
                  </a:lnTo>
                  <a:lnTo>
                    <a:pt x="243" y="141"/>
                  </a:lnTo>
                  <a:lnTo>
                    <a:pt x="231" y="136"/>
                  </a:lnTo>
                  <a:lnTo>
                    <a:pt x="205" y="121"/>
                  </a:lnTo>
                  <a:lnTo>
                    <a:pt x="180" y="111"/>
                  </a:lnTo>
                  <a:lnTo>
                    <a:pt x="161" y="99"/>
                  </a:lnTo>
                  <a:lnTo>
                    <a:pt x="146" y="90"/>
                  </a:lnTo>
                  <a:lnTo>
                    <a:pt x="130" y="82"/>
                  </a:lnTo>
                  <a:lnTo>
                    <a:pt x="117" y="65"/>
                  </a:lnTo>
                  <a:lnTo>
                    <a:pt x="115" y="55"/>
                  </a:lnTo>
                  <a:lnTo>
                    <a:pt x="129" y="55"/>
                  </a:lnTo>
                  <a:lnTo>
                    <a:pt x="139" y="48"/>
                  </a:lnTo>
                  <a:lnTo>
                    <a:pt x="139" y="37"/>
                  </a:lnTo>
                  <a:lnTo>
                    <a:pt x="146" y="33"/>
                  </a:lnTo>
                  <a:lnTo>
                    <a:pt x="153" y="22"/>
                  </a:lnTo>
                  <a:lnTo>
                    <a:pt x="149" y="14"/>
                  </a:lnTo>
                  <a:lnTo>
                    <a:pt x="139" y="7"/>
                  </a:lnTo>
                  <a:lnTo>
                    <a:pt x="130" y="3"/>
                  </a:lnTo>
                  <a:lnTo>
                    <a:pt x="122" y="0"/>
                  </a:lnTo>
                  <a:lnTo>
                    <a:pt x="112" y="5"/>
                  </a:lnTo>
                  <a:lnTo>
                    <a:pt x="105" y="7"/>
                  </a:lnTo>
                  <a:lnTo>
                    <a:pt x="88" y="3"/>
                  </a:lnTo>
                  <a:lnTo>
                    <a:pt x="71" y="3"/>
                  </a:lnTo>
                  <a:lnTo>
                    <a:pt x="60" y="7"/>
                  </a:lnTo>
                  <a:lnTo>
                    <a:pt x="50" y="0"/>
                  </a:lnTo>
                  <a:lnTo>
                    <a:pt x="43" y="0"/>
                  </a:lnTo>
                  <a:lnTo>
                    <a:pt x="24" y="10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l" defTabSz="9143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endParaRPr>
            </a:p>
          </p:txBody>
        </p:sp>
        <p:sp>
          <p:nvSpPr>
            <p:cNvPr id="85" name="Freeform 3954"/>
            <p:cNvSpPr>
              <a:spLocks/>
            </p:cNvSpPr>
            <p:nvPr/>
          </p:nvSpPr>
          <p:spPr bwMode="auto">
            <a:xfrm>
              <a:off x="2651069" y="3179383"/>
              <a:ext cx="474590" cy="416573"/>
            </a:xfrm>
            <a:custGeom>
              <a:avLst/>
              <a:gdLst>
                <a:gd name="T0" fmla="*/ 115 w 214"/>
                <a:gd name="T1" fmla="*/ 0 h 227"/>
                <a:gd name="T2" fmla="*/ 98 w 214"/>
                <a:gd name="T3" fmla="*/ 13 h 227"/>
                <a:gd name="T4" fmla="*/ 78 w 214"/>
                <a:gd name="T5" fmla="*/ 3 h 227"/>
                <a:gd name="T6" fmla="*/ 56 w 214"/>
                <a:gd name="T7" fmla="*/ 5 h 227"/>
                <a:gd name="T8" fmla="*/ 38 w 214"/>
                <a:gd name="T9" fmla="*/ 11 h 227"/>
                <a:gd name="T10" fmla="*/ 27 w 214"/>
                <a:gd name="T11" fmla="*/ 5 h 227"/>
                <a:gd name="T12" fmla="*/ 14 w 214"/>
                <a:gd name="T13" fmla="*/ 10 h 227"/>
                <a:gd name="T14" fmla="*/ 14 w 214"/>
                <a:gd name="T15" fmla="*/ 27 h 227"/>
                <a:gd name="T16" fmla="*/ 0 w 214"/>
                <a:gd name="T17" fmla="*/ 45 h 227"/>
                <a:gd name="T18" fmla="*/ 8 w 214"/>
                <a:gd name="T19" fmla="*/ 77 h 227"/>
                <a:gd name="T20" fmla="*/ 18 w 214"/>
                <a:gd name="T21" fmla="*/ 94 h 227"/>
                <a:gd name="T22" fmla="*/ 4 w 214"/>
                <a:gd name="T23" fmla="*/ 105 h 227"/>
                <a:gd name="T24" fmla="*/ 14 w 214"/>
                <a:gd name="T25" fmla="*/ 120 h 227"/>
                <a:gd name="T26" fmla="*/ 33 w 214"/>
                <a:gd name="T27" fmla="*/ 110 h 227"/>
                <a:gd name="T28" fmla="*/ 59 w 214"/>
                <a:gd name="T29" fmla="*/ 114 h 227"/>
                <a:gd name="T30" fmla="*/ 52 w 214"/>
                <a:gd name="T31" fmla="*/ 132 h 227"/>
                <a:gd name="T32" fmla="*/ 62 w 214"/>
                <a:gd name="T33" fmla="*/ 145 h 227"/>
                <a:gd name="T34" fmla="*/ 71 w 214"/>
                <a:gd name="T35" fmla="*/ 133 h 227"/>
                <a:gd name="T36" fmla="*/ 95 w 214"/>
                <a:gd name="T37" fmla="*/ 137 h 227"/>
                <a:gd name="T38" fmla="*/ 114 w 214"/>
                <a:gd name="T39" fmla="*/ 156 h 227"/>
                <a:gd name="T40" fmla="*/ 129 w 214"/>
                <a:gd name="T41" fmla="*/ 176 h 227"/>
                <a:gd name="T42" fmla="*/ 120 w 214"/>
                <a:gd name="T43" fmla="*/ 190 h 227"/>
                <a:gd name="T44" fmla="*/ 127 w 214"/>
                <a:gd name="T45" fmla="*/ 201 h 227"/>
                <a:gd name="T46" fmla="*/ 144 w 214"/>
                <a:gd name="T47" fmla="*/ 217 h 227"/>
                <a:gd name="T48" fmla="*/ 160 w 214"/>
                <a:gd name="T49" fmla="*/ 226 h 227"/>
                <a:gd name="T50" fmla="*/ 173 w 214"/>
                <a:gd name="T51" fmla="*/ 226 h 227"/>
                <a:gd name="T52" fmla="*/ 201 w 214"/>
                <a:gd name="T53" fmla="*/ 220 h 227"/>
                <a:gd name="T54" fmla="*/ 206 w 214"/>
                <a:gd name="T55" fmla="*/ 212 h 227"/>
                <a:gd name="T56" fmla="*/ 213 w 214"/>
                <a:gd name="T57" fmla="*/ 198 h 227"/>
                <a:gd name="T58" fmla="*/ 209 w 214"/>
                <a:gd name="T59" fmla="*/ 175 h 227"/>
                <a:gd name="T60" fmla="*/ 180 w 214"/>
                <a:gd name="T61" fmla="*/ 133 h 227"/>
                <a:gd name="T62" fmla="*/ 190 w 214"/>
                <a:gd name="T63" fmla="*/ 111 h 227"/>
                <a:gd name="T64" fmla="*/ 180 w 214"/>
                <a:gd name="T65" fmla="*/ 91 h 227"/>
                <a:gd name="T66" fmla="*/ 201 w 214"/>
                <a:gd name="T67" fmla="*/ 77 h 227"/>
                <a:gd name="T68" fmla="*/ 211 w 214"/>
                <a:gd name="T69" fmla="*/ 64 h 227"/>
                <a:gd name="T70" fmla="*/ 194 w 214"/>
                <a:gd name="T71" fmla="*/ 63 h 227"/>
                <a:gd name="T72" fmla="*/ 177 w 214"/>
                <a:gd name="T73" fmla="*/ 52 h 227"/>
                <a:gd name="T74" fmla="*/ 178 w 214"/>
                <a:gd name="T75" fmla="*/ 44 h 227"/>
                <a:gd name="T76" fmla="*/ 171 w 214"/>
                <a:gd name="T77" fmla="*/ 34 h 227"/>
                <a:gd name="T78" fmla="*/ 160 w 214"/>
                <a:gd name="T79" fmla="*/ 39 h 227"/>
                <a:gd name="T80" fmla="*/ 141 w 214"/>
                <a:gd name="T81" fmla="*/ 6 h 227"/>
                <a:gd name="T82" fmla="*/ 126 w 214"/>
                <a:gd name="T83" fmla="*/ 0 h 227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14"/>
                <a:gd name="T127" fmla="*/ 0 h 227"/>
                <a:gd name="T128" fmla="*/ 214 w 214"/>
                <a:gd name="T129" fmla="*/ 227 h 227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14" h="227">
                  <a:moveTo>
                    <a:pt x="126" y="0"/>
                  </a:moveTo>
                  <a:lnTo>
                    <a:pt x="115" y="0"/>
                  </a:lnTo>
                  <a:lnTo>
                    <a:pt x="108" y="10"/>
                  </a:lnTo>
                  <a:lnTo>
                    <a:pt x="98" y="13"/>
                  </a:lnTo>
                  <a:lnTo>
                    <a:pt x="86" y="11"/>
                  </a:lnTo>
                  <a:lnTo>
                    <a:pt x="78" y="3"/>
                  </a:lnTo>
                  <a:lnTo>
                    <a:pt x="67" y="1"/>
                  </a:lnTo>
                  <a:lnTo>
                    <a:pt x="56" y="5"/>
                  </a:lnTo>
                  <a:lnTo>
                    <a:pt x="45" y="8"/>
                  </a:lnTo>
                  <a:lnTo>
                    <a:pt x="38" y="11"/>
                  </a:lnTo>
                  <a:lnTo>
                    <a:pt x="33" y="5"/>
                  </a:lnTo>
                  <a:lnTo>
                    <a:pt x="27" y="5"/>
                  </a:lnTo>
                  <a:lnTo>
                    <a:pt x="21" y="8"/>
                  </a:lnTo>
                  <a:lnTo>
                    <a:pt x="14" y="10"/>
                  </a:lnTo>
                  <a:lnTo>
                    <a:pt x="11" y="17"/>
                  </a:lnTo>
                  <a:lnTo>
                    <a:pt x="14" y="27"/>
                  </a:lnTo>
                  <a:lnTo>
                    <a:pt x="7" y="35"/>
                  </a:lnTo>
                  <a:lnTo>
                    <a:pt x="0" y="45"/>
                  </a:lnTo>
                  <a:lnTo>
                    <a:pt x="2" y="61"/>
                  </a:lnTo>
                  <a:lnTo>
                    <a:pt x="8" y="77"/>
                  </a:lnTo>
                  <a:lnTo>
                    <a:pt x="18" y="87"/>
                  </a:lnTo>
                  <a:lnTo>
                    <a:pt x="18" y="94"/>
                  </a:lnTo>
                  <a:lnTo>
                    <a:pt x="10" y="99"/>
                  </a:lnTo>
                  <a:lnTo>
                    <a:pt x="4" y="105"/>
                  </a:lnTo>
                  <a:lnTo>
                    <a:pt x="4" y="113"/>
                  </a:lnTo>
                  <a:lnTo>
                    <a:pt x="14" y="120"/>
                  </a:lnTo>
                  <a:lnTo>
                    <a:pt x="20" y="120"/>
                  </a:lnTo>
                  <a:lnTo>
                    <a:pt x="33" y="110"/>
                  </a:lnTo>
                  <a:lnTo>
                    <a:pt x="44" y="111"/>
                  </a:lnTo>
                  <a:lnTo>
                    <a:pt x="59" y="114"/>
                  </a:lnTo>
                  <a:lnTo>
                    <a:pt x="59" y="125"/>
                  </a:lnTo>
                  <a:lnTo>
                    <a:pt x="52" y="132"/>
                  </a:lnTo>
                  <a:lnTo>
                    <a:pt x="56" y="139"/>
                  </a:lnTo>
                  <a:lnTo>
                    <a:pt x="62" y="145"/>
                  </a:lnTo>
                  <a:lnTo>
                    <a:pt x="69" y="135"/>
                  </a:lnTo>
                  <a:lnTo>
                    <a:pt x="71" y="133"/>
                  </a:lnTo>
                  <a:lnTo>
                    <a:pt x="83" y="142"/>
                  </a:lnTo>
                  <a:lnTo>
                    <a:pt x="95" y="137"/>
                  </a:lnTo>
                  <a:lnTo>
                    <a:pt x="105" y="139"/>
                  </a:lnTo>
                  <a:lnTo>
                    <a:pt x="114" y="156"/>
                  </a:lnTo>
                  <a:lnTo>
                    <a:pt x="122" y="166"/>
                  </a:lnTo>
                  <a:lnTo>
                    <a:pt x="129" y="176"/>
                  </a:lnTo>
                  <a:lnTo>
                    <a:pt x="127" y="181"/>
                  </a:lnTo>
                  <a:lnTo>
                    <a:pt x="120" y="190"/>
                  </a:lnTo>
                  <a:lnTo>
                    <a:pt x="122" y="198"/>
                  </a:lnTo>
                  <a:lnTo>
                    <a:pt x="127" y="201"/>
                  </a:lnTo>
                  <a:lnTo>
                    <a:pt x="136" y="207"/>
                  </a:lnTo>
                  <a:lnTo>
                    <a:pt x="144" y="217"/>
                  </a:lnTo>
                  <a:lnTo>
                    <a:pt x="151" y="224"/>
                  </a:lnTo>
                  <a:lnTo>
                    <a:pt x="160" y="226"/>
                  </a:lnTo>
                  <a:lnTo>
                    <a:pt x="165" y="220"/>
                  </a:lnTo>
                  <a:lnTo>
                    <a:pt x="173" y="226"/>
                  </a:lnTo>
                  <a:lnTo>
                    <a:pt x="188" y="226"/>
                  </a:lnTo>
                  <a:lnTo>
                    <a:pt x="201" y="220"/>
                  </a:lnTo>
                  <a:lnTo>
                    <a:pt x="199" y="222"/>
                  </a:lnTo>
                  <a:lnTo>
                    <a:pt x="206" y="212"/>
                  </a:lnTo>
                  <a:lnTo>
                    <a:pt x="209" y="205"/>
                  </a:lnTo>
                  <a:lnTo>
                    <a:pt x="213" y="198"/>
                  </a:lnTo>
                  <a:lnTo>
                    <a:pt x="213" y="186"/>
                  </a:lnTo>
                  <a:lnTo>
                    <a:pt x="209" y="175"/>
                  </a:lnTo>
                  <a:lnTo>
                    <a:pt x="201" y="154"/>
                  </a:lnTo>
                  <a:lnTo>
                    <a:pt x="180" y="133"/>
                  </a:lnTo>
                  <a:lnTo>
                    <a:pt x="184" y="122"/>
                  </a:lnTo>
                  <a:lnTo>
                    <a:pt x="190" y="111"/>
                  </a:lnTo>
                  <a:lnTo>
                    <a:pt x="177" y="97"/>
                  </a:lnTo>
                  <a:lnTo>
                    <a:pt x="180" y="91"/>
                  </a:lnTo>
                  <a:lnTo>
                    <a:pt x="192" y="91"/>
                  </a:lnTo>
                  <a:lnTo>
                    <a:pt x="201" y="77"/>
                  </a:lnTo>
                  <a:lnTo>
                    <a:pt x="204" y="72"/>
                  </a:lnTo>
                  <a:lnTo>
                    <a:pt x="211" y="64"/>
                  </a:lnTo>
                  <a:lnTo>
                    <a:pt x="201" y="59"/>
                  </a:lnTo>
                  <a:lnTo>
                    <a:pt x="194" y="63"/>
                  </a:lnTo>
                  <a:lnTo>
                    <a:pt x="180" y="56"/>
                  </a:lnTo>
                  <a:lnTo>
                    <a:pt x="177" y="52"/>
                  </a:lnTo>
                  <a:lnTo>
                    <a:pt x="178" y="47"/>
                  </a:lnTo>
                  <a:lnTo>
                    <a:pt x="178" y="44"/>
                  </a:lnTo>
                  <a:lnTo>
                    <a:pt x="180" y="39"/>
                  </a:lnTo>
                  <a:lnTo>
                    <a:pt x="171" y="34"/>
                  </a:lnTo>
                  <a:lnTo>
                    <a:pt x="165" y="37"/>
                  </a:lnTo>
                  <a:lnTo>
                    <a:pt x="160" y="39"/>
                  </a:lnTo>
                  <a:lnTo>
                    <a:pt x="139" y="17"/>
                  </a:lnTo>
                  <a:lnTo>
                    <a:pt x="141" y="6"/>
                  </a:lnTo>
                  <a:lnTo>
                    <a:pt x="136" y="1"/>
                  </a:lnTo>
                  <a:lnTo>
                    <a:pt x="126" y="0"/>
                  </a:lnTo>
                </a:path>
              </a:pathLst>
            </a:custGeom>
            <a:solidFill>
              <a:srgbClr val="AFDFDF">
                <a:alpha val="69804"/>
              </a:srgbClr>
            </a:solidFill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140519" tIns="70257" rIns="140519" bIns="70257" anchor="ctr"/>
            <a:lstStyle/>
            <a:p>
              <a:pPr marL="0" marR="0" lvl="0" indent="0" algn="l" defTabSz="9143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endParaRPr>
            </a:p>
          </p:txBody>
        </p:sp>
        <p:sp>
          <p:nvSpPr>
            <p:cNvPr id="86" name="Freeform 4055"/>
            <p:cNvSpPr>
              <a:spLocks/>
            </p:cNvSpPr>
            <p:nvPr/>
          </p:nvSpPr>
          <p:spPr bwMode="auto">
            <a:xfrm>
              <a:off x="2675702" y="3021566"/>
              <a:ext cx="320225" cy="186250"/>
            </a:xfrm>
            <a:custGeom>
              <a:avLst/>
              <a:gdLst>
                <a:gd name="T0" fmla="*/ 138 w 144"/>
                <a:gd name="T1" fmla="*/ 35 h 101"/>
                <a:gd name="T2" fmla="*/ 123 w 144"/>
                <a:gd name="T3" fmla="*/ 19 h 101"/>
                <a:gd name="T4" fmla="*/ 113 w 144"/>
                <a:gd name="T5" fmla="*/ 14 h 101"/>
                <a:gd name="T6" fmla="*/ 96 w 144"/>
                <a:gd name="T7" fmla="*/ 8 h 101"/>
                <a:gd name="T8" fmla="*/ 92 w 144"/>
                <a:gd name="T9" fmla="*/ 0 h 101"/>
                <a:gd name="T10" fmla="*/ 85 w 144"/>
                <a:gd name="T11" fmla="*/ 8 h 101"/>
                <a:gd name="T12" fmla="*/ 85 w 144"/>
                <a:gd name="T13" fmla="*/ 15 h 101"/>
                <a:gd name="T14" fmla="*/ 82 w 144"/>
                <a:gd name="T15" fmla="*/ 17 h 101"/>
                <a:gd name="T16" fmla="*/ 75 w 144"/>
                <a:gd name="T17" fmla="*/ 19 h 101"/>
                <a:gd name="T18" fmla="*/ 67 w 144"/>
                <a:gd name="T19" fmla="*/ 22 h 101"/>
                <a:gd name="T20" fmla="*/ 62 w 144"/>
                <a:gd name="T21" fmla="*/ 27 h 101"/>
                <a:gd name="T22" fmla="*/ 54 w 144"/>
                <a:gd name="T23" fmla="*/ 32 h 101"/>
                <a:gd name="T24" fmla="*/ 51 w 144"/>
                <a:gd name="T25" fmla="*/ 24 h 101"/>
                <a:gd name="T26" fmla="*/ 45 w 144"/>
                <a:gd name="T27" fmla="*/ 19 h 101"/>
                <a:gd name="T28" fmla="*/ 39 w 144"/>
                <a:gd name="T29" fmla="*/ 15 h 101"/>
                <a:gd name="T30" fmla="*/ 33 w 144"/>
                <a:gd name="T31" fmla="*/ 19 h 101"/>
                <a:gd name="T32" fmla="*/ 31 w 144"/>
                <a:gd name="T33" fmla="*/ 24 h 101"/>
                <a:gd name="T34" fmla="*/ 37 w 144"/>
                <a:gd name="T35" fmla="*/ 32 h 101"/>
                <a:gd name="T36" fmla="*/ 34 w 144"/>
                <a:gd name="T37" fmla="*/ 37 h 101"/>
                <a:gd name="T38" fmla="*/ 27 w 144"/>
                <a:gd name="T39" fmla="*/ 37 h 101"/>
                <a:gd name="T40" fmla="*/ 24 w 144"/>
                <a:gd name="T41" fmla="*/ 39 h 101"/>
                <a:gd name="T42" fmla="*/ 22 w 144"/>
                <a:gd name="T43" fmla="*/ 46 h 101"/>
                <a:gd name="T44" fmla="*/ 19 w 144"/>
                <a:gd name="T45" fmla="*/ 49 h 101"/>
                <a:gd name="T46" fmla="*/ 10 w 144"/>
                <a:gd name="T47" fmla="*/ 52 h 101"/>
                <a:gd name="T48" fmla="*/ 0 w 144"/>
                <a:gd name="T49" fmla="*/ 51 h 101"/>
                <a:gd name="T50" fmla="*/ 14 w 144"/>
                <a:gd name="T51" fmla="*/ 61 h 101"/>
                <a:gd name="T52" fmla="*/ 15 w 144"/>
                <a:gd name="T53" fmla="*/ 71 h 101"/>
                <a:gd name="T54" fmla="*/ 17 w 144"/>
                <a:gd name="T55" fmla="*/ 80 h 101"/>
                <a:gd name="T56" fmla="*/ 15 w 144"/>
                <a:gd name="T57" fmla="*/ 88 h 101"/>
                <a:gd name="T58" fmla="*/ 14 w 144"/>
                <a:gd name="T59" fmla="*/ 94 h 101"/>
                <a:gd name="T60" fmla="*/ 20 w 144"/>
                <a:gd name="T61" fmla="*/ 90 h 101"/>
                <a:gd name="T62" fmla="*/ 29 w 144"/>
                <a:gd name="T63" fmla="*/ 98 h 101"/>
                <a:gd name="T64" fmla="*/ 43 w 144"/>
                <a:gd name="T65" fmla="*/ 90 h 101"/>
                <a:gd name="T66" fmla="*/ 53 w 144"/>
                <a:gd name="T67" fmla="*/ 88 h 101"/>
                <a:gd name="T68" fmla="*/ 60 w 144"/>
                <a:gd name="T69" fmla="*/ 88 h 101"/>
                <a:gd name="T70" fmla="*/ 68 w 144"/>
                <a:gd name="T71" fmla="*/ 94 h 101"/>
                <a:gd name="T72" fmla="*/ 77 w 144"/>
                <a:gd name="T73" fmla="*/ 98 h 101"/>
                <a:gd name="T74" fmla="*/ 87 w 144"/>
                <a:gd name="T75" fmla="*/ 100 h 101"/>
                <a:gd name="T76" fmla="*/ 96 w 144"/>
                <a:gd name="T77" fmla="*/ 97 h 101"/>
                <a:gd name="T78" fmla="*/ 104 w 144"/>
                <a:gd name="T79" fmla="*/ 85 h 101"/>
                <a:gd name="T80" fmla="*/ 115 w 144"/>
                <a:gd name="T81" fmla="*/ 87 h 101"/>
                <a:gd name="T82" fmla="*/ 118 w 144"/>
                <a:gd name="T83" fmla="*/ 77 h 101"/>
                <a:gd name="T84" fmla="*/ 128 w 144"/>
                <a:gd name="T85" fmla="*/ 75 h 101"/>
                <a:gd name="T86" fmla="*/ 133 w 144"/>
                <a:gd name="T87" fmla="*/ 77 h 101"/>
                <a:gd name="T88" fmla="*/ 138 w 144"/>
                <a:gd name="T89" fmla="*/ 73 h 101"/>
                <a:gd name="T90" fmla="*/ 141 w 144"/>
                <a:gd name="T91" fmla="*/ 68 h 101"/>
                <a:gd name="T92" fmla="*/ 143 w 144"/>
                <a:gd name="T93" fmla="*/ 61 h 101"/>
                <a:gd name="T94" fmla="*/ 143 w 144"/>
                <a:gd name="T95" fmla="*/ 48 h 101"/>
                <a:gd name="T96" fmla="*/ 138 w 144"/>
                <a:gd name="T97" fmla="*/ 35 h 10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44"/>
                <a:gd name="T148" fmla="*/ 0 h 101"/>
                <a:gd name="T149" fmla="*/ 144 w 144"/>
                <a:gd name="T150" fmla="*/ 101 h 101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44" h="101">
                  <a:moveTo>
                    <a:pt x="138" y="35"/>
                  </a:moveTo>
                  <a:lnTo>
                    <a:pt x="123" y="19"/>
                  </a:lnTo>
                  <a:lnTo>
                    <a:pt x="113" y="14"/>
                  </a:lnTo>
                  <a:lnTo>
                    <a:pt x="96" y="8"/>
                  </a:lnTo>
                  <a:lnTo>
                    <a:pt x="92" y="0"/>
                  </a:lnTo>
                  <a:lnTo>
                    <a:pt x="85" y="8"/>
                  </a:lnTo>
                  <a:lnTo>
                    <a:pt x="85" y="15"/>
                  </a:lnTo>
                  <a:lnTo>
                    <a:pt x="82" y="17"/>
                  </a:lnTo>
                  <a:lnTo>
                    <a:pt x="75" y="19"/>
                  </a:lnTo>
                  <a:lnTo>
                    <a:pt x="67" y="22"/>
                  </a:lnTo>
                  <a:lnTo>
                    <a:pt x="62" y="27"/>
                  </a:lnTo>
                  <a:lnTo>
                    <a:pt x="54" y="32"/>
                  </a:lnTo>
                  <a:lnTo>
                    <a:pt x="51" y="24"/>
                  </a:lnTo>
                  <a:lnTo>
                    <a:pt x="45" y="19"/>
                  </a:lnTo>
                  <a:lnTo>
                    <a:pt x="39" y="15"/>
                  </a:lnTo>
                  <a:lnTo>
                    <a:pt x="33" y="19"/>
                  </a:lnTo>
                  <a:lnTo>
                    <a:pt x="31" y="24"/>
                  </a:lnTo>
                  <a:lnTo>
                    <a:pt x="37" y="32"/>
                  </a:lnTo>
                  <a:lnTo>
                    <a:pt x="34" y="37"/>
                  </a:lnTo>
                  <a:lnTo>
                    <a:pt x="27" y="37"/>
                  </a:lnTo>
                  <a:lnTo>
                    <a:pt x="24" y="39"/>
                  </a:lnTo>
                  <a:lnTo>
                    <a:pt x="22" y="46"/>
                  </a:lnTo>
                  <a:lnTo>
                    <a:pt x="19" y="49"/>
                  </a:lnTo>
                  <a:lnTo>
                    <a:pt x="10" y="52"/>
                  </a:lnTo>
                  <a:lnTo>
                    <a:pt x="0" y="51"/>
                  </a:lnTo>
                  <a:lnTo>
                    <a:pt x="14" y="61"/>
                  </a:lnTo>
                  <a:lnTo>
                    <a:pt x="15" y="71"/>
                  </a:lnTo>
                  <a:lnTo>
                    <a:pt x="17" y="80"/>
                  </a:lnTo>
                  <a:lnTo>
                    <a:pt x="15" y="88"/>
                  </a:lnTo>
                  <a:lnTo>
                    <a:pt x="14" y="94"/>
                  </a:lnTo>
                  <a:lnTo>
                    <a:pt x="20" y="90"/>
                  </a:lnTo>
                  <a:lnTo>
                    <a:pt x="29" y="98"/>
                  </a:lnTo>
                  <a:lnTo>
                    <a:pt x="43" y="90"/>
                  </a:lnTo>
                  <a:lnTo>
                    <a:pt x="53" y="88"/>
                  </a:lnTo>
                  <a:lnTo>
                    <a:pt x="60" y="88"/>
                  </a:lnTo>
                  <a:lnTo>
                    <a:pt x="68" y="94"/>
                  </a:lnTo>
                  <a:lnTo>
                    <a:pt x="77" y="98"/>
                  </a:lnTo>
                  <a:lnTo>
                    <a:pt x="87" y="100"/>
                  </a:lnTo>
                  <a:lnTo>
                    <a:pt x="96" y="97"/>
                  </a:lnTo>
                  <a:lnTo>
                    <a:pt x="104" y="85"/>
                  </a:lnTo>
                  <a:lnTo>
                    <a:pt x="115" y="87"/>
                  </a:lnTo>
                  <a:lnTo>
                    <a:pt x="118" y="77"/>
                  </a:lnTo>
                  <a:lnTo>
                    <a:pt x="128" y="75"/>
                  </a:lnTo>
                  <a:lnTo>
                    <a:pt x="133" y="77"/>
                  </a:lnTo>
                  <a:lnTo>
                    <a:pt x="138" y="73"/>
                  </a:lnTo>
                  <a:lnTo>
                    <a:pt x="141" y="68"/>
                  </a:lnTo>
                  <a:lnTo>
                    <a:pt x="143" y="61"/>
                  </a:lnTo>
                  <a:lnTo>
                    <a:pt x="143" y="48"/>
                  </a:lnTo>
                  <a:lnTo>
                    <a:pt x="138" y="35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l" defTabSz="9143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endParaRPr>
            </a:p>
          </p:txBody>
        </p:sp>
        <p:sp>
          <p:nvSpPr>
            <p:cNvPr id="87" name="Freeform 4156"/>
            <p:cNvSpPr>
              <a:spLocks/>
            </p:cNvSpPr>
            <p:nvPr/>
          </p:nvSpPr>
          <p:spPr bwMode="auto">
            <a:xfrm>
              <a:off x="2473710" y="2796932"/>
              <a:ext cx="412187" cy="321314"/>
            </a:xfrm>
            <a:custGeom>
              <a:avLst/>
              <a:gdLst>
                <a:gd name="T0" fmla="*/ 95 w 185"/>
                <a:gd name="T1" fmla="*/ 0 h 174"/>
                <a:gd name="T2" fmla="*/ 105 w 185"/>
                <a:gd name="T3" fmla="*/ 25 h 174"/>
                <a:gd name="T4" fmla="*/ 112 w 185"/>
                <a:gd name="T5" fmla="*/ 42 h 174"/>
                <a:gd name="T6" fmla="*/ 116 w 185"/>
                <a:gd name="T7" fmla="*/ 50 h 174"/>
                <a:gd name="T8" fmla="*/ 117 w 185"/>
                <a:gd name="T9" fmla="*/ 62 h 174"/>
                <a:gd name="T10" fmla="*/ 131 w 185"/>
                <a:gd name="T11" fmla="*/ 72 h 174"/>
                <a:gd name="T12" fmla="*/ 143 w 185"/>
                <a:gd name="T13" fmla="*/ 82 h 174"/>
                <a:gd name="T14" fmla="*/ 160 w 185"/>
                <a:gd name="T15" fmla="*/ 98 h 174"/>
                <a:gd name="T16" fmla="*/ 175 w 185"/>
                <a:gd name="T17" fmla="*/ 108 h 174"/>
                <a:gd name="T18" fmla="*/ 184 w 185"/>
                <a:gd name="T19" fmla="*/ 116 h 174"/>
                <a:gd name="T20" fmla="*/ 180 w 185"/>
                <a:gd name="T21" fmla="*/ 123 h 174"/>
                <a:gd name="T22" fmla="*/ 175 w 185"/>
                <a:gd name="T23" fmla="*/ 127 h 174"/>
                <a:gd name="T24" fmla="*/ 172 w 185"/>
                <a:gd name="T25" fmla="*/ 128 h 174"/>
                <a:gd name="T26" fmla="*/ 173 w 185"/>
                <a:gd name="T27" fmla="*/ 135 h 174"/>
                <a:gd name="T28" fmla="*/ 169 w 185"/>
                <a:gd name="T29" fmla="*/ 139 h 174"/>
                <a:gd name="T30" fmla="*/ 163 w 185"/>
                <a:gd name="T31" fmla="*/ 142 h 174"/>
                <a:gd name="T32" fmla="*/ 158 w 185"/>
                <a:gd name="T33" fmla="*/ 142 h 174"/>
                <a:gd name="T34" fmla="*/ 144 w 185"/>
                <a:gd name="T35" fmla="*/ 152 h 174"/>
                <a:gd name="T36" fmla="*/ 143 w 185"/>
                <a:gd name="T37" fmla="*/ 147 h 174"/>
                <a:gd name="T38" fmla="*/ 136 w 185"/>
                <a:gd name="T39" fmla="*/ 142 h 174"/>
                <a:gd name="T40" fmla="*/ 129 w 185"/>
                <a:gd name="T41" fmla="*/ 137 h 174"/>
                <a:gd name="T42" fmla="*/ 124 w 185"/>
                <a:gd name="T43" fmla="*/ 139 h 174"/>
                <a:gd name="T44" fmla="*/ 120 w 185"/>
                <a:gd name="T45" fmla="*/ 142 h 174"/>
                <a:gd name="T46" fmla="*/ 120 w 185"/>
                <a:gd name="T47" fmla="*/ 147 h 174"/>
                <a:gd name="T48" fmla="*/ 126 w 185"/>
                <a:gd name="T49" fmla="*/ 152 h 174"/>
                <a:gd name="T50" fmla="*/ 122 w 185"/>
                <a:gd name="T51" fmla="*/ 157 h 174"/>
                <a:gd name="T52" fmla="*/ 116 w 185"/>
                <a:gd name="T53" fmla="*/ 159 h 174"/>
                <a:gd name="T54" fmla="*/ 112 w 185"/>
                <a:gd name="T55" fmla="*/ 162 h 174"/>
                <a:gd name="T56" fmla="*/ 110 w 185"/>
                <a:gd name="T57" fmla="*/ 167 h 174"/>
                <a:gd name="T58" fmla="*/ 105 w 185"/>
                <a:gd name="T59" fmla="*/ 171 h 174"/>
                <a:gd name="T60" fmla="*/ 100 w 185"/>
                <a:gd name="T61" fmla="*/ 173 h 174"/>
                <a:gd name="T62" fmla="*/ 90 w 185"/>
                <a:gd name="T63" fmla="*/ 171 h 174"/>
                <a:gd name="T64" fmla="*/ 75 w 185"/>
                <a:gd name="T65" fmla="*/ 169 h 174"/>
                <a:gd name="T66" fmla="*/ 65 w 185"/>
                <a:gd name="T67" fmla="*/ 162 h 174"/>
                <a:gd name="T68" fmla="*/ 55 w 185"/>
                <a:gd name="T69" fmla="*/ 154 h 174"/>
                <a:gd name="T70" fmla="*/ 41 w 185"/>
                <a:gd name="T71" fmla="*/ 142 h 174"/>
                <a:gd name="T72" fmla="*/ 36 w 185"/>
                <a:gd name="T73" fmla="*/ 137 h 174"/>
                <a:gd name="T74" fmla="*/ 29 w 185"/>
                <a:gd name="T75" fmla="*/ 135 h 174"/>
                <a:gd name="T76" fmla="*/ 16 w 185"/>
                <a:gd name="T77" fmla="*/ 133 h 174"/>
                <a:gd name="T78" fmla="*/ 7 w 185"/>
                <a:gd name="T79" fmla="*/ 133 h 174"/>
                <a:gd name="T80" fmla="*/ 4 w 185"/>
                <a:gd name="T81" fmla="*/ 128 h 174"/>
                <a:gd name="T82" fmla="*/ 2 w 185"/>
                <a:gd name="T83" fmla="*/ 120 h 174"/>
                <a:gd name="T84" fmla="*/ 4 w 185"/>
                <a:gd name="T85" fmla="*/ 108 h 174"/>
                <a:gd name="T86" fmla="*/ 7 w 185"/>
                <a:gd name="T87" fmla="*/ 99 h 174"/>
                <a:gd name="T88" fmla="*/ 5 w 185"/>
                <a:gd name="T89" fmla="*/ 96 h 174"/>
                <a:gd name="T90" fmla="*/ 4 w 185"/>
                <a:gd name="T91" fmla="*/ 87 h 174"/>
                <a:gd name="T92" fmla="*/ 0 w 185"/>
                <a:gd name="T93" fmla="*/ 79 h 174"/>
                <a:gd name="T94" fmla="*/ 0 w 185"/>
                <a:gd name="T95" fmla="*/ 72 h 174"/>
                <a:gd name="T96" fmla="*/ 4 w 185"/>
                <a:gd name="T97" fmla="*/ 69 h 174"/>
                <a:gd name="T98" fmla="*/ 7 w 185"/>
                <a:gd name="T99" fmla="*/ 67 h 174"/>
                <a:gd name="T100" fmla="*/ 5 w 185"/>
                <a:gd name="T101" fmla="*/ 59 h 174"/>
                <a:gd name="T102" fmla="*/ 7 w 185"/>
                <a:gd name="T103" fmla="*/ 53 h 174"/>
                <a:gd name="T104" fmla="*/ 16 w 185"/>
                <a:gd name="T105" fmla="*/ 45 h 174"/>
                <a:gd name="T106" fmla="*/ 24 w 185"/>
                <a:gd name="T107" fmla="*/ 45 h 174"/>
                <a:gd name="T108" fmla="*/ 33 w 185"/>
                <a:gd name="T109" fmla="*/ 42 h 174"/>
                <a:gd name="T110" fmla="*/ 38 w 185"/>
                <a:gd name="T111" fmla="*/ 35 h 174"/>
                <a:gd name="T112" fmla="*/ 36 w 185"/>
                <a:gd name="T113" fmla="*/ 30 h 174"/>
                <a:gd name="T114" fmla="*/ 48 w 185"/>
                <a:gd name="T115" fmla="*/ 18 h 174"/>
                <a:gd name="T116" fmla="*/ 62 w 185"/>
                <a:gd name="T117" fmla="*/ 19 h 174"/>
                <a:gd name="T118" fmla="*/ 67 w 185"/>
                <a:gd name="T119" fmla="*/ 12 h 174"/>
                <a:gd name="T120" fmla="*/ 79 w 185"/>
                <a:gd name="T121" fmla="*/ 10 h 174"/>
                <a:gd name="T122" fmla="*/ 87 w 185"/>
                <a:gd name="T123" fmla="*/ 5 h 174"/>
                <a:gd name="T124" fmla="*/ 95 w 185"/>
                <a:gd name="T125" fmla="*/ 0 h 17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85"/>
                <a:gd name="T190" fmla="*/ 0 h 174"/>
                <a:gd name="T191" fmla="*/ 185 w 185"/>
                <a:gd name="T192" fmla="*/ 174 h 17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85" h="174">
                  <a:moveTo>
                    <a:pt x="95" y="0"/>
                  </a:moveTo>
                  <a:lnTo>
                    <a:pt x="105" y="25"/>
                  </a:lnTo>
                  <a:lnTo>
                    <a:pt x="112" y="42"/>
                  </a:lnTo>
                  <a:lnTo>
                    <a:pt x="116" y="50"/>
                  </a:lnTo>
                  <a:lnTo>
                    <a:pt x="117" y="62"/>
                  </a:lnTo>
                  <a:lnTo>
                    <a:pt x="131" y="72"/>
                  </a:lnTo>
                  <a:lnTo>
                    <a:pt x="143" y="82"/>
                  </a:lnTo>
                  <a:lnTo>
                    <a:pt x="160" y="98"/>
                  </a:lnTo>
                  <a:lnTo>
                    <a:pt x="175" y="108"/>
                  </a:lnTo>
                  <a:lnTo>
                    <a:pt x="184" y="116"/>
                  </a:lnTo>
                  <a:lnTo>
                    <a:pt x="180" y="123"/>
                  </a:lnTo>
                  <a:lnTo>
                    <a:pt x="175" y="127"/>
                  </a:lnTo>
                  <a:lnTo>
                    <a:pt x="172" y="128"/>
                  </a:lnTo>
                  <a:lnTo>
                    <a:pt x="173" y="135"/>
                  </a:lnTo>
                  <a:lnTo>
                    <a:pt x="169" y="139"/>
                  </a:lnTo>
                  <a:lnTo>
                    <a:pt x="163" y="142"/>
                  </a:lnTo>
                  <a:lnTo>
                    <a:pt x="158" y="142"/>
                  </a:lnTo>
                  <a:lnTo>
                    <a:pt x="144" y="152"/>
                  </a:lnTo>
                  <a:lnTo>
                    <a:pt x="143" y="147"/>
                  </a:lnTo>
                  <a:lnTo>
                    <a:pt x="136" y="142"/>
                  </a:lnTo>
                  <a:lnTo>
                    <a:pt x="129" y="137"/>
                  </a:lnTo>
                  <a:lnTo>
                    <a:pt x="124" y="139"/>
                  </a:lnTo>
                  <a:lnTo>
                    <a:pt x="120" y="142"/>
                  </a:lnTo>
                  <a:lnTo>
                    <a:pt x="120" y="147"/>
                  </a:lnTo>
                  <a:lnTo>
                    <a:pt x="126" y="152"/>
                  </a:lnTo>
                  <a:lnTo>
                    <a:pt x="122" y="157"/>
                  </a:lnTo>
                  <a:lnTo>
                    <a:pt x="116" y="159"/>
                  </a:lnTo>
                  <a:lnTo>
                    <a:pt x="112" y="162"/>
                  </a:lnTo>
                  <a:lnTo>
                    <a:pt x="110" y="167"/>
                  </a:lnTo>
                  <a:lnTo>
                    <a:pt x="105" y="171"/>
                  </a:lnTo>
                  <a:lnTo>
                    <a:pt x="100" y="173"/>
                  </a:lnTo>
                  <a:lnTo>
                    <a:pt x="90" y="171"/>
                  </a:lnTo>
                  <a:lnTo>
                    <a:pt x="75" y="169"/>
                  </a:lnTo>
                  <a:lnTo>
                    <a:pt x="65" y="162"/>
                  </a:lnTo>
                  <a:lnTo>
                    <a:pt x="55" y="154"/>
                  </a:lnTo>
                  <a:lnTo>
                    <a:pt x="41" y="142"/>
                  </a:lnTo>
                  <a:lnTo>
                    <a:pt x="36" y="137"/>
                  </a:lnTo>
                  <a:lnTo>
                    <a:pt x="29" y="135"/>
                  </a:lnTo>
                  <a:lnTo>
                    <a:pt x="16" y="133"/>
                  </a:lnTo>
                  <a:lnTo>
                    <a:pt x="7" y="133"/>
                  </a:lnTo>
                  <a:lnTo>
                    <a:pt x="4" y="128"/>
                  </a:lnTo>
                  <a:lnTo>
                    <a:pt x="2" y="120"/>
                  </a:lnTo>
                  <a:lnTo>
                    <a:pt x="4" y="108"/>
                  </a:lnTo>
                  <a:lnTo>
                    <a:pt x="7" y="99"/>
                  </a:lnTo>
                  <a:lnTo>
                    <a:pt x="5" y="96"/>
                  </a:lnTo>
                  <a:lnTo>
                    <a:pt x="4" y="87"/>
                  </a:lnTo>
                  <a:lnTo>
                    <a:pt x="0" y="79"/>
                  </a:lnTo>
                  <a:lnTo>
                    <a:pt x="0" y="72"/>
                  </a:lnTo>
                  <a:lnTo>
                    <a:pt x="4" y="69"/>
                  </a:lnTo>
                  <a:lnTo>
                    <a:pt x="7" y="67"/>
                  </a:lnTo>
                  <a:lnTo>
                    <a:pt x="5" y="59"/>
                  </a:lnTo>
                  <a:lnTo>
                    <a:pt x="7" y="53"/>
                  </a:lnTo>
                  <a:lnTo>
                    <a:pt x="16" y="45"/>
                  </a:lnTo>
                  <a:lnTo>
                    <a:pt x="24" y="45"/>
                  </a:lnTo>
                  <a:lnTo>
                    <a:pt x="33" y="42"/>
                  </a:lnTo>
                  <a:lnTo>
                    <a:pt x="38" y="35"/>
                  </a:lnTo>
                  <a:lnTo>
                    <a:pt x="36" y="30"/>
                  </a:lnTo>
                  <a:lnTo>
                    <a:pt x="48" y="18"/>
                  </a:lnTo>
                  <a:lnTo>
                    <a:pt x="62" y="19"/>
                  </a:lnTo>
                  <a:lnTo>
                    <a:pt x="67" y="12"/>
                  </a:lnTo>
                  <a:lnTo>
                    <a:pt x="79" y="10"/>
                  </a:lnTo>
                  <a:lnTo>
                    <a:pt x="87" y="5"/>
                  </a:lnTo>
                  <a:lnTo>
                    <a:pt x="95" y="0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l" defTabSz="9143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endParaRPr>
            </a:p>
          </p:txBody>
        </p:sp>
        <p:sp>
          <p:nvSpPr>
            <p:cNvPr id="88" name="Freeform 4257"/>
            <p:cNvSpPr>
              <a:spLocks/>
            </p:cNvSpPr>
            <p:nvPr/>
          </p:nvSpPr>
          <p:spPr bwMode="auto">
            <a:xfrm>
              <a:off x="2212604" y="2593624"/>
              <a:ext cx="338290" cy="331267"/>
            </a:xfrm>
            <a:custGeom>
              <a:avLst/>
              <a:gdLst>
                <a:gd name="T0" fmla="*/ 149 w 153"/>
                <a:gd name="T1" fmla="*/ 129 h 181"/>
                <a:gd name="T2" fmla="*/ 128 w 153"/>
                <a:gd name="T3" fmla="*/ 111 h 181"/>
                <a:gd name="T4" fmla="*/ 111 w 153"/>
                <a:gd name="T5" fmla="*/ 101 h 181"/>
                <a:gd name="T6" fmla="*/ 109 w 153"/>
                <a:gd name="T7" fmla="*/ 74 h 181"/>
                <a:gd name="T8" fmla="*/ 107 w 153"/>
                <a:gd name="T9" fmla="*/ 46 h 181"/>
                <a:gd name="T10" fmla="*/ 85 w 153"/>
                <a:gd name="T11" fmla="*/ 31 h 181"/>
                <a:gd name="T12" fmla="*/ 67 w 153"/>
                <a:gd name="T13" fmla="*/ 19 h 181"/>
                <a:gd name="T14" fmla="*/ 53 w 153"/>
                <a:gd name="T15" fmla="*/ 9 h 181"/>
                <a:gd name="T16" fmla="*/ 46 w 153"/>
                <a:gd name="T17" fmla="*/ 0 h 181"/>
                <a:gd name="T18" fmla="*/ 34 w 153"/>
                <a:gd name="T19" fmla="*/ 4 h 181"/>
                <a:gd name="T20" fmla="*/ 36 w 153"/>
                <a:gd name="T21" fmla="*/ 22 h 181"/>
                <a:gd name="T22" fmla="*/ 43 w 153"/>
                <a:gd name="T23" fmla="*/ 41 h 181"/>
                <a:gd name="T24" fmla="*/ 29 w 153"/>
                <a:gd name="T25" fmla="*/ 46 h 181"/>
                <a:gd name="T26" fmla="*/ 15 w 153"/>
                <a:gd name="T27" fmla="*/ 58 h 181"/>
                <a:gd name="T28" fmla="*/ 19 w 153"/>
                <a:gd name="T29" fmla="*/ 75 h 181"/>
                <a:gd name="T30" fmla="*/ 17 w 153"/>
                <a:gd name="T31" fmla="*/ 80 h 181"/>
                <a:gd name="T32" fmla="*/ 12 w 153"/>
                <a:gd name="T33" fmla="*/ 94 h 181"/>
                <a:gd name="T34" fmla="*/ 2 w 153"/>
                <a:gd name="T35" fmla="*/ 106 h 181"/>
                <a:gd name="T36" fmla="*/ 0 w 153"/>
                <a:gd name="T37" fmla="*/ 116 h 181"/>
                <a:gd name="T38" fmla="*/ 9 w 153"/>
                <a:gd name="T39" fmla="*/ 125 h 181"/>
                <a:gd name="T40" fmla="*/ 0 w 153"/>
                <a:gd name="T41" fmla="*/ 136 h 181"/>
                <a:gd name="T42" fmla="*/ 14 w 153"/>
                <a:gd name="T43" fmla="*/ 141 h 181"/>
                <a:gd name="T44" fmla="*/ 31 w 153"/>
                <a:gd name="T45" fmla="*/ 144 h 181"/>
                <a:gd name="T46" fmla="*/ 36 w 153"/>
                <a:gd name="T47" fmla="*/ 161 h 181"/>
                <a:gd name="T48" fmla="*/ 44 w 153"/>
                <a:gd name="T49" fmla="*/ 168 h 181"/>
                <a:gd name="T50" fmla="*/ 54 w 153"/>
                <a:gd name="T51" fmla="*/ 178 h 181"/>
                <a:gd name="T52" fmla="*/ 73 w 153"/>
                <a:gd name="T53" fmla="*/ 180 h 181"/>
                <a:gd name="T54" fmla="*/ 82 w 153"/>
                <a:gd name="T55" fmla="*/ 171 h 181"/>
                <a:gd name="T56" fmla="*/ 96 w 153"/>
                <a:gd name="T57" fmla="*/ 165 h 181"/>
                <a:gd name="T58" fmla="*/ 111 w 153"/>
                <a:gd name="T59" fmla="*/ 158 h 181"/>
                <a:gd name="T60" fmla="*/ 118 w 153"/>
                <a:gd name="T61" fmla="*/ 148 h 181"/>
                <a:gd name="T62" fmla="*/ 133 w 153"/>
                <a:gd name="T63" fmla="*/ 148 h 181"/>
                <a:gd name="T64" fmla="*/ 152 w 153"/>
                <a:gd name="T65" fmla="*/ 137 h 18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53"/>
                <a:gd name="T100" fmla="*/ 0 h 181"/>
                <a:gd name="T101" fmla="*/ 153 w 153"/>
                <a:gd name="T102" fmla="*/ 181 h 18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53" h="181">
                  <a:moveTo>
                    <a:pt x="152" y="137"/>
                  </a:moveTo>
                  <a:lnTo>
                    <a:pt x="149" y="129"/>
                  </a:lnTo>
                  <a:lnTo>
                    <a:pt x="140" y="121"/>
                  </a:lnTo>
                  <a:lnTo>
                    <a:pt x="128" y="111"/>
                  </a:lnTo>
                  <a:lnTo>
                    <a:pt x="118" y="106"/>
                  </a:lnTo>
                  <a:lnTo>
                    <a:pt x="111" y="101"/>
                  </a:lnTo>
                  <a:lnTo>
                    <a:pt x="113" y="84"/>
                  </a:lnTo>
                  <a:lnTo>
                    <a:pt x="109" y="74"/>
                  </a:lnTo>
                  <a:lnTo>
                    <a:pt x="107" y="63"/>
                  </a:lnTo>
                  <a:lnTo>
                    <a:pt x="107" y="46"/>
                  </a:lnTo>
                  <a:lnTo>
                    <a:pt x="97" y="39"/>
                  </a:lnTo>
                  <a:lnTo>
                    <a:pt x="85" y="31"/>
                  </a:lnTo>
                  <a:lnTo>
                    <a:pt x="77" y="29"/>
                  </a:lnTo>
                  <a:lnTo>
                    <a:pt x="67" y="19"/>
                  </a:lnTo>
                  <a:lnTo>
                    <a:pt x="62" y="9"/>
                  </a:lnTo>
                  <a:lnTo>
                    <a:pt x="53" y="9"/>
                  </a:lnTo>
                  <a:lnTo>
                    <a:pt x="46" y="9"/>
                  </a:lnTo>
                  <a:lnTo>
                    <a:pt x="46" y="0"/>
                  </a:lnTo>
                  <a:lnTo>
                    <a:pt x="41" y="5"/>
                  </a:lnTo>
                  <a:lnTo>
                    <a:pt x="34" y="4"/>
                  </a:lnTo>
                  <a:lnTo>
                    <a:pt x="31" y="12"/>
                  </a:lnTo>
                  <a:lnTo>
                    <a:pt x="36" y="22"/>
                  </a:lnTo>
                  <a:lnTo>
                    <a:pt x="41" y="34"/>
                  </a:lnTo>
                  <a:lnTo>
                    <a:pt x="43" y="41"/>
                  </a:lnTo>
                  <a:lnTo>
                    <a:pt x="39" y="45"/>
                  </a:lnTo>
                  <a:lnTo>
                    <a:pt x="29" y="46"/>
                  </a:lnTo>
                  <a:lnTo>
                    <a:pt x="20" y="51"/>
                  </a:lnTo>
                  <a:lnTo>
                    <a:pt x="15" y="58"/>
                  </a:lnTo>
                  <a:lnTo>
                    <a:pt x="19" y="68"/>
                  </a:lnTo>
                  <a:lnTo>
                    <a:pt x="19" y="75"/>
                  </a:lnTo>
                  <a:lnTo>
                    <a:pt x="15" y="75"/>
                  </a:lnTo>
                  <a:lnTo>
                    <a:pt x="17" y="80"/>
                  </a:lnTo>
                  <a:lnTo>
                    <a:pt x="9" y="87"/>
                  </a:lnTo>
                  <a:lnTo>
                    <a:pt x="12" y="94"/>
                  </a:lnTo>
                  <a:lnTo>
                    <a:pt x="10" y="99"/>
                  </a:lnTo>
                  <a:lnTo>
                    <a:pt x="2" y="106"/>
                  </a:lnTo>
                  <a:lnTo>
                    <a:pt x="3" y="113"/>
                  </a:lnTo>
                  <a:lnTo>
                    <a:pt x="0" y="116"/>
                  </a:lnTo>
                  <a:lnTo>
                    <a:pt x="9" y="119"/>
                  </a:lnTo>
                  <a:lnTo>
                    <a:pt x="9" y="125"/>
                  </a:lnTo>
                  <a:lnTo>
                    <a:pt x="5" y="129"/>
                  </a:lnTo>
                  <a:lnTo>
                    <a:pt x="0" y="136"/>
                  </a:lnTo>
                  <a:lnTo>
                    <a:pt x="5" y="146"/>
                  </a:lnTo>
                  <a:lnTo>
                    <a:pt x="14" y="141"/>
                  </a:lnTo>
                  <a:lnTo>
                    <a:pt x="26" y="141"/>
                  </a:lnTo>
                  <a:lnTo>
                    <a:pt x="31" y="144"/>
                  </a:lnTo>
                  <a:lnTo>
                    <a:pt x="33" y="153"/>
                  </a:lnTo>
                  <a:lnTo>
                    <a:pt x="36" y="161"/>
                  </a:lnTo>
                  <a:lnTo>
                    <a:pt x="43" y="163"/>
                  </a:lnTo>
                  <a:lnTo>
                    <a:pt x="44" y="168"/>
                  </a:lnTo>
                  <a:lnTo>
                    <a:pt x="48" y="175"/>
                  </a:lnTo>
                  <a:lnTo>
                    <a:pt x="54" y="178"/>
                  </a:lnTo>
                  <a:lnTo>
                    <a:pt x="63" y="178"/>
                  </a:lnTo>
                  <a:lnTo>
                    <a:pt x="73" y="180"/>
                  </a:lnTo>
                  <a:lnTo>
                    <a:pt x="77" y="178"/>
                  </a:lnTo>
                  <a:lnTo>
                    <a:pt x="82" y="171"/>
                  </a:lnTo>
                  <a:lnTo>
                    <a:pt x="87" y="168"/>
                  </a:lnTo>
                  <a:lnTo>
                    <a:pt x="96" y="165"/>
                  </a:lnTo>
                  <a:lnTo>
                    <a:pt x="104" y="165"/>
                  </a:lnTo>
                  <a:lnTo>
                    <a:pt x="111" y="158"/>
                  </a:lnTo>
                  <a:lnTo>
                    <a:pt x="114" y="151"/>
                  </a:lnTo>
                  <a:lnTo>
                    <a:pt x="118" y="148"/>
                  </a:lnTo>
                  <a:lnTo>
                    <a:pt x="126" y="149"/>
                  </a:lnTo>
                  <a:lnTo>
                    <a:pt x="133" y="148"/>
                  </a:lnTo>
                  <a:lnTo>
                    <a:pt x="143" y="146"/>
                  </a:lnTo>
                  <a:lnTo>
                    <a:pt x="152" y="137"/>
                  </a:lnTo>
                </a:path>
              </a:pathLst>
            </a:custGeom>
            <a:solidFill>
              <a:srgbClr val="AFDFDF">
                <a:alpha val="69804"/>
              </a:srgbClr>
            </a:solidFill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140519" tIns="70257" rIns="140519" bIns="70257" anchor="ctr"/>
            <a:lstStyle/>
            <a:p>
              <a:pPr marL="0" marR="0" lvl="0" indent="0" algn="l" defTabSz="9143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endParaRPr>
            </a:p>
          </p:txBody>
        </p:sp>
        <p:sp>
          <p:nvSpPr>
            <p:cNvPr id="89" name="Freeform 4458"/>
            <p:cNvSpPr>
              <a:spLocks/>
            </p:cNvSpPr>
            <p:nvPr/>
          </p:nvSpPr>
          <p:spPr bwMode="auto">
            <a:xfrm>
              <a:off x="2099295" y="2796932"/>
              <a:ext cx="614176" cy="479129"/>
            </a:xfrm>
            <a:custGeom>
              <a:avLst/>
              <a:gdLst>
                <a:gd name="T0" fmla="*/ 57 w 277"/>
                <a:gd name="T1" fmla="*/ 8 h 262"/>
                <a:gd name="T2" fmla="*/ 50 w 277"/>
                <a:gd name="T3" fmla="*/ 23 h 262"/>
                <a:gd name="T4" fmla="*/ 62 w 277"/>
                <a:gd name="T5" fmla="*/ 30 h 262"/>
                <a:gd name="T6" fmla="*/ 76 w 277"/>
                <a:gd name="T7" fmla="*/ 30 h 262"/>
                <a:gd name="T8" fmla="*/ 84 w 277"/>
                <a:gd name="T9" fmla="*/ 43 h 262"/>
                <a:gd name="T10" fmla="*/ 88 w 277"/>
                <a:gd name="T11" fmla="*/ 52 h 262"/>
                <a:gd name="T12" fmla="*/ 96 w 277"/>
                <a:gd name="T13" fmla="*/ 60 h 262"/>
                <a:gd name="T14" fmla="*/ 103 w 277"/>
                <a:gd name="T15" fmla="*/ 67 h 262"/>
                <a:gd name="T16" fmla="*/ 117 w 277"/>
                <a:gd name="T17" fmla="*/ 67 h 262"/>
                <a:gd name="T18" fmla="*/ 132 w 277"/>
                <a:gd name="T19" fmla="*/ 60 h 262"/>
                <a:gd name="T20" fmla="*/ 144 w 277"/>
                <a:gd name="T21" fmla="*/ 53 h 262"/>
                <a:gd name="T22" fmla="*/ 157 w 277"/>
                <a:gd name="T23" fmla="*/ 50 h 262"/>
                <a:gd name="T24" fmla="*/ 170 w 277"/>
                <a:gd name="T25" fmla="*/ 36 h 262"/>
                <a:gd name="T26" fmla="*/ 180 w 277"/>
                <a:gd name="T27" fmla="*/ 36 h 262"/>
                <a:gd name="T28" fmla="*/ 192 w 277"/>
                <a:gd name="T29" fmla="*/ 33 h 262"/>
                <a:gd name="T30" fmla="*/ 205 w 277"/>
                <a:gd name="T31" fmla="*/ 33 h 262"/>
                <a:gd name="T32" fmla="*/ 199 w 277"/>
                <a:gd name="T33" fmla="*/ 40 h 262"/>
                <a:gd name="T34" fmla="*/ 187 w 277"/>
                <a:gd name="T35" fmla="*/ 45 h 262"/>
                <a:gd name="T36" fmla="*/ 175 w 277"/>
                <a:gd name="T37" fmla="*/ 57 h 262"/>
                <a:gd name="T38" fmla="*/ 176 w 277"/>
                <a:gd name="T39" fmla="*/ 67 h 262"/>
                <a:gd name="T40" fmla="*/ 170 w 277"/>
                <a:gd name="T41" fmla="*/ 74 h 262"/>
                <a:gd name="T42" fmla="*/ 175 w 277"/>
                <a:gd name="T43" fmla="*/ 93 h 262"/>
                <a:gd name="T44" fmla="*/ 175 w 277"/>
                <a:gd name="T45" fmla="*/ 104 h 262"/>
                <a:gd name="T46" fmla="*/ 171 w 277"/>
                <a:gd name="T47" fmla="*/ 129 h 262"/>
                <a:gd name="T48" fmla="*/ 187 w 277"/>
                <a:gd name="T49" fmla="*/ 132 h 262"/>
                <a:gd name="T50" fmla="*/ 210 w 277"/>
                <a:gd name="T51" fmla="*/ 142 h 262"/>
                <a:gd name="T52" fmla="*/ 243 w 277"/>
                <a:gd name="T53" fmla="*/ 169 h 262"/>
                <a:gd name="T54" fmla="*/ 261 w 277"/>
                <a:gd name="T55" fmla="*/ 173 h 262"/>
                <a:gd name="T56" fmla="*/ 274 w 277"/>
                <a:gd name="T57" fmla="*/ 195 h 262"/>
                <a:gd name="T58" fmla="*/ 274 w 277"/>
                <a:gd name="T59" fmla="*/ 209 h 262"/>
                <a:gd name="T60" fmla="*/ 269 w 277"/>
                <a:gd name="T61" fmla="*/ 217 h 262"/>
                <a:gd name="T62" fmla="*/ 262 w 277"/>
                <a:gd name="T63" fmla="*/ 219 h 262"/>
                <a:gd name="T64" fmla="*/ 261 w 277"/>
                <a:gd name="T65" fmla="*/ 234 h 262"/>
                <a:gd name="T66" fmla="*/ 252 w 277"/>
                <a:gd name="T67" fmla="*/ 246 h 262"/>
                <a:gd name="T68" fmla="*/ 248 w 277"/>
                <a:gd name="T69" fmla="*/ 256 h 262"/>
                <a:gd name="T70" fmla="*/ 229 w 277"/>
                <a:gd name="T71" fmla="*/ 261 h 262"/>
                <a:gd name="T72" fmla="*/ 216 w 277"/>
                <a:gd name="T73" fmla="*/ 251 h 262"/>
                <a:gd name="T74" fmla="*/ 193 w 277"/>
                <a:gd name="T75" fmla="*/ 243 h 262"/>
                <a:gd name="T76" fmla="*/ 164 w 277"/>
                <a:gd name="T77" fmla="*/ 246 h 262"/>
                <a:gd name="T78" fmla="*/ 154 w 277"/>
                <a:gd name="T79" fmla="*/ 226 h 262"/>
                <a:gd name="T80" fmla="*/ 129 w 277"/>
                <a:gd name="T81" fmla="*/ 210 h 262"/>
                <a:gd name="T82" fmla="*/ 98 w 277"/>
                <a:gd name="T83" fmla="*/ 185 h 262"/>
                <a:gd name="T84" fmla="*/ 71 w 277"/>
                <a:gd name="T85" fmla="*/ 149 h 262"/>
                <a:gd name="T86" fmla="*/ 52 w 277"/>
                <a:gd name="T87" fmla="*/ 127 h 262"/>
                <a:gd name="T88" fmla="*/ 29 w 277"/>
                <a:gd name="T89" fmla="*/ 98 h 262"/>
                <a:gd name="T90" fmla="*/ 0 w 277"/>
                <a:gd name="T91" fmla="*/ 67 h 262"/>
                <a:gd name="T92" fmla="*/ 17 w 277"/>
                <a:gd name="T93" fmla="*/ 49 h 262"/>
                <a:gd name="T94" fmla="*/ 20 w 277"/>
                <a:gd name="T95" fmla="*/ 30 h 262"/>
                <a:gd name="T96" fmla="*/ 34 w 277"/>
                <a:gd name="T97" fmla="*/ 19 h 262"/>
                <a:gd name="T98" fmla="*/ 34 w 277"/>
                <a:gd name="T99" fmla="*/ 5 h 262"/>
                <a:gd name="T100" fmla="*/ 49 w 277"/>
                <a:gd name="T101" fmla="*/ 5 h 2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77"/>
                <a:gd name="T154" fmla="*/ 0 h 262"/>
                <a:gd name="T155" fmla="*/ 277 w 277"/>
                <a:gd name="T156" fmla="*/ 262 h 2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77" h="262">
                  <a:moveTo>
                    <a:pt x="49" y="5"/>
                  </a:moveTo>
                  <a:lnTo>
                    <a:pt x="57" y="8"/>
                  </a:lnTo>
                  <a:lnTo>
                    <a:pt x="57" y="14"/>
                  </a:lnTo>
                  <a:lnTo>
                    <a:pt x="50" y="23"/>
                  </a:lnTo>
                  <a:lnTo>
                    <a:pt x="55" y="33"/>
                  </a:lnTo>
                  <a:lnTo>
                    <a:pt x="62" y="30"/>
                  </a:lnTo>
                  <a:lnTo>
                    <a:pt x="72" y="30"/>
                  </a:lnTo>
                  <a:lnTo>
                    <a:pt x="76" y="30"/>
                  </a:lnTo>
                  <a:lnTo>
                    <a:pt x="81" y="35"/>
                  </a:lnTo>
                  <a:lnTo>
                    <a:pt x="84" y="43"/>
                  </a:lnTo>
                  <a:lnTo>
                    <a:pt x="84" y="49"/>
                  </a:lnTo>
                  <a:lnTo>
                    <a:pt x="88" y="52"/>
                  </a:lnTo>
                  <a:lnTo>
                    <a:pt x="91" y="52"/>
                  </a:lnTo>
                  <a:lnTo>
                    <a:pt x="96" y="60"/>
                  </a:lnTo>
                  <a:lnTo>
                    <a:pt x="100" y="66"/>
                  </a:lnTo>
                  <a:lnTo>
                    <a:pt x="103" y="67"/>
                  </a:lnTo>
                  <a:lnTo>
                    <a:pt x="113" y="66"/>
                  </a:lnTo>
                  <a:lnTo>
                    <a:pt x="117" y="67"/>
                  </a:lnTo>
                  <a:lnTo>
                    <a:pt x="123" y="67"/>
                  </a:lnTo>
                  <a:lnTo>
                    <a:pt x="132" y="60"/>
                  </a:lnTo>
                  <a:lnTo>
                    <a:pt x="139" y="53"/>
                  </a:lnTo>
                  <a:lnTo>
                    <a:pt x="144" y="53"/>
                  </a:lnTo>
                  <a:lnTo>
                    <a:pt x="153" y="53"/>
                  </a:lnTo>
                  <a:lnTo>
                    <a:pt x="157" y="50"/>
                  </a:lnTo>
                  <a:lnTo>
                    <a:pt x="166" y="36"/>
                  </a:lnTo>
                  <a:lnTo>
                    <a:pt x="170" y="36"/>
                  </a:lnTo>
                  <a:lnTo>
                    <a:pt x="173" y="38"/>
                  </a:lnTo>
                  <a:lnTo>
                    <a:pt x="180" y="36"/>
                  </a:lnTo>
                  <a:lnTo>
                    <a:pt x="188" y="35"/>
                  </a:lnTo>
                  <a:lnTo>
                    <a:pt x="192" y="33"/>
                  </a:lnTo>
                  <a:lnTo>
                    <a:pt x="202" y="28"/>
                  </a:lnTo>
                  <a:lnTo>
                    <a:pt x="205" y="33"/>
                  </a:lnTo>
                  <a:lnTo>
                    <a:pt x="204" y="36"/>
                  </a:lnTo>
                  <a:lnTo>
                    <a:pt x="199" y="40"/>
                  </a:lnTo>
                  <a:lnTo>
                    <a:pt x="195" y="45"/>
                  </a:lnTo>
                  <a:lnTo>
                    <a:pt x="187" y="45"/>
                  </a:lnTo>
                  <a:lnTo>
                    <a:pt x="178" y="50"/>
                  </a:lnTo>
                  <a:lnTo>
                    <a:pt x="175" y="57"/>
                  </a:lnTo>
                  <a:lnTo>
                    <a:pt x="175" y="62"/>
                  </a:lnTo>
                  <a:lnTo>
                    <a:pt x="176" y="67"/>
                  </a:lnTo>
                  <a:lnTo>
                    <a:pt x="171" y="69"/>
                  </a:lnTo>
                  <a:lnTo>
                    <a:pt x="170" y="74"/>
                  </a:lnTo>
                  <a:lnTo>
                    <a:pt x="168" y="81"/>
                  </a:lnTo>
                  <a:lnTo>
                    <a:pt x="175" y="93"/>
                  </a:lnTo>
                  <a:lnTo>
                    <a:pt x="175" y="98"/>
                  </a:lnTo>
                  <a:lnTo>
                    <a:pt x="175" y="104"/>
                  </a:lnTo>
                  <a:lnTo>
                    <a:pt x="171" y="118"/>
                  </a:lnTo>
                  <a:lnTo>
                    <a:pt x="171" y="129"/>
                  </a:lnTo>
                  <a:lnTo>
                    <a:pt x="176" y="134"/>
                  </a:lnTo>
                  <a:lnTo>
                    <a:pt x="187" y="132"/>
                  </a:lnTo>
                  <a:lnTo>
                    <a:pt x="202" y="137"/>
                  </a:lnTo>
                  <a:lnTo>
                    <a:pt x="210" y="142"/>
                  </a:lnTo>
                  <a:lnTo>
                    <a:pt x="223" y="154"/>
                  </a:lnTo>
                  <a:lnTo>
                    <a:pt x="243" y="169"/>
                  </a:lnTo>
                  <a:lnTo>
                    <a:pt x="250" y="169"/>
                  </a:lnTo>
                  <a:lnTo>
                    <a:pt x="261" y="173"/>
                  </a:lnTo>
                  <a:lnTo>
                    <a:pt x="271" y="183"/>
                  </a:lnTo>
                  <a:lnTo>
                    <a:pt x="274" y="195"/>
                  </a:lnTo>
                  <a:lnTo>
                    <a:pt x="276" y="203"/>
                  </a:lnTo>
                  <a:lnTo>
                    <a:pt x="274" y="209"/>
                  </a:lnTo>
                  <a:lnTo>
                    <a:pt x="274" y="214"/>
                  </a:lnTo>
                  <a:lnTo>
                    <a:pt x="269" y="217"/>
                  </a:lnTo>
                  <a:lnTo>
                    <a:pt x="266" y="219"/>
                  </a:lnTo>
                  <a:lnTo>
                    <a:pt x="262" y="219"/>
                  </a:lnTo>
                  <a:lnTo>
                    <a:pt x="261" y="226"/>
                  </a:lnTo>
                  <a:lnTo>
                    <a:pt x="261" y="234"/>
                  </a:lnTo>
                  <a:lnTo>
                    <a:pt x="258" y="241"/>
                  </a:lnTo>
                  <a:lnTo>
                    <a:pt x="252" y="246"/>
                  </a:lnTo>
                  <a:lnTo>
                    <a:pt x="248" y="251"/>
                  </a:lnTo>
                  <a:lnTo>
                    <a:pt x="248" y="256"/>
                  </a:lnTo>
                  <a:lnTo>
                    <a:pt x="241" y="258"/>
                  </a:lnTo>
                  <a:lnTo>
                    <a:pt x="229" y="261"/>
                  </a:lnTo>
                  <a:lnTo>
                    <a:pt x="224" y="258"/>
                  </a:lnTo>
                  <a:lnTo>
                    <a:pt x="216" y="251"/>
                  </a:lnTo>
                  <a:lnTo>
                    <a:pt x="204" y="244"/>
                  </a:lnTo>
                  <a:lnTo>
                    <a:pt x="193" y="243"/>
                  </a:lnTo>
                  <a:lnTo>
                    <a:pt x="178" y="244"/>
                  </a:lnTo>
                  <a:lnTo>
                    <a:pt x="164" y="246"/>
                  </a:lnTo>
                  <a:lnTo>
                    <a:pt x="153" y="233"/>
                  </a:lnTo>
                  <a:lnTo>
                    <a:pt x="154" y="226"/>
                  </a:lnTo>
                  <a:lnTo>
                    <a:pt x="144" y="216"/>
                  </a:lnTo>
                  <a:lnTo>
                    <a:pt x="129" y="210"/>
                  </a:lnTo>
                  <a:lnTo>
                    <a:pt x="115" y="200"/>
                  </a:lnTo>
                  <a:lnTo>
                    <a:pt x="98" y="185"/>
                  </a:lnTo>
                  <a:lnTo>
                    <a:pt x="77" y="163"/>
                  </a:lnTo>
                  <a:lnTo>
                    <a:pt x="71" y="149"/>
                  </a:lnTo>
                  <a:lnTo>
                    <a:pt x="60" y="140"/>
                  </a:lnTo>
                  <a:lnTo>
                    <a:pt x="52" y="127"/>
                  </a:lnTo>
                  <a:lnTo>
                    <a:pt x="42" y="113"/>
                  </a:lnTo>
                  <a:lnTo>
                    <a:pt x="29" y="98"/>
                  </a:lnTo>
                  <a:lnTo>
                    <a:pt x="17" y="83"/>
                  </a:lnTo>
                  <a:lnTo>
                    <a:pt x="0" y="67"/>
                  </a:lnTo>
                  <a:lnTo>
                    <a:pt x="10" y="57"/>
                  </a:lnTo>
                  <a:lnTo>
                    <a:pt x="17" y="49"/>
                  </a:lnTo>
                  <a:lnTo>
                    <a:pt x="20" y="38"/>
                  </a:lnTo>
                  <a:lnTo>
                    <a:pt x="20" y="30"/>
                  </a:lnTo>
                  <a:lnTo>
                    <a:pt x="29" y="26"/>
                  </a:lnTo>
                  <a:lnTo>
                    <a:pt x="34" y="19"/>
                  </a:lnTo>
                  <a:lnTo>
                    <a:pt x="37" y="16"/>
                  </a:lnTo>
                  <a:lnTo>
                    <a:pt x="34" y="5"/>
                  </a:lnTo>
                  <a:lnTo>
                    <a:pt x="39" y="0"/>
                  </a:lnTo>
                  <a:lnTo>
                    <a:pt x="49" y="5"/>
                  </a:lnTo>
                </a:path>
              </a:pathLst>
            </a:custGeom>
            <a:solidFill>
              <a:srgbClr val="AFDFDF">
                <a:alpha val="69804"/>
              </a:srgbClr>
            </a:solidFill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140519" tIns="70257" rIns="140519" bIns="70257" anchor="ctr"/>
            <a:lstStyle/>
            <a:p>
              <a:pPr marL="0" marR="0" lvl="0" indent="0" algn="l" defTabSz="9143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endParaRPr>
            </a:p>
          </p:txBody>
        </p:sp>
        <p:sp>
          <p:nvSpPr>
            <p:cNvPr id="90" name="Freeform 4559"/>
            <p:cNvSpPr>
              <a:spLocks/>
            </p:cNvSpPr>
            <p:nvPr/>
          </p:nvSpPr>
          <p:spPr bwMode="auto">
            <a:xfrm>
              <a:off x="1618136" y="2127290"/>
              <a:ext cx="816163" cy="409464"/>
            </a:xfrm>
            <a:custGeom>
              <a:avLst/>
              <a:gdLst>
                <a:gd name="T0" fmla="*/ 352 w 368"/>
                <a:gd name="T1" fmla="*/ 181 h 222"/>
                <a:gd name="T2" fmla="*/ 340 w 368"/>
                <a:gd name="T3" fmla="*/ 154 h 222"/>
                <a:gd name="T4" fmla="*/ 328 w 368"/>
                <a:gd name="T5" fmla="*/ 134 h 222"/>
                <a:gd name="T6" fmla="*/ 323 w 368"/>
                <a:gd name="T7" fmla="*/ 119 h 222"/>
                <a:gd name="T8" fmla="*/ 328 w 368"/>
                <a:gd name="T9" fmla="*/ 101 h 222"/>
                <a:gd name="T10" fmla="*/ 326 w 368"/>
                <a:gd name="T11" fmla="*/ 78 h 222"/>
                <a:gd name="T12" fmla="*/ 326 w 368"/>
                <a:gd name="T13" fmla="*/ 65 h 222"/>
                <a:gd name="T14" fmla="*/ 309 w 368"/>
                <a:gd name="T15" fmla="*/ 49 h 222"/>
                <a:gd name="T16" fmla="*/ 291 w 368"/>
                <a:gd name="T17" fmla="*/ 49 h 222"/>
                <a:gd name="T18" fmla="*/ 278 w 368"/>
                <a:gd name="T19" fmla="*/ 56 h 222"/>
                <a:gd name="T20" fmla="*/ 251 w 368"/>
                <a:gd name="T21" fmla="*/ 53 h 222"/>
                <a:gd name="T22" fmla="*/ 230 w 368"/>
                <a:gd name="T23" fmla="*/ 44 h 222"/>
                <a:gd name="T24" fmla="*/ 215 w 368"/>
                <a:gd name="T25" fmla="*/ 42 h 222"/>
                <a:gd name="T26" fmla="*/ 182 w 368"/>
                <a:gd name="T27" fmla="*/ 44 h 222"/>
                <a:gd name="T28" fmla="*/ 162 w 368"/>
                <a:gd name="T29" fmla="*/ 32 h 222"/>
                <a:gd name="T30" fmla="*/ 148 w 368"/>
                <a:gd name="T31" fmla="*/ 39 h 222"/>
                <a:gd name="T32" fmla="*/ 136 w 368"/>
                <a:gd name="T33" fmla="*/ 31 h 222"/>
                <a:gd name="T34" fmla="*/ 116 w 368"/>
                <a:gd name="T35" fmla="*/ 31 h 222"/>
                <a:gd name="T36" fmla="*/ 94 w 368"/>
                <a:gd name="T37" fmla="*/ 15 h 222"/>
                <a:gd name="T38" fmla="*/ 73 w 368"/>
                <a:gd name="T39" fmla="*/ 6 h 222"/>
                <a:gd name="T40" fmla="*/ 55 w 368"/>
                <a:gd name="T41" fmla="*/ 5 h 222"/>
                <a:gd name="T42" fmla="*/ 40 w 368"/>
                <a:gd name="T43" fmla="*/ 0 h 222"/>
                <a:gd name="T44" fmla="*/ 31 w 368"/>
                <a:gd name="T45" fmla="*/ 8 h 222"/>
                <a:gd name="T46" fmla="*/ 28 w 368"/>
                <a:gd name="T47" fmla="*/ 39 h 222"/>
                <a:gd name="T48" fmla="*/ 19 w 368"/>
                <a:gd name="T49" fmla="*/ 56 h 222"/>
                <a:gd name="T50" fmla="*/ 7 w 368"/>
                <a:gd name="T51" fmla="*/ 73 h 222"/>
                <a:gd name="T52" fmla="*/ 9 w 368"/>
                <a:gd name="T53" fmla="*/ 85 h 222"/>
                <a:gd name="T54" fmla="*/ 28 w 368"/>
                <a:gd name="T55" fmla="*/ 89 h 222"/>
                <a:gd name="T56" fmla="*/ 36 w 368"/>
                <a:gd name="T57" fmla="*/ 107 h 222"/>
                <a:gd name="T58" fmla="*/ 53 w 368"/>
                <a:gd name="T59" fmla="*/ 115 h 222"/>
                <a:gd name="T60" fmla="*/ 56 w 368"/>
                <a:gd name="T61" fmla="*/ 136 h 222"/>
                <a:gd name="T62" fmla="*/ 67 w 368"/>
                <a:gd name="T63" fmla="*/ 147 h 222"/>
                <a:gd name="T64" fmla="*/ 76 w 368"/>
                <a:gd name="T65" fmla="*/ 139 h 222"/>
                <a:gd name="T66" fmla="*/ 85 w 368"/>
                <a:gd name="T67" fmla="*/ 125 h 222"/>
                <a:gd name="T68" fmla="*/ 92 w 368"/>
                <a:gd name="T69" fmla="*/ 127 h 222"/>
                <a:gd name="T70" fmla="*/ 112 w 368"/>
                <a:gd name="T71" fmla="*/ 137 h 222"/>
                <a:gd name="T72" fmla="*/ 139 w 368"/>
                <a:gd name="T73" fmla="*/ 142 h 222"/>
                <a:gd name="T74" fmla="*/ 164 w 368"/>
                <a:gd name="T75" fmla="*/ 156 h 222"/>
                <a:gd name="T76" fmla="*/ 179 w 368"/>
                <a:gd name="T77" fmla="*/ 168 h 222"/>
                <a:gd name="T78" fmla="*/ 199 w 368"/>
                <a:gd name="T79" fmla="*/ 168 h 222"/>
                <a:gd name="T80" fmla="*/ 218 w 368"/>
                <a:gd name="T81" fmla="*/ 178 h 222"/>
                <a:gd name="T82" fmla="*/ 235 w 368"/>
                <a:gd name="T83" fmla="*/ 178 h 222"/>
                <a:gd name="T84" fmla="*/ 252 w 368"/>
                <a:gd name="T85" fmla="*/ 178 h 222"/>
                <a:gd name="T86" fmla="*/ 264 w 368"/>
                <a:gd name="T87" fmla="*/ 181 h 222"/>
                <a:gd name="T88" fmla="*/ 265 w 368"/>
                <a:gd name="T89" fmla="*/ 198 h 222"/>
                <a:gd name="T90" fmla="*/ 282 w 368"/>
                <a:gd name="T91" fmla="*/ 204 h 222"/>
                <a:gd name="T92" fmla="*/ 294 w 368"/>
                <a:gd name="T93" fmla="*/ 216 h 222"/>
                <a:gd name="T94" fmla="*/ 306 w 368"/>
                <a:gd name="T95" fmla="*/ 216 h 222"/>
                <a:gd name="T96" fmla="*/ 310 w 368"/>
                <a:gd name="T97" fmla="*/ 200 h 222"/>
                <a:gd name="T98" fmla="*/ 328 w 368"/>
                <a:gd name="T99" fmla="*/ 200 h 222"/>
                <a:gd name="T100" fmla="*/ 345 w 368"/>
                <a:gd name="T101" fmla="*/ 207 h 222"/>
                <a:gd name="T102" fmla="*/ 357 w 368"/>
                <a:gd name="T103" fmla="*/ 212 h 222"/>
                <a:gd name="T104" fmla="*/ 367 w 368"/>
                <a:gd name="T105" fmla="*/ 200 h 22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368"/>
                <a:gd name="T160" fmla="*/ 0 h 222"/>
                <a:gd name="T161" fmla="*/ 368 w 368"/>
                <a:gd name="T162" fmla="*/ 222 h 22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368" h="222">
                  <a:moveTo>
                    <a:pt x="364" y="190"/>
                  </a:moveTo>
                  <a:lnTo>
                    <a:pt x="352" y="181"/>
                  </a:lnTo>
                  <a:lnTo>
                    <a:pt x="347" y="173"/>
                  </a:lnTo>
                  <a:lnTo>
                    <a:pt x="340" y="154"/>
                  </a:lnTo>
                  <a:lnTo>
                    <a:pt x="337" y="147"/>
                  </a:lnTo>
                  <a:lnTo>
                    <a:pt x="328" y="134"/>
                  </a:lnTo>
                  <a:lnTo>
                    <a:pt x="323" y="127"/>
                  </a:lnTo>
                  <a:lnTo>
                    <a:pt x="323" y="119"/>
                  </a:lnTo>
                  <a:lnTo>
                    <a:pt x="330" y="111"/>
                  </a:lnTo>
                  <a:lnTo>
                    <a:pt x="328" y="101"/>
                  </a:lnTo>
                  <a:lnTo>
                    <a:pt x="328" y="87"/>
                  </a:lnTo>
                  <a:lnTo>
                    <a:pt x="326" y="78"/>
                  </a:lnTo>
                  <a:lnTo>
                    <a:pt x="331" y="72"/>
                  </a:lnTo>
                  <a:lnTo>
                    <a:pt x="326" y="65"/>
                  </a:lnTo>
                  <a:lnTo>
                    <a:pt x="318" y="51"/>
                  </a:lnTo>
                  <a:lnTo>
                    <a:pt x="309" y="49"/>
                  </a:lnTo>
                  <a:lnTo>
                    <a:pt x="297" y="46"/>
                  </a:lnTo>
                  <a:lnTo>
                    <a:pt x="291" y="49"/>
                  </a:lnTo>
                  <a:lnTo>
                    <a:pt x="286" y="54"/>
                  </a:lnTo>
                  <a:lnTo>
                    <a:pt x="278" y="56"/>
                  </a:lnTo>
                  <a:lnTo>
                    <a:pt x="272" y="53"/>
                  </a:lnTo>
                  <a:lnTo>
                    <a:pt x="251" y="53"/>
                  </a:lnTo>
                  <a:lnTo>
                    <a:pt x="239" y="48"/>
                  </a:lnTo>
                  <a:lnTo>
                    <a:pt x="230" y="44"/>
                  </a:lnTo>
                  <a:lnTo>
                    <a:pt x="223" y="37"/>
                  </a:lnTo>
                  <a:lnTo>
                    <a:pt x="215" y="42"/>
                  </a:lnTo>
                  <a:lnTo>
                    <a:pt x="199" y="42"/>
                  </a:lnTo>
                  <a:lnTo>
                    <a:pt x="182" y="44"/>
                  </a:lnTo>
                  <a:lnTo>
                    <a:pt x="172" y="42"/>
                  </a:lnTo>
                  <a:lnTo>
                    <a:pt x="162" y="32"/>
                  </a:lnTo>
                  <a:lnTo>
                    <a:pt x="155" y="37"/>
                  </a:lnTo>
                  <a:lnTo>
                    <a:pt x="148" y="39"/>
                  </a:lnTo>
                  <a:lnTo>
                    <a:pt x="139" y="34"/>
                  </a:lnTo>
                  <a:lnTo>
                    <a:pt x="136" y="31"/>
                  </a:lnTo>
                  <a:lnTo>
                    <a:pt x="126" y="32"/>
                  </a:lnTo>
                  <a:lnTo>
                    <a:pt x="116" y="31"/>
                  </a:lnTo>
                  <a:lnTo>
                    <a:pt x="107" y="25"/>
                  </a:lnTo>
                  <a:lnTo>
                    <a:pt x="94" y="15"/>
                  </a:lnTo>
                  <a:lnTo>
                    <a:pt x="81" y="5"/>
                  </a:lnTo>
                  <a:lnTo>
                    <a:pt x="73" y="6"/>
                  </a:lnTo>
                  <a:lnTo>
                    <a:pt x="63" y="10"/>
                  </a:lnTo>
                  <a:lnTo>
                    <a:pt x="55" y="5"/>
                  </a:lnTo>
                  <a:lnTo>
                    <a:pt x="48" y="0"/>
                  </a:lnTo>
                  <a:lnTo>
                    <a:pt x="40" y="0"/>
                  </a:lnTo>
                  <a:lnTo>
                    <a:pt x="33" y="5"/>
                  </a:lnTo>
                  <a:lnTo>
                    <a:pt x="31" y="8"/>
                  </a:lnTo>
                  <a:lnTo>
                    <a:pt x="31" y="24"/>
                  </a:lnTo>
                  <a:lnTo>
                    <a:pt x="28" y="39"/>
                  </a:lnTo>
                  <a:lnTo>
                    <a:pt x="24" y="49"/>
                  </a:lnTo>
                  <a:lnTo>
                    <a:pt x="19" y="56"/>
                  </a:lnTo>
                  <a:lnTo>
                    <a:pt x="14" y="67"/>
                  </a:lnTo>
                  <a:lnTo>
                    <a:pt x="7" y="73"/>
                  </a:lnTo>
                  <a:lnTo>
                    <a:pt x="0" y="78"/>
                  </a:lnTo>
                  <a:lnTo>
                    <a:pt x="9" y="85"/>
                  </a:lnTo>
                  <a:lnTo>
                    <a:pt x="17" y="87"/>
                  </a:lnTo>
                  <a:lnTo>
                    <a:pt x="28" y="89"/>
                  </a:lnTo>
                  <a:lnTo>
                    <a:pt x="26" y="102"/>
                  </a:lnTo>
                  <a:lnTo>
                    <a:pt x="36" y="107"/>
                  </a:lnTo>
                  <a:lnTo>
                    <a:pt x="50" y="112"/>
                  </a:lnTo>
                  <a:lnTo>
                    <a:pt x="53" y="115"/>
                  </a:lnTo>
                  <a:lnTo>
                    <a:pt x="55" y="122"/>
                  </a:lnTo>
                  <a:lnTo>
                    <a:pt x="56" y="136"/>
                  </a:lnTo>
                  <a:lnTo>
                    <a:pt x="59" y="144"/>
                  </a:lnTo>
                  <a:lnTo>
                    <a:pt x="67" y="147"/>
                  </a:lnTo>
                  <a:lnTo>
                    <a:pt x="75" y="145"/>
                  </a:lnTo>
                  <a:lnTo>
                    <a:pt x="76" y="139"/>
                  </a:lnTo>
                  <a:lnTo>
                    <a:pt x="76" y="132"/>
                  </a:lnTo>
                  <a:lnTo>
                    <a:pt x="85" y="125"/>
                  </a:lnTo>
                  <a:lnTo>
                    <a:pt x="88" y="122"/>
                  </a:lnTo>
                  <a:lnTo>
                    <a:pt x="92" y="127"/>
                  </a:lnTo>
                  <a:lnTo>
                    <a:pt x="100" y="134"/>
                  </a:lnTo>
                  <a:lnTo>
                    <a:pt x="112" y="137"/>
                  </a:lnTo>
                  <a:lnTo>
                    <a:pt x="128" y="140"/>
                  </a:lnTo>
                  <a:lnTo>
                    <a:pt x="139" y="142"/>
                  </a:lnTo>
                  <a:lnTo>
                    <a:pt x="155" y="149"/>
                  </a:lnTo>
                  <a:lnTo>
                    <a:pt x="164" y="156"/>
                  </a:lnTo>
                  <a:lnTo>
                    <a:pt x="173" y="166"/>
                  </a:lnTo>
                  <a:lnTo>
                    <a:pt x="179" y="168"/>
                  </a:lnTo>
                  <a:lnTo>
                    <a:pt x="192" y="168"/>
                  </a:lnTo>
                  <a:lnTo>
                    <a:pt x="199" y="168"/>
                  </a:lnTo>
                  <a:lnTo>
                    <a:pt x="209" y="176"/>
                  </a:lnTo>
                  <a:lnTo>
                    <a:pt x="218" y="178"/>
                  </a:lnTo>
                  <a:lnTo>
                    <a:pt x="228" y="176"/>
                  </a:lnTo>
                  <a:lnTo>
                    <a:pt x="235" y="178"/>
                  </a:lnTo>
                  <a:lnTo>
                    <a:pt x="240" y="178"/>
                  </a:lnTo>
                  <a:lnTo>
                    <a:pt x="252" y="178"/>
                  </a:lnTo>
                  <a:lnTo>
                    <a:pt x="256" y="175"/>
                  </a:lnTo>
                  <a:lnTo>
                    <a:pt x="264" y="181"/>
                  </a:lnTo>
                  <a:lnTo>
                    <a:pt x="264" y="188"/>
                  </a:lnTo>
                  <a:lnTo>
                    <a:pt x="265" y="198"/>
                  </a:lnTo>
                  <a:lnTo>
                    <a:pt x="270" y="202"/>
                  </a:lnTo>
                  <a:lnTo>
                    <a:pt x="282" y="204"/>
                  </a:lnTo>
                  <a:lnTo>
                    <a:pt x="289" y="210"/>
                  </a:lnTo>
                  <a:lnTo>
                    <a:pt x="294" y="216"/>
                  </a:lnTo>
                  <a:lnTo>
                    <a:pt x="299" y="221"/>
                  </a:lnTo>
                  <a:lnTo>
                    <a:pt x="306" y="216"/>
                  </a:lnTo>
                  <a:lnTo>
                    <a:pt x="308" y="207"/>
                  </a:lnTo>
                  <a:lnTo>
                    <a:pt x="310" y="200"/>
                  </a:lnTo>
                  <a:lnTo>
                    <a:pt x="319" y="203"/>
                  </a:lnTo>
                  <a:lnTo>
                    <a:pt x="328" y="200"/>
                  </a:lnTo>
                  <a:lnTo>
                    <a:pt x="335" y="200"/>
                  </a:lnTo>
                  <a:lnTo>
                    <a:pt x="345" y="207"/>
                  </a:lnTo>
                  <a:lnTo>
                    <a:pt x="352" y="212"/>
                  </a:lnTo>
                  <a:lnTo>
                    <a:pt x="357" y="212"/>
                  </a:lnTo>
                  <a:lnTo>
                    <a:pt x="364" y="206"/>
                  </a:lnTo>
                  <a:lnTo>
                    <a:pt x="367" y="200"/>
                  </a:lnTo>
                  <a:lnTo>
                    <a:pt x="364" y="190"/>
                  </a:lnTo>
                </a:path>
              </a:pathLst>
            </a:custGeom>
            <a:solidFill>
              <a:srgbClr val="AFDFDF">
                <a:alpha val="69804"/>
              </a:srgb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27844" tIns="63920" rIns="127844" bIns="63920" anchor="ctr"/>
            <a:lstStyle/>
            <a:p>
              <a:pPr marL="0" marR="0" lvl="0" indent="0" algn="ctr" defTabSz="95882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endParaRPr>
            </a:p>
          </p:txBody>
        </p:sp>
        <p:sp>
          <p:nvSpPr>
            <p:cNvPr id="91" name="Freeform 4660"/>
            <p:cNvSpPr>
              <a:spLocks/>
            </p:cNvSpPr>
            <p:nvPr/>
          </p:nvSpPr>
          <p:spPr bwMode="auto">
            <a:xfrm>
              <a:off x="1205949" y="2260933"/>
              <a:ext cx="633880" cy="204731"/>
            </a:xfrm>
            <a:custGeom>
              <a:avLst/>
              <a:gdLst>
                <a:gd name="T0" fmla="*/ 161 w 286"/>
                <a:gd name="T1" fmla="*/ 0 h 113"/>
                <a:gd name="T2" fmla="*/ 146 w 286"/>
                <a:gd name="T3" fmla="*/ 14 h 113"/>
                <a:gd name="T4" fmla="*/ 129 w 286"/>
                <a:gd name="T5" fmla="*/ 9 h 113"/>
                <a:gd name="T6" fmla="*/ 112 w 286"/>
                <a:gd name="T7" fmla="*/ 14 h 113"/>
                <a:gd name="T8" fmla="*/ 98 w 286"/>
                <a:gd name="T9" fmla="*/ 5 h 113"/>
                <a:gd name="T10" fmla="*/ 76 w 286"/>
                <a:gd name="T11" fmla="*/ 5 h 113"/>
                <a:gd name="T12" fmla="*/ 79 w 286"/>
                <a:gd name="T13" fmla="*/ 14 h 113"/>
                <a:gd name="T14" fmla="*/ 72 w 286"/>
                <a:gd name="T15" fmla="*/ 22 h 113"/>
                <a:gd name="T16" fmla="*/ 66 w 286"/>
                <a:gd name="T17" fmla="*/ 34 h 113"/>
                <a:gd name="T18" fmla="*/ 66 w 286"/>
                <a:gd name="T19" fmla="*/ 47 h 113"/>
                <a:gd name="T20" fmla="*/ 47 w 286"/>
                <a:gd name="T21" fmla="*/ 54 h 113"/>
                <a:gd name="T22" fmla="*/ 20 w 286"/>
                <a:gd name="T23" fmla="*/ 62 h 113"/>
                <a:gd name="T24" fmla="*/ 5 w 286"/>
                <a:gd name="T25" fmla="*/ 76 h 113"/>
                <a:gd name="T26" fmla="*/ 0 w 286"/>
                <a:gd name="T27" fmla="*/ 98 h 113"/>
                <a:gd name="T28" fmla="*/ 15 w 286"/>
                <a:gd name="T29" fmla="*/ 107 h 113"/>
                <a:gd name="T30" fmla="*/ 36 w 286"/>
                <a:gd name="T31" fmla="*/ 112 h 113"/>
                <a:gd name="T32" fmla="*/ 62 w 286"/>
                <a:gd name="T33" fmla="*/ 101 h 113"/>
                <a:gd name="T34" fmla="*/ 72 w 286"/>
                <a:gd name="T35" fmla="*/ 80 h 113"/>
                <a:gd name="T36" fmla="*/ 81 w 286"/>
                <a:gd name="T37" fmla="*/ 64 h 113"/>
                <a:gd name="T38" fmla="*/ 100 w 286"/>
                <a:gd name="T39" fmla="*/ 56 h 113"/>
                <a:gd name="T40" fmla="*/ 125 w 286"/>
                <a:gd name="T41" fmla="*/ 33 h 113"/>
                <a:gd name="T42" fmla="*/ 157 w 286"/>
                <a:gd name="T43" fmla="*/ 36 h 113"/>
                <a:gd name="T44" fmla="*/ 180 w 286"/>
                <a:gd name="T45" fmla="*/ 49 h 113"/>
                <a:gd name="T46" fmla="*/ 207 w 286"/>
                <a:gd name="T47" fmla="*/ 59 h 113"/>
                <a:gd name="T48" fmla="*/ 239 w 286"/>
                <a:gd name="T49" fmla="*/ 84 h 113"/>
                <a:gd name="T50" fmla="*/ 276 w 286"/>
                <a:gd name="T51" fmla="*/ 110 h 113"/>
                <a:gd name="T52" fmla="*/ 285 w 286"/>
                <a:gd name="T53" fmla="*/ 100 h 113"/>
                <a:gd name="T54" fmla="*/ 264 w 286"/>
                <a:gd name="T55" fmla="*/ 79 h 113"/>
                <a:gd name="T56" fmla="*/ 247 w 286"/>
                <a:gd name="T57" fmla="*/ 69 h 113"/>
                <a:gd name="T58" fmla="*/ 242 w 286"/>
                <a:gd name="T59" fmla="*/ 57 h 113"/>
                <a:gd name="T60" fmla="*/ 237 w 286"/>
                <a:gd name="T61" fmla="*/ 42 h 113"/>
                <a:gd name="T62" fmla="*/ 224 w 286"/>
                <a:gd name="T63" fmla="*/ 33 h 113"/>
                <a:gd name="T64" fmla="*/ 210 w 286"/>
                <a:gd name="T65" fmla="*/ 22 h 113"/>
                <a:gd name="T66" fmla="*/ 210 w 286"/>
                <a:gd name="T67" fmla="*/ 12 h 113"/>
                <a:gd name="T68" fmla="*/ 200 w 286"/>
                <a:gd name="T69" fmla="*/ 9 h 113"/>
                <a:gd name="T70" fmla="*/ 186 w 286"/>
                <a:gd name="T71" fmla="*/ 3 h 11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86"/>
                <a:gd name="T109" fmla="*/ 0 h 113"/>
                <a:gd name="T110" fmla="*/ 286 w 286"/>
                <a:gd name="T111" fmla="*/ 113 h 113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86" h="113">
                  <a:moveTo>
                    <a:pt x="186" y="3"/>
                  </a:moveTo>
                  <a:lnTo>
                    <a:pt x="161" y="0"/>
                  </a:lnTo>
                  <a:lnTo>
                    <a:pt x="152" y="14"/>
                  </a:lnTo>
                  <a:lnTo>
                    <a:pt x="146" y="14"/>
                  </a:lnTo>
                  <a:lnTo>
                    <a:pt x="137" y="7"/>
                  </a:lnTo>
                  <a:lnTo>
                    <a:pt x="129" y="9"/>
                  </a:lnTo>
                  <a:lnTo>
                    <a:pt x="120" y="11"/>
                  </a:lnTo>
                  <a:lnTo>
                    <a:pt x="112" y="14"/>
                  </a:lnTo>
                  <a:lnTo>
                    <a:pt x="108" y="12"/>
                  </a:lnTo>
                  <a:lnTo>
                    <a:pt x="98" y="5"/>
                  </a:lnTo>
                  <a:lnTo>
                    <a:pt x="91" y="2"/>
                  </a:lnTo>
                  <a:lnTo>
                    <a:pt x="76" y="5"/>
                  </a:lnTo>
                  <a:lnTo>
                    <a:pt x="76" y="11"/>
                  </a:lnTo>
                  <a:lnTo>
                    <a:pt x="79" y="14"/>
                  </a:lnTo>
                  <a:lnTo>
                    <a:pt x="78" y="21"/>
                  </a:lnTo>
                  <a:lnTo>
                    <a:pt x="72" y="22"/>
                  </a:lnTo>
                  <a:lnTo>
                    <a:pt x="67" y="29"/>
                  </a:lnTo>
                  <a:lnTo>
                    <a:pt x="66" y="34"/>
                  </a:lnTo>
                  <a:lnTo>
                    <a:pt x="67" y="40"/>
                  </a:lnTo>
                  <a:lnTo>
                    <a:pt x="66" y="47"/>
                  </a:lnTo>
                  <a:lnTo>
                    <a:pt x="61" y="50"/>
                  </a:lnTo>
                  <a:lnTo>
                    <a:pt x="47" y="54"/>
                  </a:lnTo>
                  <a:lnTo>
                    <a:pt x="20" y="56"/>
                  </a:lnTo>
                  <a:lnTo>
                    <a:pt x="20" y="62"/>
                  </a:lnTo>
                  <a:lnTo>
                    <a:pt x="12" y="69"/>
                  </a:lnTo>
                  <a:lnTo>
                    <a:pt x="5" y="76"/>
                  </a:lnTo>
                  <a:lnTo>
                    <a:pt x="0" y="84"/>
                  </a:lnTo>
                  <a:lnTo>
                    <a:pt x="0" y="98"/>
                  </a:lnTo>
                  <a:lnTo>
                    <a:pt x="7" y="112"/>
                  </a:lnTo>
                  <a:lnTo>
                    <a:pt x="15" y="107"/>
                  </a:lnTo>
                  <a:lnTo>
                    <a:pt x="27" y="110"/>
                  </a:lnTo>
                  <a:lnTo>
                    <a:pt x="36" y="112"/>
                  </a:lnTo>
                  <a:lnTo>
                    <a:pt x="50" y="108"/>
                  </a:lnTo>
                  <a:lnTo>
                    <a:pt x="62" y="101"/>
                  </a:lnTo>
                  <a:lnTo>
                    <a:pt x="70" y="93"/>
                  </a:lnTo>
                  <a:lnTo>
                    <a:pt x="72" y="80"/>
                  </a:lnTo>
                  <a:lnTo>
                    <a:pt x="74" y="71"/>
                  </a:lnTo>
                  <a:lnTo>
                    <a:pt x="81" y="64"/>
                  </a:lnTo>
                  <a:lnTo>
                    <a:pt x="93" y="59"/>
                  </a:lnTo>
                  <a:lnTo>
                    <a:pt x="100" y="56"/>
                  </a:lnTo>
                  <a:lnTo>
                    <a:pt x="112" y="45"/>
                  </a:lnTo>
                  <a:lnTo>
                    <a:pt x="125" y="33"/>
                  </a:lnTo>
                  <a:lnTo>
                    <a:pt x="147" y="31"/>
                  </a:lnTo>
                  <a:lnTo>
                    <a:pt x="157" y="36"/>
                  </a:lnTo>
                  <a:lnTo>
                    <a:pt x="171" y="45"/>
                  </a:lnTo>
                  <a:lnTo>
                    <a:pt x="180" y="49"/>
                  </a:lnTo>
                  <a:lnTo>
                    <a:pt x="195" y="50"/>
                  </a:lnTo>
                  <a:lnTo>
                    <a:pt x="207" y="59"/>
                  </a:lnTo>
                  <a:lnTo>
                    <a:pt x="224" y="69"/>
                  </a:lnTo>
                  <a:lnTo>
                    <a:pt x="239" y="84"/>
                  </a:lnTo>
                  <a:lnTo>
                    <a:pt x="261" y="103"/>
                  </a:lnTo>
                  <a:lnTo>
                    <a:pt x="276" y="110"/>
                  </a:lnTo>
                  <a:lnTo>
                    <a:pt x="280" y="107"/>
                  </a:lnTo>
                  <a:lnTo>
                    <a:pt x="285" y="100"/>
                  </a:lnTo>
                  <a:lnTo>
                    <a:pt x="278" y="86"/>
                  </a:lnTo>
                  <a:lnTo>
                    <a:pt x="264" y="79"/>
                  </a:lnTo>
                  <a:lnTo>
                    <a:pt x="258" y="70"/>
                  </a:lnTo>
                  <a:lnTo>
                    <a:pt x="247" y="69"/>
                  </a:lnTo>
                  <a:lnTo>
                    <a:pt x="242" y="64"/>
                  </a:lnTo>
                  <a:lnTo>
                    <a:pt x="242" y="57"/>
                  </a:lnTo>
                  <a:lnTo>
                    <a:pt x="241" y="50"/>
                  </a:lnTo>
                  <a:lnTo>
                    <a:pt x="237" y="42"/>
                  </a:lnTo>
                  <a:lnTo>
                    <a:pt x="234" y="38"/>
                  </a:lnTo>
                  <a:lnTo>
                    <a:pt x="224" y="33"/>
                  </a:lnTo>
                  <a:lnTo>
                    <a:pt x="214" y="28"/>
                  </a:lnTo>
                  <a:lnTo>
                    <a:pt x="210" y="22"/>
                  </a:lnTo>
                  <a:lnTo>
                    <a:pt x="212" y="17"/>
                  </a:lnTo>
                  <a:lnTo>
                    <a:pt x="210" y="12"/>
                  </a:lnTo>
                  <a:lnTo>
                    <a:pt x="205" y="12"/>
                  </a:lnTo>
                  <a:lnTo>
                    <a:pt x="200" y="9"/>
                  </a:lnTo>
                  <a:lnTo>
                    <a:pt x="195" y="11"/>
                  </a:lnTo>
                  <a:lnTo>
                    <a:pt x="186" y="3"/>
                  </a:lnTo>
                </a:path>
              </a:pathLst>
            </a:custGeom>
            <a:solidFill>
              <a:srgbClr val="AFDFDF">
                <a:alpha val="69804"/>
              </a:srgb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27844" tIns="63920" rIns="127844" bIns="63920" anchor="ctr"/>
            <a:lstStyle/>
            <a:p>
              <a:pPr marL="0" marR="0" lvl="0" indent="0" algn="ctr" defTabSz="95882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endParaRPr>
            </a:p>
          </p:txBody>
        </p:sp>
        <p:sp>
          <p:nvSpPr>
            <p:cNvPr id="92" name="Freeform 4761"/>
            <p:cNvSpPr>
              <a:spLocks/>
            </p:cNvSpPr>
            <p:nvPr/>
          </p:nvSpPr>
          <p:spPr bwMode="auto">
            <a:xfrm>
              <a:off x="1112346" y="1851474"/>
              <a:ext cx="249611" cy="164923"/>
            </a:xfrm>
            <a:custGeom>
              <a:avLst/>
              <a:gdLst>
                <a:gd name="T0" fmla="*/ 107 w 114"/>
                <a:gd name="T1" fmla="*/ 5 h 91"/>
                <a:gd name="T2" fmla="*/ 89 w 114"/>
                <a:gd name="T3" fmla="*/ 2 h 91"/>
                <a:gd name="T4" fmla="*/ 81 w 114"/>
                <a:gd name="T5" fmla="*/ 2 h 91"/>
                <a:gd name="T6" fmla="*/ 71 w 114"/>
                <a:gd name="T7" fmla="*/ 14 h 91"/>
                <a:gd name="T8" fmla="*/ 66 w 114"/>
                <a:gd name="T9" fmla="*/ 20 h 91"/>
                <a:gd name="T10" fmla="*/ 58 w 114"/>
                <a:gd name="T11" fmla="*/ 22 h 91"/>
                <a:gd name="T12" fmla="*/ 46 w 114"/>
                <a:gd name="T13" fmla="*/ 17 h 91"/>
                <a:gd name="T14" fmla="*/ 39 w 114"/>
                <a:gd name="T15" fmla="*/ 12 h 91"/>
                <a:gd name="T16" fmla="*/ 29 w 114"/>
                <a:gd name="T17" fmla="*/ 3 h 91"/>
                <a:gd name="T18" fmla="*/ 24 w 114"/>
                <a:gd name="T19" fmla="*/ 0 h 91"/>
                <a:gd name="T20" fmla="*/ 15 w 114"/>
                <a:gd name="T21" fmla="*/ 8 h 91"/>
                <a:gd name="T22" fmla="*/ 8 w 114"/>
                <a:gd name="T23" fmla="*/ 17 h 91"/>
                <a:gd name="T24" fmla="*/ 0 w 114"/>
                <a:gd name="T25" fmla="*/ 26 h 91"/>
                <a:gd name="T26" fmla="*/ 6 w 114"/>
                <a:gd name="T27" fmla="*/ 41 h 91"/>
                <a:gd name="T28" fmla="*/ 13 w 114"/>
                <a:gd name="T29" fmla="*/ 51 h 91"/>
                <a:gd name="T30" fmla="*/ 15 w 114"/>
                <a:gd name="T31" fmla="*/ 56 h 91"/>
                <a:gd name="T32" fmla="*/ 10 w 114"/>
                <a:gd name="T33" fmla="*/ 65 h 91"/>
                <a:gd name="T34" fmla="*/ 12 w 114"/>
                <a:gd name="T35" fmla="*/ 75 h 91"/>
                <a:gd name="T36" fmla="*/ 12 w 114"/>
                <a:gd name="T37" fmla="*/ 85 h 91"/>
                <a:gd name="T38" fmla="*/ 15 w 114"/>
                <a:gd name="T39" fmla="*/ 90 h 91"/>
                <a:gd name="T40" fmla="*/ 22 w 114"/>
                <a:gd name="T41" fmla="*/ 82 h 91"/>
                <a:gd name="T42" fmla="*/ 34 w 114"/>
                <a:gd name="T43" fmla="*/ 78 h 91"/>
                <a:gd name="T44" fmla="*/ 39 w 114"/>
                <a:gd name="T45" fmla="*/ 75 h 91"/>
                <a:gd name="T46" fmla="*/ 48 w 114"/>
                <a:gd name="T47" fmla="*/ 77 h 91"/>
                <a:gd name="T48" fmla="*/ 58 w 114"/>
                <a:gd name="T49" fmla="*/ 75 h 91"/>
                <a:gd name="T50" fmla="*/ 66 w 114"/>
                <a:gd name="T51" fmla="*/ 77 h 91"/>
                <a:gd name="T52" fmla="*/ 76 w 114"/>
                <a:gd name="T53" fmla="*/ 78 h 91"/>
                <a:gd name="T54" fmla="*/ 83 w 114"/>
                <a:gd name="T55" fmla="*/ 75 h 91"/>
                <a:gd name="T56" fmla="*/ 94 w 114"/>
                <a:gd name="T57" fmla="*/ 71 h 91"/>
                <a:gd name="T58" fmla="*/ 98 w 114"/>
                <a:gd name="T59" fmla="*/ 63 h 91"/>
                <a:gd name="T60" fmla="*/ 101 w 114"/>
                <a:gd name="T61" fmla="*/ 58 h 91"/>
                <a:gd name="T62" fmla="*/ 107 w 114"/>
                <a:gd name="T63" fmla="*/ 60 h 91"/>
                <a:gd name="T64" fmla="*/ 113 w 114"/>
                <a:gd name="T65" fmla="*/ 58 h 91"/>
                <a:gd name="T66" fmla="*/ 111 w 114"/>
                <a:gd name="T67" fmla="*/ 51 h 91"/>
                <a:gd name="T68" fmla="*/ 111 w 114"/>
                <a:gd name="T69" fmla="*/ 37 h 91"/>
                <a:gd name="T70" fmla="*/ 108 w 114"/>
                <a:gd name="T71" fmla="*/ 32 h 91"/>
                <a:gd name="T72" fmla="*/ 108 w 114"/>
                <a:gd name="T73" fmla="*/ 22 h 91"/>
                <a:gd name="T74" fmla="*/ 107 w 114"/>
                <a:gd name="T75" fmla="*/ 15 h 91"/>
                <a:gd name="T76" fmla="*/ 107 w 114"/>
                <a:gd name="T77" fmla="*/ 5 h 9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14"/>
                <a:gd name="T118" fmla="*/ 0 h 91"/>
                <a:gd name="T119" fmla="*/ 114 w 114"/>
                <a:gd name="T120" fmla="*/ 91 h 9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14" h="91">
                  <a:moveTo>
                    <a:pt x="107" y="5"/>
                  </a:moveTo>
                  <a:lnTo>
                    <a:pt x="89" y="2"/>
                  </a:lnTo>
                  <a:lnTo>
                    <a:pt x="81" y="2"/>
                  </a:lnTo>
                  <a:lnTo>
                    <a:pt x="71" y="14"/>
                  </a:lnTo>
                  <a:lnTo>
                    <a:pt x="66" y="20"/>
                  </a:lnTo>
                  <a:lnTo>
                    <a:pt x="58" y="22"/>
                  </a:lnTo>
                  <a:lnTo>
                    <a:pt x="46" y="17"/>
                  </a:lnTo>
                  <a:lnTo>
                    <a:pt x="39" y="12"/>
                  </a:lnTo>
                  <a:lnTo>
                    <a:pt x="29" y="3"/>
                  </a:lnTo>
                  <a:lnTo>
                    <a:pt x="24" y="0"/>
                  </a:lnTo>
                  <a:lnTo>
                    <a:pt x="15" y="8"/>
                  </a:lnTo>
                  <a:lnTo>
                    <a:pt x="8" y="17"/>
                  </a:lnTo>
                  <a:lnTo>
                    <a:pt x="0" y="26"/>
                  </a:lnTo>
                  <a:lnTo>
                    <a:pt x="6" y="41"/>
                  </a:lnTo>
                  <a:lnTo>
                    <a:pt x="13" y="51"/>
                  </a:lnTo>
                  <a:lnTo>
                    <a:pt x="15" y="56"/>
                  </a:lnTo>
                  <a:lnTo>
                    <a:pt x="10" y="65"/>
                  </a:lnTo>
                  <a:lnTo>
                    <a:pt x="12" y="75"/>
                  </a:lnTo>
                  <a:lnTo>
                    <a:pt x="12" y="85"/>
                  </a:lnTo>
                  <a:lnTo>
                    <a:pt x="15" y="90"/>
                  </a:lnTo>
                  <a:lnTo>
                    <a:pt x="22" y="82"/>
                  </a:lnTo>
                  <a:lnTo>
                    <a:pt x="34" y="78"/>
                  </a:lnTo>
                  <a:lnTo>
                    <a:pt x="39" y="75"/>
                  </a:lnTo>
                  <a:lnTo>
                    <a:pt x="48" y="77"/>
                  </a:lnTo>
                  <a:lnTo>
                    <a:pt x="58" y="75"/>
                  </a:lnTo>
                  <a:lnTo>
                    <a:pt x="66" y="77"/>
                  </a:lnTo>
                  <a:lnTo>
                    <a:pt x="76" y="78"/>
                  </a:lnTo>
                  <a:lnTo>
                    <a:pt x="83" y="75"/>
                  </a:lnTo>
                  <a:lnTo>
                    <a:pt x="94" y="71"/>
                  </a:lnTo>
                  <a:lnTo>
                    <a:pt x="98" y="63"/>
                  </a:lnTo>
                  <a:lnTo>
                    <a:pt x="101" y="58"/>
                  </a:lnTo>
                  <a:lnTo>
                    <a:pt x="107" y="60"/>
                  </a:lnTo>
                  <a:lnTo>
                    <a:pt x="113" y="58"/>
                  </a:lnTo>
                  <a:lnTo>
                    <a:pt x="111" y="51"/>
                  </a:lnTo>
                  <a:lnTo>
                    <a:pt x="111" y="37"/>
                  </a:lnTo>
                  <a:lnTo>
                    <a:pt x="108" y="32"/>
                  </a:lnTo>
                  <a:lnTo>
                    <a:pt x="108" y="22"/>
                  </a:lnTo>
                  <a:lnTo>
                    <a:pt x="107" y="15"/>
                  </a:lnTo>
                  <a:lnTo>
                    <a:pt x="107" y="5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140519" tIns="70257" rIns="140519" bIns="70257" anchor="ctr"/>
            <a:lstStyle/>
            <a:p>
              <a:pPr marL="0" marR="0" lvl="0" indent="0" algn="l" defTabSz="9143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endParaRPr>
            </a:p>
          </p:txBody>
        </p:sp>
        <p:sp>
          <p:nvSpPr>
            <p:cNvPr id="93" name="Freeform 4862"/>
            <p:cNvSpPr>
              <a:spLocks/>
            </p:cNvSpPr>
            <p:nvPr/>
          </p:nvSpPr>
          <p:spPr bwMode="auto">
            <a:xfrm>
              <a:off x="1051588" y="1733465"/>
              <a:ext cx="587900" cy="636943"/>
            </a:xfrm>
            <a:custGeom>
              <a:avLst/>
              <a:gdLst>
                <a:gd name="T0" fmla="*/ 147 w 266"/>
                <a:gd name="T1" fmla="*/ 61 h 348"/>
                <a:gd name="T2" fmla="*/ 163 w 266"/>
                <a:gd name="T3" fmla="*/ 44 h 348"/>
                <a:gd name="T4" fmla="*/ 161 w 266"/>
                <a:gd name="T5" fmla="*/ 22 h 348"/>
                <a:gd name="T6" fmla="*/ 188 w 266"/>
                <a:gd name="T7" fmla="*/ 12 h 348"/>
                <a:gd name="T8" fmla="*/ 205 w 266"/>
                <a:gd name="T9" fmla="*/ 0 h 348"/>
                <a:gd name="T10" fmla="*/ 209 w 266"/>
                <a:gd name="T11" fmla="*/ 22 h 348"/>
                <a:gd name="T12" fmla="*/ 226 w 266"/>
                <a:gd name="T13" fmla="*/ 49 h 348"/>
                <a:gd name="T14" fmla="*/ 222 w 266"/>
                <a:gd name="T15" fmla="*/ 72 h 348"/>
                <a:gd name="T16" fmla="*/ 209 w 266"/>
                <a:gd name="T17" fmla="*/ 81 h 348"/>
                <a:gd name="T18" fmla="*/ 200 w 266"/>
                <a:gd name="T19" fmla="*/ 86 h 348"/>
                <a:gd name="T20" fmla="*/ 202 w 266"/>
                <a:gd name="T21" fmla="*/ 115 h 348"/>
                <a:gd name="T22" fmla="*/ 212 w 266"/>
                <a:gd name="T23" fmla="*/ 135 h 348"/>
                <a:gd name="T24" fmla="*/ 222 w 266"/>
                <a:gd name="T25" fmla="*/ 159 h 348"/>
                <a:gd name="T26" fmla="*/ 226 w 266"/>
                <a:gd name="T27" fmla="*/ 171 h 348"/>
                <a:gd name="T28" fmla="*/ 219 w 266"/>
                <a:gd name="T29" fmla="*/ 178 h 348"/>
                <a:gd name="T30" fmla="*/ 200 w 266"/>
                <a:gd name="T31" fmla="*/ 171 h 348"/>
                <a:gd name="T32" fmla="*/ 190 w 266"/>
                <a:gd name="T33" fmla="*/ 183 h 348"/>
                <a:gd name="T34" fmla="*/ 197 w 266"/>
                <a:gd name="T35" fmla="*/ 212 h 348"/>
                <a:gd name="T36" fmla="*/ 207 w 266"/>
                <a:gd name="T37" fmla="*/ 221 h 348"/>
                <a:gd name="T38" fmla="*/ 229 w 266"/>
                <a:gd name="T39" fmla="*/ 217 h 348"/>
                <a:gd name="T40" fmla="*/ 248 w 266"/>
                <a:gd name="T41" fmla="*/ 248 h 348"/>
                <a:gd name="T42" fmla="*/ 260 w 266"/>
                <a:gd name="T43" fmla="*/ 263 h 348"/>
                <a:gd name="T44" fmla="*/ 265 w 266"/>
                <a:gd name="T45" fmla="*/ 284 h 348"/>
                <a:gd name="T46" fmla="*/ 258 w 266"/>
                <a:gd name="T47" fmla="*/ 295 h 348"/>
                <a:gd name="T48" fmla="*/ 227 w 266"/>
                <a:gd name="T49" fmla="*/ 294 h 348"/>
                <a:gd name="T50" fmla="*/ 214 w 266"/>
                <a:gd name="T51" fmla="*/ 306 h 348"/>
                <a:gd name="T52" fmla="*/ 202 w 266"/>
                <a:gd name="T53" fmla="*/ 301 h 348"/>
                <a:gd name="T54" fmla="*/ 190 w 266"/>
                <a:gd name="T55" fmla="*/ 304 h 348"/>
                <a:gd name="T56" fmla="*/ 173 w 266"/>
                <a:gd name="T57" fmla="*/ 299 h 348"/>
                <a:gd name="T58" fmla="*/ 157 w 266"/>
                <a:gd name="T59" fmla="*/ 292 h 348"/>
                <a:gd name="T60" fmla="*/ 146 w 266"/>
                <a:gd name="T61" fmla="*/ 299 h 348"/>
                <a:gd name="T62" fmla="*/ 149 w 266"/>
                <a:gd name="T63" fmla="*/ 306 h 348"/>
                <a:gd name="T64" fmla="*/ 139 w 266"/>
                <a:gd name="T65" fmla="*/ 316 h 348"/>
                <a:gd name="T66" fmla="*/ 135 w 266"/>
                <a:gd name="T67" fmla="*/ 329 h 348"/>
                <a:gd name="T68" fmla="*/ 132 w 266"/>
                <a:gd name="T69" fmla="*/ 341 h 348"/>
                <a:gd name="T70" fmla="*/ 104 w 266"/>
                <a:gd name="T71" fmla="*/ 345 h 348"/>
                <a:gd name="T72" fmla="*/ 85 w 266"/>
                <a:gd name="T73" fmla="*/ 339 h 348"/>
                <a:gd name="T74" fmla="*/ 68 w 266"/>
                <a:gd name="T75" fmla="*/ 326 h 348"/>
                <a:gd name="T76" fmla="*/ 58 w 266"/>
                <a:gd name="T77" fmla="*/ 334 h 348"/>
                <a:gd name="T78" fmla="*/ 49 w 266"/>
                <a:gd name="T79" fmla="*/ 342 h 348"/>
                <a:gd name="T80" fmla="*/ 36 w 266"/>
                <a:gd name="T81" fmla="*/ 329 h 348"/>
                <a:gd name="T82" fmla="*/ 20 w 266"/>
                <a:gd name="T83" fmla="*/ 314 h 348"/>
                <a:gd name="T84" fmla="*/ 14 w 266"/>
                <a:gd name="T85" fmla="*/ 292 h 348"/>
                <a:gd name="T86" fmla="*/ 10 w 266"/>
                <a:gd name="T87" fmla="*/ 280 h 348"/>
                <a:gd name="T88" fmla="*/ 24 w 266"/>
                <a:gd name="T89" fmla="*/ 265 h 348"/>
                <a:gd name="T90" fmla="*/ 31 w 266"/>
                <a:gd name="T91" fmla="*/ 246 h 348"/>
                <a:gd name="T92" fmla="*/ 32 w 266"/>
                <a:gd name="T93" fmla="*/ 231 h 348"/>
                <a:gd name="T94" fmla="*/ 12 w 266"/>
                <a:gd name="T95" fmla="*/ 210 h 348"/>
                <a:gd name="T96" fmla="*/ 0 w 266"/>
                <a:gd name="T97" fmla="*/ 196 h 348"/>
                <a:gd name="T98" fmla="*/ 17 w 266"/>
                <a:gd name="T99" fmla="*/ 187 h 348"/>
                <a:gd name="T100" fmla="*/ 26 w 266"/>
                <a:gd name="T101" fmla="*/ 176 h 348"/>
                <a:gd name="T102" fmla="*/ 41 w 266"/>
                <a:gd name="T103" fmla="*/ 166 h 348"/>
                <a:gd name="T104" fmla="*/ 46 w 266"/>
                <a:gd name="T105" fmla="*/ 154 h 348"/>
                <a:gd name="T106" fmla="*/ 65 w 266"/>
                <a:gd name="T107" fmla="*/ 143 h 348"/>
                <a:gd name="T108" fmla="*/ 80 w 266"/>
                <a:gd name="T109" fmla="*/ 140 h 348"/>
                <a:gd name="T110" fmla="*/ 104 w 266"/>
                <a:gd name="T111" fmla="*/ 143 h 348"/>
                <a:gd name="T112" fmla="*/ 125 w 266"/>
                <a:gd name="T113" fmla="*/ 135 h 348"/>
                <a:gd name="T114" fmla="*/ 127 w 266"/>
                <a:gd name="T115" fmla="*/ 128 h 348"/>
                <a:gd name="T116" fmla="*/ 137 w 266"/>
                <a:gd name="T117" fmla="*/ 125 h 348"/>
                <a:gd name="T118" fmla="*/ 140 w 266"/>
                <a:gd name="T119" fmla="*/ 100 h 348"/>
                <a:gd name="T120" fmla="*/ 137 w 266"/>
                <a:gd name="T121" fmla="*/ 82 h 34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66"/>
                <a:gd name="T184" fmla="*/ 0 h 348"/>
                <a:gd name="T185" fmla="*/ 266 w 266"/>
                <a:gd name="T186" fmla="*/ 348 h 34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66" h="348">
                  <a:moveTo>
                    <a:pt x="137" y="69"/>
                  </a:moveTo>
                  <a:lnTo>
                    <a:pt x="147" y="61"/>
                  </a:lnTo>
                  <a:lnTo>
                    <a:pt x="159" y="49"/>
                  </a:lnTo>
                  <a:lnTo>
                    <a:pt x="163" y="44"/>
                  </a:lnTo>
                  <a:lnTo>
                    <a:pt x="159" y="27"/>
                  </a:lnTo>
                  <a:lnTo>
                    <a:pt x="161" y="22"/>
                  </a:lnTo>
                  <a:lnTo>
                    <a:pt x="180" y="13"/>
                  </a:lnTo>
                  <a:lnTo>
                    <a:pt x="188" y="12"/>
                  </a:lnTo>
                  <a:lnTo>
                    <a:pt x="199" y="0"/>
                  </a:lnTo>
                  <a:lnTo>
                    <a:pt x="205" y="0"/>
                  </a:lnTo>
                  <a:lnTo>
                    <a:pt x="207" y="8"/>
                  </a:lnTo>
                  <a:lnTo>
                    <a:pt x="209" y="22"/>
                  </a:lnTo>
                  <a:lnTo>
                    <a:pt x="219" y="37"/>
                  </a:lnTo>
                  <a:lnTo>
                    <a:pt x="226" y="49"/>
                  </a:lnTo>
                  <a:lnTo>
                    <a:pt x="226" y="61"/>
                  </a:lnTo>
                  <a:lnTo>
                    <a:pt x="222" y="72"/>
                  </a:lnTo>
                  <a:lnTo>
                    <a:pt x="214" y="81"/>
                  </a:lnTo>
                  <a:lnTo>
                    <a:pt x="209" y="81"/>
                  </a:lnTo>
                  <a:lnTo>
                    <a:pt x="203" y="81"/>
                  </a:lnTo>
                  <a:lnTo>
                    <a:pt x="200" y="86"/>
                  </a:lnTo>
                  <a:lnTo>
                    <a:pt x="203" y="96"/>
                  </a:lnTo>
                  <a:lnTo>
                    <a:pt x="202" y="115"/>
                  </a:lnTo>
                  <a:lnTo>
                    <a:pt x="210" y="123"/>
                  </a:lnTo>
                  <a:lnTo>
                    <a:pt x="212" y="135"/>
                  </a:lnTo>
                  <a:lnTo>
                    <a:pt x="217" y="151"/>
                  </a:lnTo>
                  <a:lnTo>
                    <a:pt x="222" y="159"/>
                  </a:lnTo>
                  <a:lnTo>
                    <a:pt x="227" y="164"/>
                  </a:lnTo>
                  <a:lnTo>
                    <a:pt x="226" y="171"/>
                  </a:lnTo>
                  <a:lnTo>
                    <a:pt x="222" y="176"/>
                  </a:lnTo>
                  <a:lnTo>
                    <a:pt x="219" y="178"/>
                  </a:lnTo>
                  <a:lnTo>
                    <a:pt x="210" y="171"/>
                  </a:lnTo>
                  <a:lnTo>
                    <a:pt x="200" y="171"/>
                  </a:lnTo>
                  <a:lnTo>
                    <a:pt x="193" y="176"/>
                  </a:lnTo>
                  <a:lnTo>
                    <a:pt x="190" y="183"/>
                  </a:lnTo>
                  <a:lnTo>
                    <a:pt x="197" y="191"/>
                  </a:lnTo>
                  <a:lnTo>
                    <a:pt x="197" y="212"/>
                  </a:lnTo>
                  <a:lnTo>
                    <a:pt x="202" y="219"/>
                  </a:lnTo>
                  <a:lnTo>
                    <a:pt x="207" y="221"/>
                  </a:lnTo>
                  <a:lnTo>
                    <a:pt x="217" y="219"/>
                  </a:lnTo>
                  <a:lnTo>
                    <a:pt x="229" y="217"/>
                  </a:lnTo>
                  <a:lnTo>
                    <a:pt x="237" y="236"/>
                  </a:lnTo>
                  <a:lnTo>
                    <a:pt x="248" y="248"/>
                  </a:lnTo>
                  <a:lnTo>
                    <a:pt x="254" y="256"/>
                  </a:lnTo>
                  <a:lnTo>
                    <a:pt x="260" y="263"/>
                  </a:lnTo>
                  <a:lnTo>
                    <a:pt x="260" y="277"/>
                  </a:lnTo>
                  <a:lnTo>
                    <a:pt x="265" y="284"/>
                  </a:lnTo>
                  <a:lnTo>
                    <a:pt x="265" y="287"/>
                  </a:lnTo>
                  <a:lnTo>
                    <a:pt x="258" y="295"/>
                  </a:lnTo>
                  <a:lnTo>
                    <a:pt x="231" y="292"/>
                  </a:lnTo>
                  <a:lnTo>
                    <a:pt x="227" y="294"/>
                  </a:lnTo>
                  <a:lnTo>
                    <a:pt x="222" y="304"/>
                  </a:lnTo>
                  <a:lnTo>
                    <a:pt x="214" y="306"/>
                  </a:lnTo>
                  <a:lnTo>
                    <a:pt x="203" y="297"/>
                  </a:lnTo>
                  <a:lnTo>
                    <a:pt x="202" y="301"/>
                  </a:lnTo>
                  <a:lnTo>
                    <a:pt x="195" y="301"/>
                  </a:lnTo>
                  <a:lnTo>
                    <a:pt x="190" y="304"/>
                  </a:lnTo>
                  <a:lnTo>
                    <a:pt x="180" y="304"/>
                  </a:lnTo>
                  <a:lnTo>
                    <a:pt x="173" y="299"/>
                  </a:lnTo>
                  <a:lnTo>
                    <a:pt x="163" y="295"/>
                  </a:lnTo>
                  <a:lnTo>
                    <a:pt x="157" y="292"/>
                  </a:lnTo>
                  <a:lnTo>
                    <a:pt x="151" y="295"/>
                  </a:lnTo>
                  <a:lnTo>
                    <a:pt x="146" y="299"/>
                  </a:lnTo>
                  <a:lnTo>
                    <a:pt x="147" y="302"/>
                  </a:lnTo>
                  <a:lnTo>
                    <a:pt x="149" y="306"/>
                  </a:lnTo>
                  <a:lnTo>
                    <a:pt x="147" y="311"/>
                  </a:lnTo>
                  <a:lnTo>
                    <a:pt x="139" y="316"/>
                  </a:lnTo>
                  <a:lnTo>
                    <a:pt x="135" y="321"/>
                  </a:lnTo>
                  <a:lnTo>
                    <a:pt x="135" y="329"/>
                  </a:lnTo>
                  <a:lnTo>
                    <a:pt x="135" y="336"/>
                  </a:lnTo>
                  <a:lnTo>
                    <a:pt x="132" y="341"/>
                  </a:lnTo>
                  <a:lnTo>
                    <a:pt x="123" y="344"/>
                  </a:lnTo>
                  <a:lnTo>
                    <a:pt x="104" y="345"/>
                  </a:lnTo>
                  <a:lnTo>
                    <a:pt x="90" y="347"/>
                  </a:lnTo>
                  <a:lnTo>
                    <a:pt x="85" y="339"/>
                  </a:lnTo>
                  <a:lnTo>
                    <a:pt x="77" y="332"/>
                  </a:lnTo>
                  <a:lnTo>
                    <a:pt x="68" y="326"/>
                  </a:lnTo>
                  <a:lnTo>
                    <a:pt x="65" y="329"/>
                  </a:lnTo>
                  <a:lnTo>
                    <a:pt x="58" y="334"/>
                  </a:lnTo>
                  <a:lnTo>
                    <a:pt x="53" y="339"/>
                  </a:lnTo>
                  <a:lnTo>
                    <a:pt x="49" y="342"/>
                  </a:lnTo>
                  <a:lnTo>
                    <a:pt x="44" y="336"/>
                  </a:lnTo>
                  <a:lnTo>
                    <a:pt x="36" y="329"/>
                  </a:lnTo>
                  <a:lnTo>
                    <a:pt x="26" y="326"/>
                  </a:lnTo>
                  <a:lnTo>
                    <a:pt x="20" y="314"/>
                  </a:lnTo>
                  <a:lnTo>
                    <a:pt x="17" y="301"/>
                  </a:lnTo>
                  <a:lnTo>
                    <a:pt x="14" y="292"/>
                  </a:lnTo>
                  <a:lnTo>
                    <a:pt x="10" y="287"/>
                  </a:lnTo>
                  <a:lnTo>
                    <a:pt x="10" y="280"/>
                  </a:lnTo>
                  <a:lnTo>
                    <a:pt x="14" y="272"/>
                  </a:lnTo>
                  <a:lnTo>
                    <a:pt x="24" y="265"/>
                  </a:lnTo>
                  <a:lnTo>
                    <a:pt x="29" y="255"/>
                  </a:lnTo>
                  <a:lnTo>
                    <a:pt x="31" y="246"/>
                  </a:lnTo>
                  <a:lnTo>
                    <a:pt x="34" y="238"/>
                  </a:lnTo>
                  <a:lnTo>
                    <a:pt x="32" y="231"/>
                  </a:lnTo>
                  <a:lnTo>
                    <a:pt x="24" y="222"/>
                  </a:lnTo>
                  <a:lnTo>
                    <a:pt x="12" y="210"/>
                  </a:lnTo>
                  <a:lnTo>
                    <a:pt x="3" y="204"/>
                  </a:lnTo>
                  <a:lnTo>
                    <a:pt x="0" y="196"/>
                  </a:lnTo>
                  <a:lnTo>
                    <a:pt x="2" y="191"/>
                  </a:lnTo>
                  <a:lnTo>
                    <a:pt x="17" y="187"/>
                  </a:lnTo>
                  <a:lnTo>
                    <a:pt x="26" y="187"/>
                  </a:lnTo>
                  <a:lnTo>
                    <a:pt x="26" y="176"/>
                  </a:lnTo>
                  <a:lnTo>
                    <a:pt x="31" y="171"/>
                  </a:lnTo>
                  <a:lnTo>
                    <a:pt x="41" y="166"/>
                  </a:lnTo>
                  <a:lnTo>
                    <a:pt x="43" y="161"/>
                  </a:lnTo>
                  <a:lnTo>
                    <a:pt x="46" y="154"/>
                  </a:lnTo>
                  <a:lnTo>
                    <a:pt x="53" y="145"/>
                  </a:lnTo>
                  <a:lnTo>
                    <a:pt x="65" y="143"/>
                  </a:lnTo>
                  <a:lnTo>
                    <a:pt x="68" y="140"/>
                  </a:lnTo>
                  <a:lnTo>
                    <a:pt x="80" y="140"/>
                  </a:lnTo>
                  <a:lnTo>
                    <a:pt x="88" y="140"/>
                  </a:lnTo>
                  <a:lnTo>
                    <a:pt x="104" y="143"/>
                  </a:lnTo>
                  <a:lnTo>
                    <a:pt x="115" y="139"/>
                  </a:lnTo>
                  <a:lnTo>
                    <a:pt x="125" y="135"/>
                  </a:lnTo>
                  <a:lnTo>
                    <a:pt x="129" y="135"/>
                  </a:lnTo>
                  <a:lnTo>
                    <a:pt x="127" y="128"/>
                  </a:lnTo>
                  <a:lnTo>
                    <a:pt x="132" y="122"/>
                  </a:lnTo>
                  <a:lnTo>
                    <a:pt x="137" y="125"/>
                  </a:lnTo>
                  <a:lnTo>
                    <a:pt x="144" y="122"/>
                  </a:lnTo>
                  <a:lnTo>
                    <a:pt x="140" y="100"/>
                  </a:lnTo>
                  <a:lnTo>
                    <a:pt x="137" y="98"/>
                  </a:lnTo>
                  <a:lnTo>
                    <a:pt x="137" y="82"/>
                  </a:lnTo>
                  <a:lnTo>
                    <a:pt x="137" y="69"/>
                  </a:lnTo>
                </a:path>
              </a:pathLst>
            </a:custGeom>
            <a:solidFill>
              <a:srgbClr val="AFDFDF">
                <a:alpha val="69804"/>
              </a:srgbClr>
            </a:solidFill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140519" tIns="70257" rIns="140519" bIns="70257" anchor="ctr"/>
            <a:lstStyle/>
            <a:p>
              <a:pPr marL="0" marR="0" lvl="0" indent="0" algn="l" defTabSz="9143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endParaRPr>
            </a:p>
          </p:txBody>
        </p:sp>
        <p:sp>
          <p:nvSpPr>
            <p:cNvPr id="94" name="Freeform 4963"/>
            <p:cNvSpPr>
              <a:spLocks/>
            </p:cNvSpPr>
            <p:nvPr/>
          </p:nvSpPr>
          <p:spPr bwMode="auto">
            <a:xfrm>
              <a:off x="1471988" y="1726356"/>
              <a:ext cx="643734" cy="527467"/>
            </a:xfrm>
            <a:custGeom>
              <a:avLst/>
              <a:gdLst>
                <a:gd name="T0" fmla="*/ 56 w 290"/>
                <a:gd name="T1" fmla="*/ 58 h 287"/>
                <a:gd name="T2" fmla="*/ 53 w 290"/>
                <a:gd name="T3" fmla="*/ 77 h 287"/>
                <a:gd name="T4" fmla="*/ 58 w 290"/>
                <a:gd name="T5" fmla="*/ 96 h 287"/>
                <a:gd name="T6" fmla="*/ 80 w 290"/>
                <a:gd name="T7" fmla="*/ 74 h 287"/>
                <a:gd name="T8" fmla="*/ 99 w 290"/>
                <a:gd name="T9" fmla="*/ 54 h 287"/>
                <a:gd name="T10" fmla="*/ 111 w 290"/>
                <a:gd name="T11" fmla="*/ 12 h 287"/>
                <a:gd name="T12" fmla="*/ 127 w 290"/>
                <a:gd name="T13" fmla="*/ 19 h 287"/>
                <a:gd name="T14" fmla="*/ 141 w 290"/>
                <a:gd name="T15" fmla="*/ 44 h 287"/>
                <a:gd name="T16" fmla="*/ 163 w 290"/>
                <a:gd name="T17" fmla="*/ 37 h 287"/>
                <a:gd name="T18" fmla="*/ 175 w 290"/>
                <a:gd name="T19" fmla="*/ 27 h 287"/>
                <a:gd name="T20" fmla="*/ 197 w 290"/>
                <a:gd name="T21" fmla="*/ 0 h 287"/>
                <a:gd name="T22" fmla="*/ 218 w 290"/>
                <a:gd name="T23" fmla="*/ 22 h 287"/>
                <a:gd name="T24" fmla="*/ 230 w 290"/>
                <a:gd name="T25" fmla="*/ 42 h 287"/>
                <a:gd name="T26" fmla="*/ 226 w 290"/>
                <a:gd name="T27" fmla="*/ 79 h 287"/>
                <a:gd name="T28" fmla="*/ 222 w 290"/>
                <a:gd name="T29" fmla="*/ 117 h 287"/>
                <a:gd name="T30" fmla="*/ 231 w 290"/>
                <a:gd name="T31" fmla="*/ 142 h 287"/>
                <a:gd name="T32" fmla="*/ 252 w 290"/>
                <a:gd name="T33" fmla="*/ 132 h 287"/>
                <a:gd name="T34" fmla="*/ 253 w 290"/>
                <a:gd name="T35" fmla="*/ 163 h 287"/>
                <a:gd name="T36" fmla="*/ 235 w 290"/>
                <a:gd name="T37" fmla="*/ 183 h 287"/>
                <a:gd name="T38" fmla="*/ 243 w 290"/>
                <a:gd name="T39" fmla="*/ 209 h 287"/>
                <a:gd name="T40" fmla="*/ 252 w 290"/>
                <a:gd name="T41" fmla="*/ 210 h 287"/>
                <a:gd name="T42" fmla="*/ 267 w 290"/>
                <a:gd name="T43" fmla="*/ 234 h 287"/>
                <a:gd name="T44" fmla="*/ 284 w 290"/>
                <a:gd name="T45" fmla="*/ 253 h 287"/>
                <a:gd name="T46" fmla="*/ 258 w 290"/>
                <a:gd name="T47" fmla="*/ 260 h 287"/>
                <a:gd name="T48" fmla="*/ 228 w 290"/>
                <a:gd name="T49" fmla="*/ 251 h 287"/>
                <a:gd name="T50" fmla="*/ 209 w 290"/>
                <a:gd name="T51" fmla="*/ 257 h 287"/>
                <a:gd name="T52" fmla="*/ 190 w 290"/>
                <a:gd name="T53" fmla="*/ 251 h 287"/>
                <a:gd name="T54" fmla="*/ 156 w 290"/>
                <a:gd name="T55" fmla="*/ 233 h 287"/>
                <a:gd name="T56" fmla="*/ 135 w 290"/>
                <a:gd name="T57" fmla="*/ 227 h 287"/>
                <a:gd name="T58" fmla="*/ 113 w 290"/>
                <a:gd name="T59" fmla="*/ 217 h 287"/>
                <a:gd name="T60" fmla="*/ 99 w 290"/>
                <a:gd name="T61" fmla="*/ 224 h 287"/>
                <a:gd name="T62" fmla="*/ 96 w 290"/>
                <a:gd name="T63" fmla="*/ 248 h 287"/>
                <a:gd name="T64" fmla="*/ 84 w 290"/>
                <a:gd name="T65" fmla="*/ 275 h 287"/>
                <a:gd name="T66" fmla="*/ 73 w 290"/>
                <a:gd name="T67" fmla="*/ 282 h 287"/>
                <a:gd name="T68" fmla="*/ 45 w 290"/>
                <a:gd name="T69" fmla="*/ 234 h 287"/>
                <a:gd name="T70" fmla="*/ 24 w 290"/>
                <a:gd name="T71" fmla="*/ 219 h 287"/>
                <a:gd name="T72" fmla="*/ 11 w 290"/>
                <a:gd name="T73" fmla="*/ 215 h 287"/>
                <a:gd name="T74" fmla="*/ 7 w 290"/>
                <a:gd name="T75" fmla="*/ 190 h 287"/>
                <a:gd name="T76" fmla="*/ 3 w 290"/>
                <a:gd name="T77" fmla="*/ 180 h 287"/>
                <a:gd name="T78" fmla="*/ 20 w 290"/>
                <a:gd name="T79" fmla="*/ 173 h 287"/>
                <a:gd name="T80" fmla="*/ 37 w 290"/>
                <a:gd name="T81" fmla="*/ 168 h 287"/>
                <a:gd name="T82" fmla="*/ 24 w 290"/>
                <a:gd name="T83" fmla="*/ 145 h 287"/>
                <a:gd name="T84" fmla="*/ 12 w 290"/>
                <a:gd name="T85" fmla="*/ 117 h 287"/>
                <a:gd name="T86" fmla="*/ 12 w 290"/>
                <a:gd name="T87" fmla="*/ 94 h 287"/>
                <a:gd name="T88" fmla="*/ 12 w 290"/>
                <a:gd name="T89" fmla="*/ 83 h 287"/>
                <a:gd name="T90" fmla="*/ 31 w 290"/>
                <a:gd name="T91" fmla="*/ 74 h 287"/>
                <a:gd name="T92" fmla="*/ 36 w 290"/>
                <a:gd name="T93" fmla="*/ 51 h 28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90"/>
                <a:gd name="T142" fmla="*/ 0 h 287"/>
                <a:gd name="T143" fmla="*/ 290 w 290"/>
                <a:gd name="T144" fmla="*/ 287 h 28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90" h="287">
                  <a:moveTo>
                    <a:pt x="36" y="51"/>
                  </a:moveTo>
                  <a:lnTo>
                    <a:pt x="48" y="51"/>
                  </a:lnTo>
                  <a:lnTo>
                    <a:pt x="56" y="58"/>
                  </a:lnTo>
                  <a:lnTo>
                    <a:pt x="56" y="63"/>
                  </a:lnTo>
                  <a:lnTo>
                    <a:pt x="56" y="71"/>
                  </a:lnTo>
                  <a:lnTo>
                    <a:pt x="53" y="77"/>
                  </a:lnTo>
                  <a:lnTo>
                    <a:pt x="48" y="79"/>
                  </a:lnTo>
                  <a:lnTo>
                    <a:pt x="51" y="89"/>
                  </a:lnTo>
                  <a:lnTo>
                    <a:pt x="58" y="96"/>
                  </a:lnTo>
                  <a:lnTo>
                    <a:pt x="67" y="88"/>
                  </a:lnTo>
                  <a:lnTo>
                    <a:pt x="72" y="83"/>
                  </a:lnTo>
                  <a:lnTo>
                    <a:pt x="80" y="74"/>
                  </a:lnTo>
                  <a:lnTo>
                    <a:pt x="80" y="65"/>
                  </a:lnTo>
                  <a:lnTo>
                    <a:pt x="87" y="61"/>
                  </a:lnTo>
                  <a:lnTo>
                    <a:pt x="99" y="54"/>
                  </a:lnTo>
                  <a:lnTo>
                    <a:pt x="107" y="42"/>
                  </a:lnTo>
                  <a:lnTo>
                    <a:pt x="109" y="37"/>
                  </a:lnTo>
                  <a:lnTo>
                    <a:pt x="111" y="12"/>
                  </a:lnTo>
                  <a:lnTo>
                    <a:pt x="118" y="8"/>
                  </a:lnTo>
                  <a:lnTo>
                    <a:pt x="127" y="10"/>
                  </a:lnTo>
                  <a:lnTo>
                    <a:pt x="127" y="19"/>
                  </a:lnTo>
                  <a:lnTo>
                    <a:pt x="125" y="32"/>
                  </a:lnTo>
                  <a:lnTo>
                    <a:pt x="134" y="39"/>
                  </a:lnTo>
                  <a:lnTo>
                    <a:pt x="141" y="44"/>
                  </a:lnTo>
                  <a:lnTo>
                    <a:pt x="142" y="49"/>
                  </a:lnTo>
                  <a:lnTo>
                    <a:pt x="149" y="53"/>
                  </a:lnTo>
                  <a:lnTo>
                    <a:pt x="163" y="37"/>
                  </a:lnTo>
                  <a:lnTo>
                    <a:pt x="171" y="41"/>
                  </a:lnTo>
                  <a:lnTo>
                    <a:pt x="177" y="34"/>
                  </a:lnTo>
                  <a:lnTo>
                    <a:pt x="175" y="27"/>
                  </a:lnTo>
                  <a:lnTo>
                    <a:pt x="183" y="10"/>
                  </a:lnTo>
                  <a:lnTo>
                    <a:pt x="188" y="2"/>
                  </a:lnTo>
                  <a:lnTo>
                    <a:pt x="197" y="0"/>
                  </a:lnTo>
                  <a:lnTo>
                    <a:pt x="205" y="2"/>
                  </a:lnTo>
                  <a:lnTo>
                    <a:pt x="211" y="14"/>
                  </a:lnTo>
                  <a:lnTo>
                    <a:pt x="218" y="22"/>
                  </a:lnTo>
                  <a:lnTo>
                    <a:pt x="228" y="29"/>
                  </a:lnTo>
                  <a:lnTo>
                    <a:pt x="231" y="34"/>
                  </a:lnTo>
                  <a:lnTo>
                    <a:pt x="230" y="42"/>
                  </a:lnTo>
                  <a:lnTo>
                    <a:pt x="230" y="59"/>
                  </a:lnTo>
                  <a:lnTo>
                    <a:pt x="230" y="69"/>
                  </a:lnTo>
                  <a:lnTo>
                    <a:pt x="226" y="79"/>
                  </a:lnTo>
                  <a:lnTo>
                    <a:pt x="226" y="89"/>
                  </a:lnTo>
                  <a:lnTo>
                    <a:pt x="222" y="100"/>
                  </a:lnTo>
                  <a:lnTo>
                    <a:pt x="222" y="117"/>
                  </a:lnTo>
                  <a:lnTo>
                    <a:pt x="222" y="127"/>
                  </a:lnTo>
                  <a:lnTo>
                    <a:pt x="226" y="139"/>
                  </a:lnTo>
                  <a:lnTo>
                    <a:pt x="231" y="142"/>
                  </a:lnTo>
                  <a:lnTo>
                    <a:pt x="239" y="136"/>
                  </a:lnTo>
                  <a:lnTo>
                    <a:pt x="245" y="127"/>
                  </a:lnTo>
                  <a:lnTo>
                    <a:pt x="252" y="132"/>
                  </a:lnTo>
                  <a:lnTo>
                    <a:pt x="250" y="140"/>
                  </a:lnTo>
                  <a:lnTo>
                    <a:pt x="252" y="156"/>
                  </a:lnTo>
                  <a:lnTo>
                    <a:pt x="253" y="163"/>
                  </a:lnTo>
                  <a:lnTo>
                    <a:pt x="248" y="166"/>
                  </a:lnTo>
                  <a:lnTo>
                    <a:pt x="239" y="175"/>
                  </a:lnTo>
                  <a:lnTo>
                    <a:pt x="235" y="183"/>
                  </a:lnTo>
                  <a:lnTo>
                    <a:pt x="233" y="192"/>
                  </a:lnTo>
                  <a:lnTo>
                    <a:pt x="236" y="204"/>
                  </a:lnTo>
                  <a:lnTo>
                    <a:pt x="243" y="209"/>
                  </a:lnTo>
                  <a:lnTo>
                    <a:pt x="248" y="204"/>
                  </a:lnTo>
                  <a:lnTo>
                    <a:pt x="255" y="205"/>
                  </a:lnTo>
                  <a:lnTo>
                    <a:pt x="252" y="210"/>
                  </a:lnTo>
                  <a:lnTo>
                    <a:pt x="255" y="223"/>
                  </a:lnTo>
                  <a:lnTo>
                    <a:pt x="258" y="227"/>
                  </a:lnTo>
                  <a:lnTo>
                    <a:pt x="267" y="234"/>
                  </a:lnTo>
                  <a:lnTo>
                    <a:pt x="272" y="240"/>
                  </a:lnTo>
                  <a:lnTo>
                    <a:pt x="279" y="246"/>
                  </a:lnTo>
                  <a:lnTo>
                    <a:pt x="284" y="253"/>
                  </a:lnTo>
                  <a:lnTo>
                    <a:pt x="289" y="257"/>
                  </a:lnTo>
                  <a:lnTo>
                    <a:pt x="282" y="260"/>
                  </a:lnTo>
                  <a:lnTo>
                    <a:pt x="258" y="260"/>
                  </a:lnTo>
                  <a:lnTo>
                    <a:pt x="252" y="263"/>
                  </a:lnTo>
                  <a:lnTo>
                    <a:pt x="241" y="262"/>
                  </a:lnTo>
                  <a:lnTo>
                    <a:pt x="228" y="251"/>
                  </a:lnTo>
                  <a:lnTo>
                    <a:pt x="221" y="255"/>
                  </a:lnTo>
                  <a:lnTo>
                    <a:pt x="214" y="258"/>
                  </a:lnTo>
                  <a:lnTo>
                    <a:pt x="209" y="257"/>
                  </a:lnTo>
                  <a:lnTo>
                    <a:pt x="200" y="248"/>
                  </a:lnTo>
                  <a:lnTo>
                    <a:pt x="197" y="250"/>
                  </a:lnTo>
                  <a:lnTo>
                    <a:pt x="190" y="251"/>
                  </a:lnTo>
                  <a:lnTo>
                    <a:pt x="182" y="248"/>
                  </a:lnTo>
                  <a:lnTo>
                    <a:pt x="168" y="241"/>
                  </a:lnTo>
                  <a:lnTo>
                    <a:pt x="156" y="233"/>
                  </a:lnTo>
                  <a:lnTo>
                    <a:pt x="146" y="223"/>
                  </a:lnTo>
                  <a:lnTo>
                    <a:pt x="141" y="224"/>
                  </a:lnTo>
                  <a:lnTo>
                    <a:pt x="135" y="227"/>
                  </a:lnTo>
                  <a:lnTo>
                    <a:pt x="129" y="227"/>
                  </a:lnTo>
                  <a:lnTo>
                    <a:pt x="119" y="221"/>
                  </a:lnTo>
                  <a:lnTo>
                    <a:pt x="113" y="217"/>
                  </a:lnTo>
                  <a:lnTo>
                    <a:pt x="107" y="219"/>
                  </a:lnTo>
                  <a:lnTo>
                    <a:pt x="102" y="221"/>
                  </a:lnTo>
                  <a:lnTo>
                    <a:pt x="99" y="224"/>
                  </a:lnTo>
                  <a:lnTo>
                    <a:pt x="96" y="229"/>
                  </a:lnTo>
                  <a:lnTo>
                    <a:pt x="98" y="240"/>
                  </a:lnTo>
                  <a:lnTo>
                    <a:pt x="96" y="248"/>
                  </a:lnTo>
                  <a:lnTo>
                    <a:pt x="92" y="262"/>
                  </a:lnTo>
                  <a:lnTo>
                    <a:pt x="89" y="267"/>
                  </a:lnTo>
                  <a:lnTo>
                    <a:pt x="84" y="275"/>
                  </a:lnTo>
                  <a:lnTo>
                    <a:pt x="82" y="279"/>
                  </a:lnTo>
                  <a:lnTo>
                    <a:pt x="75" y="286"/>
                  </a:lnTo>
                  <a:lnTo>
                    <a:pt x="73" y="282"/>
                  </a:lnTo>
                  <a:lnTo>
                    <a:pt x="70" y="279"/>
                  </a:lnTo>
                  <a:lnTo>
                    <a:pt x="70" y="263"/>
                  </a:lnTo>
                  <a:lnTo>
                    <a:pt x="45" y="234"/>
                  </a:lnTo>
                  <a:lnTo>
                    <a:pt x="39" y="219"/>
                  </a:lnTo>
                  <a:lnTo>
                    <a:pt x="31" y="219"/>
                  </a:lnTo>
                  <a:lnTo>
                    <a:pt x="24" y="219"/>
                  </a:lnTo>
                  <a:lnTo>
                    <a:pt x="20" y="221"/>
                  </a:lnTo>
                  <a:lnTo>
                    <a:pt x="15" y="221"/>
                  </a:lnTo>
                  <a:lnTo>
                    <a:pt x="11" y="215"/>
                  </a:lnTo>
                  <a:lnTo>
                    <a:pt x="7" y="212"/>
                  </a:lnTo>
                  <a:lnTo>
                    <a:pt x="7" y="204"/>
                  </a:lnTo>
                  <a:lnTo>
                    <a:pt x="7" y="190"/>
                  </a:lnTo>
                  <a:lnTo>
                    <a:pt x="2" y="187"/>
                  </a:lnTo>
                  <a:lnTo>
                    <a:pt x="0" y="183"/>
                  </a:lnTo>
                  <a:lnTo>
                    <a:pt x="3" y="180"/>
                  </a:lnTo>
                  <a:lnTo>
                    <a:pt x="9" y="173"/>
                  </a:lnTo>
                  <a:lnTo>
                    <a:pt x="12" y="171"/>
                  </a:lnTo>
                  <a:lnTo>
                    <a:pt x="20" y="173"/>
                  </a:lnTo>
                  <a:lnTo>
                    <a:pt x="29" y="178"/>
                  </a:lnTo>
                  <a:lnTo>
                    <a:pt x="34" y="173"/>
                  </a:lnTo>
                  <a:lnTo>
                    <a:pt x="37" y="168"/>
                  </a:lnTo>
                  <a:lnTo>
                    <a:pt x="37" y="164"/>
                  </a:lnTo>
                  <a:lnTo>
                    <a:pt x="33" y="156"/>
                  </a:lnTo>
                  <a:lnTo>
                    <a:pt x="24" y="145"/>
                  </a:lnTo>
                  <a:lnTo>
                    <a:pt x="22" y="137"/>
                  </a:lnTo>
                  <a:lnTo>
                    <a:pt x="20" y="125"/>
                  </a:lnTo>
                  <a:lnTo>
                    <a:pt x="12" y="117"/>
                  </a:lnTo>
                  <a:lnTo>
                    <a:pt x="12" y="108"/>
                  </a:lnTo>
                  <a:lnTo>
                    <a:pt x="14" y="101"/>
                  </a:lnTo>
                  <a:lnTo>
                    <a:pt x="12" y="94"/>
                  </a:lnTo>
                  <a:lnTo>
                    <a:pt x="9" y="91"/>
                  </a:lnTo>
                  <a:lnTo>
                    <a:pt x="11" y="86"/>
                  </a:lnTo>
                  <a:lnTo>
                    <a:pt x="12" y="83"/>
                  </a:lnTo>
                  <a:lnTo>
                    <a:pt x="15" y="83"/>
                  </a:lnTo>
                  <a:lnTo>
                    <a:pt x="22" y="83"/>
                  </a:lnTo>
                  <a:lnTo>
                    <a:pt x="31" y="74"/>
                  </a:lnTo>
                  <a:lnTo>
                    <a:pt x="34" y="66"/>
                  </a:lnTo>
                  <a:lnTo>
                    <a:pt x="34" y="63"/>
                  </a:lnTo>
                  <a:lnTo>
                    <a:pt x="36" y="51"/>
                  </a:lnTo>
                </a:path>
              </a:pathLst>
            </a:custGeom>
            <a:solidFill>
              <a:srgbClr val="AFDFDF">
                <a:alpha val="69804"/>
              </a:srgbClr>
            </a:solidFill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140519" tIns="70257" rIns="140519" bIns="70257" anchor="ctr"/>
            <a:lstStyle/>
            <a:p>
              <a:pPr marL="0" marR="0" lvl="0" indent="0" algn="l" defTabSz="9143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endParaRPr>
            </a:p>
          </p:txBody>
        </p:sp>
        <p:sp>
          <p:nvSpPr>
            <p:cNvPr id="95" name="Freeform 5064"/>
            <p:cNvSpPr>
              <a:spLocks/>
            </p:cNvSpPr>
            <p:nvPr/>
          </p:nvSpPr>
          <p:spPr bwMode="auto">
            <a:xfrm>
              <a:off x="1930158" y="1609775"/>
              <a:ext cx="504150" cy="376763"/>
            </a:xfrm>
            <a:custGeom>
              <a:avLst/>
              <a:gdLst>
                <a:gd name="T0" fmla="*/ 2 w 227"/>
                <a:gd name="T1" fmla="*/ 51 h 205"/>
                <a:gd name="T2" fmla="*/ 20 w 227"/>
                <a:gd name="T3" fmla="*/ 36 h 205"/>
                <a:gd name="T4" fmla="*/ 17 w 227"/>
                <a:gd name="T5" fmla="*/ 24 h 205"/>
                <a:gd name="T6" fmla="*/ 44 w 227"/>
                <a:gd name="T7" fmla="*/ 5 h 205"/>
                <a:gd name="T8" fmla="*/ 48 w 227"/>
                <a:gd name="T9" fmla="*/ 17 h 205"/>
                <a:gd name="T10" fmla="*/ 87 w 227"/>
                <a:gd name="T11" fmla="*/ 29 h 205"/>
                <a:gd name="T12" fmla="*/ 102 w 227"/>
                <a:gd name="T13" fmla="*/ 22 h 205"/>
                <a:gd name="T14" fmla="*/ 129 w 227"/>
                <a:gd name="T15" fmla="*/ 7 h 205"/>
                <a:gd name="T16" fmla="*/ 153 w 227"/>
                <a:gd name="T17" fmla="*/ 17 h 205"/>
                <a:gd name="T18" fmla="*/ 177 w 227"/>
                <a:gd name="T19" fmla="*/ 7 h 205"/>
                <a:gd name="T20" fmla="*/ 194 w 227"/>
                <a:gd name="T21" fmla="*/ 3 h 205"/>
                <a:gd name="T22" fmla="*/ 197 w 227"/>
                <a:gd name="T23" fmla="*/ 20 h 205"/>
                <a:gd name="T24" fmla="*/ 207 w 227"/>
                <a:gd name="T25" fmla="*/ 34 h 205"/>
                <a:gd name="T26" fmla="*/ 218 w 227"/>
                <a:gd name="T27" fmla="*/ 53 h 205"/>
                <a:gd name="T28" fmla="*/ 226 w 227"/>
                <a:gd name="T29" fmla="*/ 72 h 205"/>
                <a:gd name="T30" fmla="*/ 204 w 227"/>
                <a:gd name="T31" fmla="*/ 79 h 205"/>
                <a:gd name="T32" fmla="*/ 184 w 227"/>
                <a:gd name="T33" fmla="*/ 97 h 205"/>
                <a:gd name="T34" fmla="*/ 166 w 227"/>
                <a:gd name="T35" fmla="*/ 107 h 205"/>
                <a:gd name="T36" fmla="*/ 149 w 227"/>
                <a:gd name="T37" fmla="*/ 116 h 205"/>
                <a:gd name="T38" fmla="*/ 156 w 227"/>
                <a:gd name="T39" fmla="*/ 126 h 205"/>
                <a:gd name="T40" fmla="*/ 168 w 227"/>
                <a:gd name="T41" fmla="*/ 136 h 205"/>
                <a:gd name="T42" fmla="*/ 158 w 227"/>
                <a:gd name="T43" fmla="*/ 146 h 205"/>
                <a:gd name="T44" fmla="*/ 146 w 227"/>
                <a:gd name="T45" fmla="*/ 149 h 205"/>
                <a:gd name="T46" fmla="*/ 144 w 227"/>
                <a:gd name="T47" fmla="*/ 163 h 205"/>
                <a:gd name="T48" fmla="*/ 134 w 227"/>
                <a:gd name="T49" fmla="*/ 168 h 205"/>
                <a:gd name="T50" fmla="*/ 119 w 227"/>
                <a:gd name="T51" fmla="*/ 165 h 205"/>
                <a:gd name="T52" fmla="*/ 108 w 227"/>
                <a:gd name="T53" fmla="*/ 173 h 205"/>
                <a:gd name="T54" fmla="*/ 97 w 227"/>
                <a:gd name="T55" fmla="*/ 192 h 205"/>
                <a:gd name="T56" fmla="*/ 87 w 227"/>
                <a:gd name="T57" fmla="*/ 199 h 205"/>
                <a:gd name="T58" fmla="*/ 66 w 227"/>
                <a:gd name="T59" fmla="*/ 202 h 205"/>
                <a:gd name="T60" fmla="*/ 55 w 227"/>
                <a:gd name="T61" fmla="*/ 195 h 205"/>
                <a:gd name="T62" fmla="*/ 42 w 227"/>
                <a:gd name="T63" fmla="*/ 199 h 205"/>
                <a:gd name="T64" fmla="*/ 36 w 227"/>
                <a:gd name="T65" fmla="*/ 192 h 205"/>
                <a:gd name="T66" fmla="*/ 29 w 227"/>
                <a:gd name="T67" fmla="*/ 199 h 205"/>
                <a:gd name="T68" fmla="*/ 19 w 227"/>
                <a:gd name="T69" fmla="*/ 202 h 205"/>
                <a:gd name="T70" fmla="*/ 14 w 227"/>
                <a:gd name="T71" fmla="*/ 190 h 205"/>
                <a:gd name="T72" fmla="*/ 15 w 227"/>
                <a:gd name="T73" fmla="*/ 168 h 205"/>
                <a:gd name="T74" fmla="*/ 20 w 227"/>
                <a:gd name="T75" fmla="*/ 146 h 205"/>
                <a:gd name="T76" fmla="*/ 20 w 227"/>
                <a:gd name="T77" fmla="*/ 131 h 205"/>
                <a:gd name="T78" fmla="*/ 22 w 227"/>
                <a:gd name="T79" fmla="*/ 107 h 205"/>
                <a:gd name="T80" fmla="*/ 24 w 227"/>
                <a:gd name="T81" fmla="*/ 96 h 205"/>
                <a:gd name="T82" fmla="*/ 12 w 227"/>
                <a:gd name="T83" fmla="*/ 87 h 205"/>
                <a:gd name="T84" fmla="*/ 3 w 227"/>
                <a:gd name="T85" fmla="*/ 75 h 20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27"/>
                <a:gd name="T130" fmla="*/ 0 h 205"/>
                <a:gd name="T131" fmla="*/ 227 w 227"/>
                <a:gd name="T132" fmla="*/ 205 h 20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27" h="205">
                  <a:moveTo>
                    <a:pt x="0" y="65"/>
                  </a:moveTo>
                  <a:lnTo>
                    <a:pt x="2" y="51"/>
                  </a:lnTo>
                  <a:lnTo>
                    <a:pt x="8" y="46"/>
                  </a:lnTo>
                  <a:lnTo>
                    <a:pt x="20" y="36"/>
                  </a:lnTo>
                  <a:lnTo>
                    <a:pt x="22" y="31"/>
                  </a:lnTo>
                  <a:lnTo>
                    <a:pt x="17" y="24"/>
                  </a:lnTo>
                  <a:lnTo>
                    <a:pt x="39" y="0"/>
                  </a:lnTo>
                  <a:lnTo>
                    <a:pt x="44" y="5"/>
                  </a:lnTo>
                  <a:lnTo>
                    <a:pt x="48" y="12"/>
                  </a:lnTo>
                  <a:lnTo>
                    <a:pt x="48" y="17"/>
                  </a:lnTo>
                  <a:lnTo>
                    <a:pt x="60" y="20"/>
                  </a:lnTo>
                  <a:lnTo>
                    <a:pt x="87" y="29"/>
                  </a:lnTo>
                  <a:lnTo>
                    <a:pt x="89" y="31"/>
                  </a:lnTo>
                  <a:lnTo>
                    <a:pt x="102" y="22"/>
                  </a:lnTo>
                  <a:lnTo>
                    <a:pt x="119" y="7"/>
                  </a:lnTo>
                  <a:lnTo>
                    <a:pt x="129" y="7"/>
                  </a:lnTo>
                  <a:lnTo>
                    <a:pt x="139" y="14"/>
                  </a:lnTo>
                  <a:lnTo>
                    <a:pt x="153" y="17"/>
                  </a:lnTo>
                  <a:lnTo>
                    <a:pt x="170" y="12"/>
                  </a:lnTo>
                  <a:lnTo>
                    <a:pt x="177" y="7"/>
                  </a:lnTo>
                  <a:lnTo>
                    <a:pt x="185" y="7"/>
                  </a:lnTo>
                  <a:lnTo>
                    <a:pt x="194" y="3"/>
                  </a:lnTo>
                  <a:lnTo>
                    <a:pt x="199" y="12"/>
                  </a:lnTo>
                  <a:lnTo>
                    <a:pt x="197" y="20"/>
                  </a:lnTo>
                  <a:lnTo>
                    <a:pt x="199" y="31"/>
                  </a:lnTo>
                  <a:lnTo>
                    <a:pt x="207" y="34"/>
                  </a:lnTo>
                  <a:lnTo>
                    <a:pt x="215" y="43"/>
                  </a:lnTo>
                  <a:lnTo>
                    <a:pt x="218" y="53"/>
                  </a:lnTo>
                  <a:lnTo>
                    <a:pt x="226" y="65"/>
                  </a:lnTo>
                  <a:lnTo>
                    <a:pt x="226" y="72"/>
                  </a:lnTo>
                  <a:lnTo>
                    <a:pt x="215" y="73"/>
                  </a:lnTo>
                  <a:lnTo>
                    <a:pt x="204" y="79"/>
                  </a:lnTo>
                  <a:lnTo>
                    <a:pt x="194" y="89"/>
                  </a:lnTo>
                  <a:lnTo>
                    <a:pt x="184" y="97"/>
                  </a:lnTo>
                  <a:lnTo>
                    <a:pt x="175" y="104"/>
                  </a:lnTo>
                  <a:lnTo>
                    <a:pt x="166" y="107"/>
                  </a:lnTo>
                  <a:lnTo>
                    <a:pt x="153" y="109"/>
                  </a:lnTo>
                  <a:lnTo>
                    <a:pt x="149" y="116"/>
                  </a:lnTo>
                  <a:lnTo>
                    <a:pt x="151" y="123"/>
                  </a:lnTo>
                  <a:lnTo>
                    <a:pt x="156" y="126"/>
                  </a:lnTo>
                  <a:lnTo>
                    <a:pt x="163" y="130"/>
                  </a:lnTo>
                  <a:lnTo>
                    <a:pt x="168" y="136"/>
                  </a:lnTo>
                  <a:lnTo>
                    <a:pt x="165" y="139"/>
                  </a:lnTo>
                  <a:lnTo>
                    <a:pt x="158" y="146"/>
                  </a:lnTo>
                  <a:lnTo>
                    <a:pt x="151" y="148"/>
                  </a:lnTo>
                  <a:lnTo>
                    <a:pt x="146" y="149"/>
                  </a:lnTo>
                  <a:lnTo>
                    <a:pt x="148" y="156"/>
                  </a:lnTo>
                  <a:lnTo>
                    <a:pt x="144" y="163"/>
                  </a:lnTo>
                  <a:lnTo>
                    <a:pt x="141" y="168"/>
                  </a:lnTo>
                  <a:lnTo>
                    <a:pt x="134" y="168"/>
                  </a:lnTo>
                  <a:lnTo>
                    <a:pt x="127" y="167"/>
                  </a:lnTo>
                  <a:lnTo>
                    <a:pt x="119" y="165"/>
                  </a:lnTo>
                  <a:lnTo>
                    <a:pt x="111" y="165"/>
                  </a:lnTo>
                  <a:lnTo>
                    <a:pt x="108" y="173"/>
                  </a:lnTo>
                  <a:lnTo>
                    <a:pt x="104" y="182"/>
                  </a:lnTo>
                  <a:lnTo>
                    <a:pt x="97" y="192"/>
                  </a:lnTo>
                  <a:lnTo>
                    <a:pt x="92" y="197"/>
                  </a:lnTo>
                  <a:lnTo>
                    <a:pt x="87" y="199"/>
                  </a:lnTo>
                  <a:lnTo>
                    <a:pt x="77" y="202"/>
                  </a:lnTo>
                  <a:lnTo>
                    <a:pt x="66" y="202"/>
                  </a:lnTo>
                  <a:lnTo>
                    <a:pt x="60" y="199"/>
                  </a:lnTo>
                  <a:lnTo>
                    <a:pt x="55" y="195"/>
                  </a:lnTo>
                  <a:lnTo>
                    <a:pt x="48" y="197"/>
                  </a:lnTo>
                  <a:lnTo>
                    <a:pt x="42" y="199"/>
                  </a:lnTo>
                  <a:lnTo>
                    <a:pt x="41" y="195"/>
                  </a:lnTo>
                  <a:lnTo>
                    <a:pt x="36" y="192"/>
                  </a:lnTo>
                  <a:lnTo>
                    <a:pt x="32" y="195"/>
                  </a:lnTo>
                  <a:lnTo>
                    <a:pt x="29" y="199"/>
                  </a:lnTo>
                  <a:lnTo>
                    <a:pt x="24" y="204"/>
                  </a:lnTo>
                  <a:lnTo>
                    <a:pt x="19" y="202"/>
                  </a:lnTo>
                  <a:lnTo>
                    <a:pt x="15" y="195"/>
                  </a:lnTo>
                  <a:lnTo>
                    <a:pt x="14" y="190"/>
                  </a:lnTo>
                  <a:lnTo>
                    <a:pt x="15" y="180"/>
                  </a:lnTo>
                  <a:lnTo>
                    <a:pt x="15" y="168"/>
                  </a:lnTo>
                  <a:lnTo>
                    <a:pt x="17" y="158"/>
                  </a:lnTo>
                  <a:lnTo>
                    <a:pt x="20" y="146"/>
                  </a:lnTo>
                  <a:lnTo>
                    <a:pt x="20" y="139"/>
                  </a:lnTo>
                  <a:lnTo>
                    <a:pt x="20" y="131"/>
                  </a:lnTo>
                  <a:lnTo>
                    <a:pt x="20" y="123"/>
                  </a:lnTo>
                  <a:lnTo>
                    <a:pt x="22" y="107"/>
                  </a:lnTo>
                  <a:lnTo>
                    <a:pt x="25" y="101"/>
                  </a:lnTo>
                  <a:lnTo>
                    <a:pt x="24" y="96"/>
                  </a:lnTo>
                  <a:lnTo>
                    <a:pt x="19" y="90"/>
                  </a:lnTo>
                  <a:lnTo>
                    <a:pt x="12" y="87"/>
                  </a:lnTo>
                  <a:lnTo>
                    <a:pt x="5" y="79"/>
                  </a:lnTo>
                  <a:lnTo>
                    <a:pt x="3" y="75"/>
                  </a:lnTo>
                  <a:lnTo>
                    <a:pt x="0" y="65"/>
                  </a:lnTo>
                </a:path>
              </a:pathLst>
            </a:custGeom>
            <a:solidFill>
              <a:srgbClr val="AFDFDF">
                <a:alpha val="69804"/>
              </a:srgbClr>
            </a:solidFill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140519" tIns="70257" rIns="140519" bIns="70257" anchor="ctr"/>
            <a:lstStyle/>
            <a:p>
              <a:pPr marL="0" marR="0" lvl="0" indent="0" algn="l" defTabSz="9143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endParaRPr>
            </a:p>
          </p:txBody>
        </p:sp>
        <p:sp>
          <p:nvSpPr>
            <p:cNvPr id="96" name="Freeform 5165"/>
            <p:cNvSpPr>
              <a:spLocks/>
            </p:cNvSpPr>
            <p:nvPr/>
          </p:nvSpPr>
          <p:spPr bwMode="auto">
            <a:xfrm>
              <a:off x="2388332" y="1763324"/>
              <a:ext cx="339931" cy="299987"/>
            </a:xfrm>
            <a:custGeom>
              <a:avLst/>
              <a:gdLst>
                <a:gd name="T0" fmla="*/ 49 w 153"/>
                <a:gd name="T1" fmla="*/ 5 h 163"/>
                <a:gd name="T2" fmla="*/ 54 w 153"/>
                <a:gd name="T3" fmla="*/ 0 h 163"/>
                <a:gd name="T4" fmla="*/ 78 w 153"/>
                <a:gd name="T5" fmla="*/ 6 h 163"/>
                <a:gd name="T6" fmla="*/ 105 w 153"/>
                <a:gd name="T7" fmla="*/ 15 h 163"/>
                <a:gd name="T8" fmla="*/ 146 w 153"/>
                <a:gd name="T9" fmla="*/ 34 h 163"/>
                <a:gd name="T10" fmla="*/ 147 w 153"/>
                <a:gd name="T11" fmla="*/ 44 h 163"/>
                <a:gd name="T12" fmla="*/ 135 w 153"/>
                <a:gd name="T13" fmla="*/ 49 h 163"/>
                <a:gd name="T14" fmla="*/ 130 w 153"/>
                <a:gd name="T15" fmla="*/ 62 h 163"/>
                <a:gd name="T16" fmla="*/ 146 w 153"/>
                <a:gd name="T17" fmla="*/ 83 h 163"/>
                <a:gd name="T18" fmla="*/ 137 w 153"/>
                <a:gd name="T19" fmla="*/ 104 h 163"/>
                <a:gd name="T20" fmla="*/ 140 w 153"/>
                <a:gd name="T21" fmla="*/ 123 h 163"/>
                <a:gd name="T22" fmla="*/ 150 w 153"/>
                <a:gd name="T23" fmla="*/ 140 h 163"/>
                <a:gd name="T24" fmla="*/ 152 w 153"/>
                <a:gd name="T25" fmla="*/ 161 h 163"/>
                <a:gd name="T26" fmla="*/ 139 w 153"/>
                <a:gd name="T27" fmla="*/ 162 h 163"/>
                <a:gd name="T28" fmla="*/ 132 w 153"/>
                <a:gd name="T29" fmla="*/ 147 h 163"/>
                <a:gd name="T30" fmla="*/ 124 w 153"/>
                <a:gd name="T31" fmla="*/ 140 h 163"/>
                <a:gd name="T32" fmla="*/ 112 w 153"/>
                <a:gd name="T33" fmla="*/ 151 h 163"/>
                <a:gd name="T34" fmla="*/ 98 w 153"/>
                <a:gd name="T35" fmla="*/ 152 h 163"/>
                <a:gd name="T36" fmla="*/ 83 w 153"/>
                <a:gd name="T37" fmla="*/ 149 h 163"/>
                <a:gd name="T38" fmla="*/ 75 w 153"/>
                <a:gd name="T39" fmla="*/ 149 h 163"/>
                <a:gd name="T40" fmla="*/ 63 w 153"/>
                <a:gd name="T41" fmla="*/ 139 h 163"/>
                <a:gd name="T42" fmla="*/ 53 w 153"/>
                <a:gd name="T43" fmla="*/ 130 h 163"/>
                <a:gd name="T44" fmla="*/ 35 w 153"/>
                <a:gd name="T45" fmla="*/ 137 h 163"/>
                <a:gd name="T46" fmla="*/ 24 w 153"/>
                <a:gd name="T47" fmla="*/ 132 h 163"/>
                <a:gd name="T48" fmla="*/ 20 w 153"/>
                <a:gd name="T49" fmla="*/ 120 h 163"/>
                <a:gd name="T50" fmla="*/ 15 w 153"/>
                <a:gd name="T51" fmla="*/ 108 h 163"/>
                <a:gd name="T52" fmla="*/ 6 w 153"/>
                <a:gd name="T53" fmla="*/ 98 h 163"/>
                <a:gd name="T54" fmla="*/ 5 w 153"/>
                <a:gd name="T55" fmla="*/ 91 h 163"/>
                <a:gd name="T56" fmla="*/ 1 w 153"/>
                <a:gd name="T57" fmla="*/ 77 h 163"/>
                <a:gd name="T58" fmla="*/ 5 w 153"/>
                <a:gd name="T59" fmla="*/ 64 h 163"/>
                <a:gd name="T60" fmla="*/ 25 w 153"/>
                <a:gd name="T61" fmla="*/ 37 h 163"/>
                <a:gd name="T62" fmla="*/ 28 w 153"/>
                <a:gd name="T63" fmla="*/ 29 h 163"/>
                <a:gd name="T64" fmla="*/ 41 w 153"/>
                <a:gd name="T65" fmla="*/ 19 h 163"/>
                <a:gd name="T66" fmla="*/ 46 w 153"/>
                <a:gd name="T67" fmla="*/ 13 h 16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53"/>
                <a:gd name="T103" fmla="*/ 0 h 163"/>
                <a:gd name="T104" fmla="*/ 153 w 153"/>
                <a:gd name="T105" fmla="*/ 163 h 163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53" h="163">
                  <a:moveTo>
                    <a:pt x="51" y="5"/>
                  </a:moveTo>
                  <a:lnTo>
                    <a:pt x="49" y="5"/>
                  </a:lnTo>
                  <a:lnTo>
                    <a:pt x="51" y="6"/>
                  </a:lnTo>
                  <a:lnTo>
                    <a:pt x="54" y="0"/>
                  </a:lnTo>
                  <a:lnTo>
                    <a:pt x="64" y="2"/>
                  </a:lnTo>
                  <a:lnTo>
                    <a:pt x="78" y="6"/>
                  </a:lnTo>
                  <a:lnTo>
                    <a:pt x="100" y="17"/>
                  </a:lnTo>
                  <a:lnTo>
                    <a:pt x="105" y="15"/>
                  </a:lnTo>
                  <a:lnTo>
                    <a:pt x="135" y="27"/>
                  </a:lnTo>
                  <a:lnTo>
                    <a:pt x="146" y="34"/>
                  </a:lnTo>
                  <a:lnTo>
                    <a:pt x="149" y="39"/>
                  </a:lnTo>
                  <a:lnTo>
                    <a:pt x="147" y="44"/>
                  </a:lnTo>
                  <a:lnTo>
                    <a:pt x="142" y="47"/>
                  </a:lnTo>
                  <a:lnTo>
                    <a:pt x="135" y="49"/>
                  </a:lnTo>
                  <a:lnTo>
                    <a:pt x="129" y="52"/>
                  </a:lnTo>
                  <a:lnTo>
                    <a:pt x="130" y="62"/>
                  </a:lnTo>
                  <a:lnTo>
                    <a:pt x="144" y="74"/>
                  </a:lnTo>
                  <a:lnTo>
                    <a:pt x="146" y="83"/>
                  </a:lnTo>
                  <a:lnTo>
                    <a:pt x="144" y="92"/>
                  </a:lnTo>
                  <a:lnTo>
                    <a:pt x="137" y="104"/>
                  </a:lnTo>
                  <a:lnTo>
                    <a:pt x="133" y="115"/>
                  </a:lnTo>
                  <a:lnTo>
                    <a:pt x="140" y="123"/>
                  </a:lnTo>
                  <a:lnTo>
                    <a:pt x="149" y="135"/>
                  </a:lnTo>
                  <a:lnTo>
                    <a:pt x="150" y="140"/>
                  </a:lnTo>
                  <a:lnTo>
                    <a:pt x="152" y="156"/>
                  </a:lnTo>
                  <a:lnTo>
                    <a:pt x="152" y="161"/>
                  </a:lnTo>
                  <a:lnTo>
                    <a:pt x="147" y="162"/>
                  </a:lnTo>
                  <a:lnTo>
                    <a:pt x="139" y="162"/>
                  </a:lnTo>
                  <a:lnTo>
                    <a:pt x="135" y="157"/>
                  </a:lnTo>
                  <a:lnTo>
                    <a:pt x="132" y="147"/>
                  </a:lnTo>
                  <a:lnTo>
                    <a:pt x="127" y="140"/>
                  </a:lnTo>
                  <a:lnTo>
                    <a:pt x="124" y="140"/>
                  </a:lnTo>
                  <a:lnTo>
                    <a:pt x="119" y="144"/>
                  </a:lnTo>
                  <a:lnTo>
                    <a:pt x="112" y="151"/>
                  </a:lnTo>
                  <a:lnTo>
                    <a:pt x="109" y="152"/>
                  </a:lnTo>
                  <a:lnTo>
                    <a:pt x="98" y="152"/>
                  </a:lnTo>
                  <a:lnTo>
                    <a:pt x="94" y="149"/>
                  </a:lnTo>
                  <a:lnTo>
                    <a:pt x="83" y="149"/>
                  </a:lnTo>
                  <a:lnTo>
                    <a:pt x="78" y="151"/>
                  </a:lnTo>
                  <a:lnTo>
                    <a:pt x="75" y="149"/>
                  </a:lnTo>
                  <a:lnTo>
                    <a:pt x="70" y="145"/>
                  </a:lnTo>
                  <a:lnTo>
                    <a:pt x="63" y="139"/>
                  </a:lnTo>
                  <a:lnTo>
                    <a:pt x="58" y="132"/>
                  </a:lnTo>
                  <a:lnTo>
                    <a:pt x="53" y="130"/>
                  </a:lnTo>
                  <a:lnTo>
                    <a:pt x="42" y="135"/>
                  </a:lnTo>
                  <a:lnTo>
                    <a:pt x="35" y="137"/>
                  </a:lnTo>
                  <a:lnTo>
                    <a:pt x="30" y="137"/>
                  </a:lnTo>
                  <a:lnTo>
                    <a:pt x="24" y="132"/>
                  </a:lnTo>
                  <a:lnTo>
                    <a:pt x="20" y="125"/>
                  </a:lnTo>
                  <a:lnTo>
                    <a:pt x="20" y="120"/>
                  </a:lnTo>
                  <a:lnTo>
                    <a:pt x="20" y="113"/>
                  </a:lnTo>
                  <a:lnTo>
                    <a:pt x="15" y="108"/>
                  </a:lnTo>
                  <a:lnTo>
                    <a:pt x="11" y="101"/>
                  </a:lnTo>
                  <a:lnTo>
                    <a:pt x="6" y="98"/>
                  </a:lnTo>
                  <a:lnTo>
                    <a:pt x="3" y="98"/>
                  </a:lnTo>
                  <a:lnTo>
                    <a:pt x="5" y="91"/>
                  </a:lnTo>
                  <a:lnTo>
                    <a:pt x="3" y="86"/>
                  </a:lnTo>
                  <a:lnTo>
                    <a:pt x="1" y="77"/>
                  </a:lnTo>
                  <a:lnTo>
                    <a:pt x="0" y="70"/>
                  </a:lnTo>
                  <a:lnTo>
                    <a:pt x="5" y="64"/>
                  </a:lnTo>
                  <a:lnTo>
                    <a:pt x="15" y="52"/>
                  </a:lnTo>
                  <a:lnTo>
                    <a:pt x="25" y="37"/>
                  </a:lnTo>
                  <a:lnTo>
                    <a:pt x="28" y="36"/>
                  </a:lnTo>
                  <a:lnTo>
                    <a:pt x="28" y="29"/>
                  </a:lnTo>
                  <a:lnTo>
                    <a:pt x="34" y="23"/>
                  </a:lnTo>
                  <a:lnTo>
                    <a:pt x="41" y="19"/>
                  </a:lnTo>
                  <a:lnTo>
                    <a:pt x="49" y="17"/>
                  </a:lnTo>
                  <a:lnTo>
                    <a:pt x="46" y="13"/>
                  </a:lnTo>
                  <a:lnTo>
                    <a:pt x="51" y="5"/>
                  </a:lnTo>
                </a:path>
              </a:pathLst>
            </a:custGeom>
            <a:solidFill>
              <a:srgbClr val="AFDFDF">
                <a:alpha val="69804"/>
              </a:srgb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27844" tIns="63920" rIns="127844" bIns="63920" anchor="ctr"/>
            <a:lstStyle/>
            <a:p>
              <a:pPr marL="0" marR="0" lvl="0" indent="0" algn="ctr" defTabSz="95882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endParaRPr>
            </a:p>
          </p:txBody>
        </p:sp>
        <p:sp>
          <p:nvSpPr>
            <p:cNvPr id="97" name="Freeform 5266"/>
            <p:cNvSpPr>
              <a:spLocks/>
            </p:cNvSpPr>
            <p:nvPr/>
          </p:nvSpPr>
          <p:spPr bwMode="auto">
            <a:xfrm>
              <a:off x="1989280" y="1736314"/>
              <a:ext cx="563268" cy="524625"/>
            </a:xfrm>
            <a:custGeom>
              <a:avLst/>
              <a:gdLst>
                <a:gd name="T0" fmla="*/ 215 w 255"/>
                <a:gd name="T1" fmla="*/ 2 h 289"/>
                <a:gd name="T2" fmla="*/ 235 w 255"/>
                <a:gd name="T3" fmla="*/ 15 h 289"/>
                <a:gd name="T4" fmla="*/ 227 w 255"/>
                <a:gd name="T5" fmla="*/ 31 h 289"/>
                <a:gd name="T6" fmla="*/ 208 w 255"/>
                <a:gd name="T7" fmla="*/ 45 h 289"/>
                <a:gd name="T8" fmla="*/ 203 w 255"/>
                <a:gd name="T9" fmla="*/ 53 h 289"/>
                <a:gd name="T10" fmla="*/ 188 w 255"/>
                <a:gd name="T11" fmla="*/ 72 h 289"/>
                <a:gd name="T12" fmla="*/ 181 w 255"/>
                <a:gd name="T13" fmla="*/ 93 h 289"/>
                <a:gd name="T14" fmla="*/ 181 w 255"/>
                <a:gd name="T15" fmla="*/ 112 h 289"/>
                <a:gd name="T16" fmla="*/ 198 w 255"/>
                <a:gd name="T17" fmla="*/ 127 h 289"/>
                <a:gd name="T18" fmla="*/ 201 w 255"/>
                <a:gd name="T19" fmla="*/ 144 h 289"/>
                <a:gd name="T20" fmla="*/ 218 w 255"/>
                <a:gd name="T21" fmla="*/ 151 h 289"/>
                <a:gd name="T22" fmla="*/ 237 w 255"/>
                <a:gd name="T23" fmla="*/ 148 h 289"/>
                <a:gd name="T24" fmla="*/ 254 w 255"/>
                <a:gd name="T25" fmla="*/ 168 h 289"/>
                <a:gd name="T26" fmla="*/ 222 w 255"/>
                <a:gd name="T27" fmla="*/ 177 h 289"/>
                <a:gd name="T28" fmla="*/ 172 w 255"/>
                <a:gd name="T29" fmla="*/ 195 h 289"/>
                <a:gd name="T30" fmla="*/ 167 w 255"/>
                <a:gd name="T31" fmla="*/ 220 h 289"/>
                <a:gd name="T32" fmla="*/ 169 w 255"/>
                <a:gd name="T33" fmla="*/ 255 h 289"/>
                <a:gd name="T34" fmla="*/ 181 w 255"/>
                <a:gd name="T35" fmla="*/ 281 h 289"/>
                <a:gd name="T36" fmla="*/ 163 w 255"/>
                <a:gd name="T37" fmla="*/ 286 h 289"/>
                <a:gd name="T38" fmla="*/ 150 w 255"/>
                <a:gd name="T39" fmla="*/ 267 h 289"/>
                <a:gd name="T40" fmla="*/ 121 w 255"/>
                <a:gd name="T41" fmla="*/ 265 h 289"/>
                <a:gd name="T42" fmla="*/ 104 w 255"/>
                <a:gd name="T43" fmla="*/ 267 h 289"/>
                <a:gd name="T44" fmla="*/ 83 w 255"/>
                <a:gd name="T45" fmla="*/ 267 h 289"/>
                <a:gd name="T46" fmla="*/ 70 w 255"/>
                <a:gd name="T47" fmla="*/ 262 h 289"/>
                <a:gd name="T48" fmla="*/ 54 w 255"/>
                <a:gd name="T49" fmla="*/ 252 h 289"/>
                <a:gd name="T50" fmla="*/ 34 w 255"/>
                <a:gd name="T51" fmla="*/ 230 h 289"/>
                <a:gd name="T52" fmla="*/ 20 w 255"/>
                <a:gd name="T53" fmla="*/ 216 h 289"/>
                <a:gd name="T54" fmla="*/ 19 w 255"/>
                <a:gd name="T55" fmla="*/ 203 h 289"/>
                <a:gd name="T56" fmla="*/ 5 w 255"/>
                <a:gd name="T57" fmla="*/ 199 h 289"/>
                <a:gd name="T58" fmla="*/ 2 w 255"/>
                <a:gd name="T59" fmla="*/ 178 h 289"/>
                <a:gd name="T60" fmla="*/ 14 w 255"/>
                <a:gd name="T61" fmla="*/ 163 h 289"/>
                <a:gd name="T62" fmla="*/ 17 w 255"/>
                <a:gd name="T63" fmla="*/ 148 h 289"/>
                <a:gd name="T64" fmla="*/ 19 w 255"/>
                <a:gd name="T65" fmla="*/ 133 h 289"/>
                <a:gd name="T66" fmla="*/ 37 w 255"/>
                <a:gd name="T67" fmla="*/ 134 h 289"/>
                <a:gd name="T68" fmla="*/ 66 w 255"/>
                <a:gd name="T69" fmla="*/ 127 h 289"/>
                <a:gd name="T70" fmla="*/ 82 w 255"/>
                <a:gd name="T71" fmla="*/ 105 h 289"/>
                <a:gd name="T72" fmla="*/ 99 w 255"/>
                <a:gd name="T73" fmla="*/ 98 h 289"/>
                <a:gd name="T74" fmla="*/ 115 w 255"/>
                <a:gd name="T75" fmla="*/ 100 h 289"/>
                <a:gd name="T76" fmla="*/ 121 w 255"/>
                <a:gd name="T77" fmla="*/ 80 h 289"/>
                <a:gd name="T78" fmla="*/ 142 w 255"/>
                <a:gd name="T79" fmla="*/ 67 h 289"/>
                <a:gd name="T80" fmla="*/ 130 w 255"/>
                <a:gd name="T81" fmla="*/ 58 h 289"/>
                <a:gd name="T82" fmla="*/ 125 w 255"/>
                <a:gd name="T83" fmla="*/ 50 h 289"/>
                <a:gd name="T84" fmla="*/ 125 w 255"/>
                <a:gd name="T85" fmla="*/ 41 h 289"/>
                <a:gd name="T86" fmla="*/ 142 w 255"/>
                <a:gd name="T87" fmla="*/ 37 h 289"/>
                <a:gd name="T88" fmla="*/ 157 w 255"/>
                <a:gd name="T89" fmla="*/ 29 h 289"/>
                <a:gd name="T90" fmla="*/ 174 w 255"/>
                <a:gd name="T91" fmla="*/ 14 h 289"/>
                <a:gd name="T92" fmla="*/ 189 w 255"/>
                <a:gd name="T93" fmla="*/ 7 h 289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55"/>
                <a:gd name="T142" fmla="*/ 0 h 289"/>
                <a:gd name="T143" fmla="*/ 255 w 255"/>
                <a:gd name="T144" fmla="*/ 289 h 289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55" h="289">
                  <a:moveTo>
                    <a:pt x="198" y="3"/>
                  </a:moveTo>
                  <a:lnTo>
                    <a:pt x="208" y="0"/>
                  </a:lnTo>
                  <a:lnTo>
                    <a:pt x="215" y="2"/>
                  </a:lnTo>
                  <a:lnTo>
                    <a:pt x="225" y="7"/>
                  </a:lnTo>
                  <a:lnTo>
                    <a:pt x="235" y="12"/>
                  </a:lnTo>
                  <a:lnTo>
                    <a:pt x="235" y="15"/>
                  </a:lnTo>
                  <a:lnTo>
                    <a:pt x="232" y="19"/>
                  </a:lnTo>
                  <a:lnTo>
                    <a:pt x="225" y="28"/>
                  </a:lnTo>
                  <a:lnTo>
                    <a:pt x="227" y="31"/>
                  </a:lnTo>
                  <a:lnTo>
                    <a:pt x="220" y="33"/>
                  </a:lnTo>
                  <a:lnTo>
                    <a:pt x="215" y="37"/>
                  </a:lnTo>
                  <a:lnTo>
                    <a:pt x="208" y="45"/>
                  </a:lnTo>
                  <a:lnTo>
                    <a:pt x="206" y="48"/>
                  </a:lnTo>
                  <a:lnTo>
                    <a:pt x="208" y="51"/>
                  </a:lnTo>
                  <a:lnTo>
                    <a:pt x="203" y="53"/>
                  </a:lnTo>
                  <a:lnTo>
                    <a:pt x="200" y="60"/>
                  </a:lnTo>
                  <a:lnTo>
                    <a:pt x="195" y="64"/>
                  </a:lnTo>
                  <a:lnTo>
                    <a:pt x="188" y="72"/>
                  </a:lnTo>
                  <a:lnTo>
                    <a:pt x="183" y="80"/>
                  </a:lnTo>
                  <a:lnTo>
                    <a:pt x="180" y="84"/>
                  </a:lnTo>
                  <a:lnTo>
                    <a:pt x="181" y="93"/>
                  </a:lnTo>
                  <a:lnTo>
                    <a:pt x="184" y="100"/>
                  </a:lnTo>
                  <a:lnTo>
                    <a:pt x="183" y="105"/>
                  </a:lnTo>
                  <a:lnTo>
                    <a:pt x="181" y="112"/>
                  </a:lnTo>
                  <a:lnTo>
                    <a:pt x="189" y="117"/>
                  </a:lnTo>
                  <a:lnTo>
                    <a:pt x="195" y="124"/>
                  </a:lnTo>
                  <a:lnTo>
                    <a:pt x="198" y="127"/>
                  </a:lnTo>
                  <a:lnTo>
                    <a:pt x="200" y="131"/>
                  </a:lnTo>
                  <a:lnTo>
                    <a:pt x="198" y="137"/>
                  </a:lnTo>
                  <a:lnTo>
                    <a:pt x="201" y="144"/>
                  </a:lnTo>
                  <a:lnTo>
                    <a:pt x="205" y="151"/>
                  </a:lnTo>
                  <a:lnTo>
                    <a:pt x="210" y="154"/>
                  </a:lnTo>
                  <a:lnTo>
                    <a:pt x="218" y="151"/>
                  </a:lnTo>
                  <a:lnTo>
                    <a:pt x="225" y="148"/>
                  </a:lnTo>
                  <a:lnTo>
                    <a:pt x="231" y="144"/>
                  </a:lnTo>
                  <a:lnTo>
                    <a:pt x="237" y="148"/>
                  </a:lnTo>
                  <a:lnTo>
                    <a:pt x="242" y="154"/>
                  </a:lnTo>
                  <a:lnTo>
                    <a:pt x="249" y="161"/>
                  </a:lnTo>
                  <a:lnTo>
                    <a:pt x="254" y="168"/>
                  </a:lnTo>
                  <a:lnTo>
                    <a:pt x="246" y="172"/>
                  </a:lnTo>
                  <a:lnTo>
                    <a:pt x="231" y="173"/>
                  </a:lnTo>
                  <a:lnTo>
                    <a:pt x="222" y="177"/>
                  </a:lnTo>
                  <a:lnTo>
                    <a:pt x="200" y="182"/>
                  </a:lnTo>
                  <a:lnTo>
                    <a:pt x="184" y="189"/>
                  </a:lnTo>
                  <a:lnTo>
                    <a:pt x="172" y="195"/>
                  </a:lnTo>
                  <a:lnTo>
                    <a:pt x="167" y="199"/>
                  </a:lnTo>
                  <a:lnTo>
                    <a:pt x="167" y="207"/>
                  </a:lnTo>
                  <a:lnTo>
                    <a:pt x="167" y="220"/>
                  </a:lnTo>
                  <a:lnTo>
                    <a:pt x="163" y="242"/>
                  </a:lnTo>
                  <a:lnTo>
                    <a:pt x="161" y="248"/>
                  </a:lnTo>
                  <a:lnTo>
                    <a:pt x="169" y="255"/>
                  </a:lnTo>
                  <a:lnTo>
                    <a:pt x="181" y="267"/>
                  </a:lnTo>
                  <a:lnTo>
                    <a:pt x="183" y="274"/>
                  </a:lnTo>
                  <a:lnTo>
                    <a:pt x="181" y="281"/>
                  </a:lnTo>
                  <a:lnTo>
                    <a:pt x="172" y="284"/>
                  </a:lnTo>
                  <a:lnTo>
                    <a:pt x="163" y="288"/>
                  </a:lnTo>
                  <a:lnTo>
                    <a:pt x="163" y="286"/>
                  </a:lnTo>
                  <a:lnTo>
                    <a:pt x="157" y="279"/>
                  </a:lnTo>
                  <a:lnTo>
                    <a:pt x="154" y="271"/>
                  </a:lnTo>
                  <a:lnTo>
                    <a:pt x="150" y="267"/>
                  </a:lnTo>
                  <a:lnTo>
                    <a:pt x="140" y="264"/>
                  </a:lnTo>
                  <a:lnTo>
                    <a:pt x="130" y="262"/>
                  </a:lnTo>
                  <a:lnTo>
                    <a:pt x="121" y="265"/>
                  </a:lnTo>
                  <a:lnTo>
                    <a:pt x="118" y="271"/>
                  </a:lnTo>
                  <a:lnTo>
                    <a:pt x="111" y="273"/>
                  </a:lnTo>
                  <a:lnTo>
                    <a:pt x="104" y="267"/>
                  </a:lnTo>
                  <a:lnTo>
                    <a:pt x="97" y="267"/>
                  </a:lnTo>
                  <a:lnTo>
                    <a:pt x="88" y="269"/>
                  </a:lnTo>
                  <a:lnTo>
                    <a:pt x="83" y="267"/>
                  </a:lnTo>
                  <a:lnTo>
                    <a:pt x="76" y="265"/>
                  </a:lnTo>
                  <a:lnTo>
                    <a:pt x="71" y="264"/>
                  </a:lnTo>
                  <a:lnTo>
                    <a:pt x="70" y="262"/>
                  </a:lnTo>
                  <a:lnTo>
                    <a:pt x="65" y="260"/>
                  </a:lnTo>
                  <a:lnTo>
                    <a:pt x="58" y="257"/>
                  </a:lnTo>
                  <a:lnTo>
                    <a:pt x="54" y="252"/>
                  </a:lnTo>
                  <a:lnTo>
                    <a:pt x="46" y="242"/>
                  </a:lnTo>
                  <a:lnTo>
                    <a:pt x="40" y="237"/>
                  </a:lnTo>
                  <a:lnTo>
                    <a:pt x="34" y="230"/>
                  </a:lnTo>
                  <a:lnTo>
                    <a:pt x="29" y="226"/>
                  </a:lnTo>
                  <a:lnTo>
                    <a:pt x="23" y="221"/>
                  </a:lnTo>
                  <a:lnTo>
                    <a:pt x="20" y="216"/>
                  </a:lnTo>
                  <a:lnTo>
                    <a:pt x="20" y="212"/>
                  </a:lnTo>
                  <a:lnTo>
                    <a:pt x="19" y="204"/>
                  </a:lnTo>
                  <a:lnTo>
                    <a:pt x="19" y="203"/>
                  </a:lnTo>
                  <a:lnTo>
                    <a:pt x="15" y="201"/>
                  </a:lnTo>
                  <a:lnTo>
                    <a:pt x="10" y="204"/>
                  </a:lnTo>
                  <a:lnTo>
                    <a:pt x="5" y="199"/>
                  </a:lnTo>
                  <a:lnTo>
                    <a:pt x="3" y="192"/>
                  </a:lnTo>
                  <a:lnTo>
                    <a:pt x="0" y="185"/>
                  </a:lnTo>
                  <a:lnTo>
                    <a:pt x="2" y="178"/>
                  </a:lnTo>
                  <a:lnTo>
                    <a:pt x="3" y="173"/>
                  </a:lnTo>
                  <a:lnTo>
                    <a:pt x="8" y="168"/>
                  </a:lnTo>
                  <a:lnTo>
                    <a:pt x="14" y="163"/>
                  </a:lnTo>
                  <a:lnTo>
                    <a:pt x="20" y="158"/>
                  </a:lnTo>
                  <a:lnTo>
                    <a:pt x="19" y="153"/>
                  </a:lnTo>
                  <a:lnTo>
                    <a:pt x="17" y="148"/>
                  </a:lnTo>
                  <a:lnTo>
                    <a:pt x="17" y="141"/>
                  </a:lnTo>
                  <a:lnTo>
                    <a:pt x="17" y="136"/>
                  </a:lnTo>
                  <a:lnTo>
                    <a:pt x="19" y="133"/>
                  </a:lnTo>
                  <a:lnTo>
                    <a:pt x="27" y="125"/>
                  </a:lnTo>
                  <a:lnTo>
                    <a:pt x="34" y="133"/>
                  </a:lnTo>
                  <a:lnTo>
                    <a:pt x="37" y="134"/>
                  </a:lnTo>
                  <a:lnTo>
                    <a:pt x="48" y="134"/>
                  </a:lnTo>
                  <a:lnTo>
                    <a:pt x="61" y="131"/>
                  </a:lnTo>
                  <a:lnTo>
                    <a:pt x="66" y="127"/>
                  </a:lnTo>
                  <a:lnTo>
                    <a:pt x="71" y="122"/>
                  </a:lnTo>
                  <a:lnTo>
                    <a:pt x="76" y="115"/>
                  </a:lnTo>
                  <a:lnTo>
                    <a:pt x="82" y="105"/>
                  </a:lnTo>
                  <a:lnTo>
                    <a:pt x="83" y="97"/>
                  </a:lnTo>
                  <a:lnTo>
                    <a:pt x="93" y="95"/>
                  </a:lnTo>
                  <a:lnTo>
                    <a:pt x="99" y="98"/>
                  </a:lnTo>
                  <a:lnTo>
                    <a:pt x="106" y="100"/>
                  </a:lnTo>
                  <a:lnTo>
                    <a:pt x="111" y="100"/>
                  </a:lnTo>
                  <a:lnTo>
                    <a:pt x="115" y="100"/>
                  </a:lnTo>
                  <a:lnTo>
                    <a:pt x="121" y="86"/>
                  </a:lnTo>
                  <a:lnTo>
                    <a:pt x="118" y="83"/>
                  </a:lnTo>
                  <a:lnTo>
                    <a:pt x="121" y="80"/>
                  </a:lnTo>
                  <a:lnTo>
                    <a:pt x="125" y="80"/>
                  </a:lnTo>
                  <a:lnTo>
                    <a:pt x="128" y="80"/>
                  </a:lnTo>
                  <a:lnTo>
                    <a:pt x="142" y="67"/>
                  </a:lnTo>
                  <a:lnTo>
                    <a:pt x="140" y="64"/>
                  </a:lnTo>
                  <a:lnTo>
                    <a:pt x="137" y="62"/>
                  </a:lnTo>
                  <a:lnTo>
                    <a:pt x="130" y="58"/>
                  </a:lnTo>
                  <a:lnTo>
                    <a:pt x="127" y="55"/>
                  </a:lnTo>
                  <a:lnTo>
                    <a:pt x="125" y="53"/>
                  </a:lnTo>
                  <a:lnTo>
                    <a:pt x="125" y="50"/>
                  </a:lnTo>
                  <a:lnTo>
                    <a:pt x="123" y="48"/>
                  </a:lnTo>
                  <a:lnTo>
                    <a:pt x="123" y="43"/>
                  </a:lnTo>
                  <a:lnTo>
                    <a:pt x="125" y="41"/>
                  </a:lnTo>
                  <a:lnTo>
                    <a:pt x="128" y="41"/>
                  </a:lnTo>
                  <a:lnTo>
                    <a:pt x="137" y="37"/>
                  </a:lnTo>
                  <a:lnTo>
                    <a:pt x="142" y="37"/>
                  </a:lnTo>
                  <a:lnTo>
                    <a:pt x="149" y="36"/>
                  </a:lnTo>
                  <a:lnTo>
                    <a:pt x="152" y="33"/>
                  </a:lnTo>
                  <a:lnTo>
                    <a:pt x="157" y="29"/>
                  </a:lnTo>
                  <a:lnTo>
                    <a:pt x="163" y="24"/>
                  </a:lnTo>
                  <a:lnTo>
                    <a:pt x="169" y="19"/>
                  </a:lnTo>
                  <a:lnTo>
                    <a:pt x="174" y="14"/>
                  </a:lnTo>
                  <a:lnTo>
                    <a:pt x="178" y="11"/>
                  </a:lnTo>
                  <a:lnTo>
                    <a:pt x="183" y="7"/>
                  </a:lnTo>
                  <a:lnTo>
                    <a:pt x="189" y="7"/>
                  </a:lnTo>
                  <a:lnTo>
                    <a:pt x="198" y="3"/>
                  </a:lnTo>
                </a:path>
              </a:pathLst>
            </a:custGeom>
            <a:solidFill>
              <a:srgbClr val="AFDFDF">
                <a:alpha val="69804"/>
              </a:srgbClr>
            </a:solidFill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140519" tIns="70257" rIns="140519" bIns="70257" anchor="ctr"/>
            <a:lstStyle/>
            <a:p>
              <a:pPr marL="0" marR="0" lvl="0" indent="0" algn="l" defTabSz="9143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endParaRPr>
            </a:p>
          </p:txBody>
        </p:sp>
        <p:sp>
          <p:nvSpPr>
            <p:cNvPr id="98" name="Freeform 5367"/>
            <p:cNvSpPr>
              <a:spLocks/>
            </p:cNvSpPr>
            <p:nvPr/>
          </p:nvSpPr>
          <p:spPr bwMode="auto">
            <a:xfrm>
              <a:off x="1784003" y="2768498"/>
              <a:ext cx="91962" cy="41231"/>
            </a:xfrm>
            <a:custGeom>
              <a:avLst/>
              <a:gdLst>
                <a:gd name="T0" fmla="*/ 17 w 41"/>
                <a:gd name="T1" fmla="*/ 0 h 24"/>
                <a:gd name="T2" fmla="*/ 11 w 41"/>
                <a:gd name="T3" fmla="*/ 6 h 24"/>
                <a:gd name="T4" fmla="*/ 6 w 41"/>
                <a:gd name="T5" fmla="*/ 6 h 24"/>
                <a:gd name="T6" fmla="*/ 0 w 41"/>
                <a:gd name="T7" fmla="*/ 6 h 24"/>
                <a:gd name="T8" fmla="*/ 1 w 41"/>
                <a:gd name="T9" fmla="*/ 11 h 24"/>
                <a:gd name="T10" fmla="*/ 3 w 41"/>
                <a:gd name="T11" fmla="*/ 14 h 24"/>
                <a:gd name="T12" fmla="*/ 15 w 41"/>
                <a:gd name="T13" fmla="*/ 17 h 24"/>
                <a:gd name="T14" fmla="*/ 27 w 41"/>
                <a:gd name="T15" fmla="*/ 21 h 24"/>
                <a:gd name="T16" fmla="*/ 34 w 41"/>
                <a:gd name="T17" fmla="*/ 23 h 24"/>
                <a:gd name="T18" fmla="*/ 37 w 41"/>
                <a:gd name="T19" fmla="*/ 17 h 24"/>
                <a:gd name="T20" fmla="*/ 40 w 41"/>
                <a:gd name="T21" fmla="*/ 14 h 24"/>
                <a:gd name="T22" fmla="*/ 40 w 41"/>
                <a:gd name="T23" fmla="*/ 7 h 24"/>
                <a:gd name="T24" fmla="*/ 37 w 41"/>
                <a:gd name="T25" fmla="*/ 0 h 24"/>
                <a:gd name="T26" fmla="*/ 32 w 41"/>
                <a:gd name="T27" fmla="*/ 0 h 24"/>
                <a:gd name="T28" fmla="*/ 25 w 41"/>
                <a:gd name="T29" fmla="*/ 4 h 24"/>
                <a:gd name="T30" fmla="*/ 17 w 41"/>
                <a:gd name="T31" fmla="*/ 0 h 2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1"/>
                <a:gd name="T49" fmla="*/ 0 h 24"/>
                <a:gd name="T50" fmla="*/ 41 w 41"/>
                <a:gd name="T51" fmla="*/ 24 h 2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1" h="24">
                  <a:moveTo>
                    <a:pt x="17" y="0"/>
                  </a:moveTo>
                  <a:lnTo>
                    <a:pt x="11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1" y="11"/>
                  </a:lnTo>
                  <a:lnTo>
                    <a:pt x="3" y="14"/>
                  </a:lnTo>
                  <a:lnTo>
                    <a:pt x="15" y="17"/>
                  </a:lnTo>
                  <a:lnTo>
                    <a:pt x="27" y="21"/>
                  </a:lnTo>
                  <a:lnTo>
                    <a:pt x="34" y="23"/>
                  </a:lnTo>
                  <a:lnTo>
                    <a:pt x="37" y="17"/>
                  </a:lnTo>
                  <a:lnTo>
                    <a:pt x="40" y="14"/>
                  </a:lnTo>
                  <a:lnTo>
                    <a:pt x="40" y="7"/>
                  </a:lnTo>
                  <a:lnTo>
                    <a:pt x="37" y="0"/>
                  </a:lnTo>
                  <a:lnTo>
                    <a:pt x="32" y="0"/>
                  </a:lnTo>
                  <a:lnTo>
                    <a:pt x="25" y="4"/>
                  </a:lnTo>
                  <a:lnTo>
                    <a:pt x="17" y="0"/>
                  </a:lnTo>
                </a:path>
              </a:pathLst>
            </a:custGeom>
            <a:solidFill>
              <a:schemeClr val="bg1">
                <a:lumMod val="75000"/>
                <a:alpha val="40000"/>
              </a:schemeClr>
            </a:solidFill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l" defTabSz="9143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endParaRPr>
            </a:p>
          </p:txBody>
        </p:sp>
        <p:sp>
          <p:nvSpPr>
            <p:cNvPr id="99" name="Freeform 5468"/>
            <p:cNvSpPr>
              <a:spLocks/>
            </p:cNvSpPr>
            <p:nvPr/>
          </p:nvSpPr>
          <p:spPr bwMode="auto">
            <a:xfrm>
              <a:off x="1785653" y="2350509"/>
              <a:ext cx="553416" cy="568699"/>
            </a:xfrm>
            <a:custGeom>
              <a:avLst/>
              <a:gdLst>
                <a:gd name="T0" fmla="*/ 13 w 250"/>
                <a:gd name="T1" fmla="*/ 61 h 312"/>
                <a:gd name="T2" fmla="*/ 29 w 250"/>
                <a:gd name="T3" fmla="*/ 85 h 312"/>
                <a:gd name="T4" fmla="*/ 24 w 250"/>
                <a:gd name="T5" fmla="*/ 109 h 312"/>
                <a:gd name="T6" fmla="*/ 32 w 250"/>
                <a:gd name="T7" fmla="*/ 135 h 312"/>
                <a:gd name="T8" fmla="*/ 47 w 250"/>
                <a:gd name="T9" fmla="*/ 172 h 312"/>
                <a:gd name="T10" fmla="*/ 47 w 250"/>
                <a:gd name="T11" fmla="*/ 194 h 312"/>
                <a:gd name="T12" fmla="*/ 44 w 250"/>
                <a:gd name="T13" fmla="*/ 213 h 312"/>
                <a:gd name="T14" fmla="*/ 59 w 250"/>
                <a:gd name="T15" fmla="*/ 225 h 312"/>
                <a:gd name="T16" fmla="*/ 63 w 250"/>
                <a:gd name="T17" fmla="*/ 239 h 312"/>
                <a:gd name="T18" fmla="*/ 81 w 250"/>
                <a:gd name="T19" fmla="*/ 254 h 312"/>
                <a:gd name="T20" fmla="*/ 90 w 250"/>
                <a:gd name="T21" fmla="*/ 270 h 312"/>
                <a:gd name="T22" fmla="*/ 102 w 250"/>
                <a:gd name="T23" fmla="*/ 287 h 312"/>
                <a:gd name="T24" fmla="*/ 111 w 250"/>
                <a:gd name="T25" fmla="*/ 305 h 312"/>
                <a:gd name="T26" fmla="*/ 128 w 250"/>
                <a:gd name="T27" fmla="*/ 306 h 312"/>
                <a:gd name="T28" fmla="*/ 145 w 250"/>
                <a:gd name="T29" fmla="*/ 311 h 312"/>
                <a:gd name="T30" fmla="*/ 153 w 250"/>
                <a:gd name="T31" fmla="*/ 302 h 312"/>
                <a:gd name="T32" fmla="*/ 164 w 250"/>
                <a:gd name="T33" fmla="*/ 283 h 312"/>
                <a:gd name="T34" fmla="*/ 172 w 250"/>
                <a:gd name="T35" fmla="*/ 272 h 312"/>
                <a:gd name="T36" fmla="*/ 182 w 250"/>
                <a:gd name="T37" fmla="*/ 259 h 312"/>
                <a:gd name="T38" fmla="*/ 184 w 250"/>
                <a:gd name="T39" fmla="*/ 244 h 312"/>
                <a:gd name="T40" fmla="*/ 198 w 250"/>
                <a:gd name="T41" fmla="*/ 245 h 312"/>
                <a:gd name="T42" fmla="*/ 205 w 250"/>
                <a:gd name="T43" fmla="*/ 230 h 312"/>
                <a:gd name="T44" fmla="*/ 212 w 250"/>
                <a:gd name="T45" fmla="*/ 213 h 312"/>
                <a:gd name="T46" fmla="*/ 214 w 250"/>
                <a:gd name="T47" fmla="*/ 205 h 312"/>
                <a:gd name="T48" fmla="*/ 210 w 250"/>
                <a:gd name="T49" fmla="*/ 190 h 312"/>
                <a:gd name="T50" fmla="*/ 220 w 250"/>
                <a:gd name="T51" fmla="*/ 179 h 312"/>
                <a:gd name="T52" fmla="*/ 234 w 250"/>
                <a:gd name="T53" fmla="*/ 174 h 312"/>
                <a:gd name="T54" fmla="*/ 234 w 250"/>
                <a:gd name="T55" fmla="*/ 162 h 312"/>
                <a:gd name="T56" fmla="*/ 229 w 250"/>
                <a:gd name="T57" fmla="*/ 137 h 312"/>
                <a:gd name="T58" fmla="*/ 243 w 250"/>
                <a:gd name="T59" fmla="*/ 140 h 312"/>
                <a:gd name="T60" fmla="*/ 237 w 250"/>
                <a:gd name="T61" fmla="*/ 124 h 312"/>
                <a:gd name="T62" fmla="*/ 246 w 250"/>
                <a:gd name="T63" fmla="*/ 116 h 312"/>
                <a:gd name="T64" fmla="*/ 246 w 250"/>
                <a:gd name="T65" fmla="*/ 107 h 312"/>
                <a:gd name="T66" fmla="*/ 237 w 250"/>
                <a:gd name="T67" fmla="*/ 107 h 312"/>
                <a:gd name="T68" fmla="*/ 226 w 250"/>
                <a:gd name="T69" fmla="*/ 102 h 312"/>
                <a:gd name="T70" fmla="*/ 220 w 250"/>
                <a:gd name="T71" fmla="*/ 92 h 312"/>
                <a:gd name="T72" fmla="*/ 201 w 250"/>
                <a:gd name="T73" fmla="*/ 80 h 312"/>
                <a:gd name="T74" fmla="*/ 190 w 250"/>
                <a:gd name="T75" fmla="*/ 75 h 312"/>
                <a:gd name="T76" fmla="*/ 190 w 250"/>
                <a:gd name="T77" fmla="*/ 61 h 312"/>
                <a:gd name="T78" fmla="*/ 177 w 250"/>
                <a:gd name="T79" fmla="*/ 56 h 312"/>
                <a:gd name="T80" fmla="*/ 155 w 250"/>
                <a:gd name="T81" fmla="*/ 53 h 312"/>
                <a:gd name="T82" fmla="*/ 148 w 250"/>
                <a:gd name="T83" fmla="*/ 56 h 312"/>
                <a:gd name="T84" fmla="*/ 136 w 250"/>
                <a:gd name="T85" fmla="*/ 54 h 312"/>
                <a:gd name="T86" fmla="*/ 104 w 250"/>
                <a:gd name="T87" fmla="*/ 44 h 312"/>
                <a:gd name="T88" fmla="*/ 92 w 250"/>
                <a:gd name="T89" fmla="*/ 34 h 312"/>
                <a:gd name="T90" fmla="*/ 71 w 250"/>
                <a:gd name="T91" fmla="*/ 20 h 312"/>
                <a:gd name="T92" fmla="*/ 47 w 250"/>
                <a:gd name="T93" fmla="*/ 17 h 312"/>
                <a:gd name="T94" fmla="*/ 25 w 250"/>
                <a:gd name="T95" fmla="*/ 10 h 312"/>
                <a:gd name="T96" fmla="*/ 18 w 250"/>
                <a:gd name="T97" fmla="*/ 3 h 312"/>
                <a:gd name="T98" fmla="*/ 3 w 250"/>
                <a:gd name="T99" fmla="*/ 8 h 312"/>
                <a:gd name="T100" fmla="*/ 9 w 250"/>
                <a:gd name="T101" fmla="*/ 33 h 312"/>
                <a:gd name="T102" fmla="*/ 23 w 250"/>
                <a:gd name="T103" fmla="*/ 50 h 31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50"/>
                <a:gd name="T157" fmla="*/ 0 h 312"/>
                <a:gd name="T158" fmla="*/ 250 w 250"/>
                <a:gd name="T159" fmla="*/ 312 h 31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50" h="312">
                  <a:moveTo>
                    <a:pt x="16" y="54"/>
                  </a:moveTo>
                  <a:lnTo>
                    <a:pt x="13" y="61"/>
                  </a:lnTo>
                  <a:lnTo>
                    <a:pt x="22" y="68"/>
                  </a:lnTo>
                  <a:lnTo>
                    <a:pt x="29" y="85"/>
                  </a:lnTo>
                  <a:lnTo>
                    <a:pt x="27" y="99"/>
                  </a:lnTo>
                  <a:lnTo>
                    <a:pt x="24" y="109"/>
                  </a:lnTo>
                  <a:lnTo>
                    <a:pt x="22" y="114"/>
                  </a:lnTo>
                  <a:lnTo>
                    <a:pt x="32" y="135"/>
                  </a:lnTo>
                  <a:lnTo>
                    <a:pt x="41" y="155"/>
                  </a:lnTo>
                  <a:lnTo>
                    <a:pt x="47" y="172"/>
                  </a:lnTo>
                  <a:lnTo>
                    <a:pt x="51" y="182"/>
                  </a:lnTo>
                  <a:lnTo>
                    <a:pt x="47" y="194"/>
                  </a:lnTo>
                  <a:lnTo>
                    <a:pt x="42" y="205"/>
                  </a:lnTo>
                  <a:lnTo>
                    <a:pt x="44" y="213"/>
                  </a:lnTo>
                  <a:lnTo>
                    <a:pt x="53" y="218"/>
                  </a:lnTo>
                  <a:lnTo>
                    <a:pt x="59" y="225"/>
                  </a:lnTo>
                  <a:lnTo>
                    <a:pt x="63" y="230"/>
                  </a:lnTo>
                  <a:lnTo>
                    <a:pt x="63" y="239"/>
                  </a:lnTo>
                  <a:lnTo>
                    <a:pt x="73" y="245"/>
                  </a:lnTo>
                  <a:lnTo>
                    <a:pt x="81" y="254"/>
                  </a:lnTo>
                  <a:lnTo>
                    <a:pt x="87" y="261"/>
                  </a:lnTo>
                  <a:lnTo>
                    <a:pt x="90" y="270"/>
                  </a:lnTo>
                  <a:lnTo>
                    <a:pt x="95" y="275"/>
                  </a:lnTo>
                  <a:lnTo>
                    <a:pt x="102" y="287"/>
                  </a:lnTo>
                  <a:lnTo>
                    <a:pt x="107" y="297"/>
                  </a:lnTo>
                  <a:lnTo>
                    <a:pt x="111" y="305"/>
                  </a:lnTo>
                  <a:lnTo>
                    <a:pt x="117" y="305"/>
                  </a:lnTo>
                  <a:lnTo>
                    <a:pt x="128" y="306"/>
                  </a:lnTo>
                  <a:lnTo>
                    <a:pt x="136" y="308"/>
                  </a:lnTo>
                  <a:lnTo>
                    <a:pt x="145" y="311"/>
                  </a:lnTo>
                  <a:lnTo>
                    <a:pt x="146" y="308"/>
                  </a:lnTo>
                  <a:lnTo>
                    <a:pt x="153" y="302"/>
                  </a:lnTo>
                  <a:lnTo>
                    <a:pt x="161" y="291"/>
                  </a:lnTo>
                  <a:lnTo>
                    <a:pt x="164" y="283"/>
                  </a:lnTo>
                  <a:lnTo>
                    <a:pt x="165" y="272"/>
                  </a:lnTo>
                  <a:lnTo>
                    <a:pt x="172" y="272"/>
                  </a:lnTo>
                  <a:lnTo>
                    <a:pt x="175" y="267"/>
                  </a:lnTo>
                  <a:lnTo>
                    <a:pt x="182" y="259"/>
                  </a:lnTo>
                  <a:lnTo>
                    <a:pt x="179" y="249"/>
                  </a:lnTo>
                  <a:lnTo>
                    <a:pt x="184" y="244"/>
                  </a:lnTo>
                  <a:lnTo>
                    <a:pt x="192" y="249"/>
                  </a:lnTo>
                  <a:lnTo>
                    <a:pt x="198" y="245"/>
                  </a:lnTo>
                  <a:lnTo>
                    <a:pt x="196" y="241"/>
                  </a:lnTo>
                  <a:lnTo>
                    <a:pt x="205" y="230"/>
                  </a:lnTo>
                  <a:lnTo>
                    <a:pt x="205" y="220"/>
                  </a:lnTo>
                  <a:lnTo>
                    <a:pt x="212" y="213"/>
                  </a:lnTo>
                  <a:lnTo>
                    <a:pt x="210" y="208"/>
                  </a:lnTo>
                  <a:lnTo>
                    <a:pt x="214" y="205"/>
                  </a:lnTo>
                  <a:lnTo>
                    <a:pt x="212" y="196"/>
                  </a:lnTo>
                  <a:lnTo>
                    <a:pt x="210" y="190"/>
                  </a:lnTo>
                  <a:lnTo>
                    <a:pt x="214" y="184"/>
                  </a:lnTo>
                  <a:lnTo>
                    <a:pt x="220" y="179"/>
                  </a:lnTo>
                  <a:lnTo>
                    <a:pt x="229" y="177"/>
                  </a:lnTo>
                  <a:lnTo>
                    <a:pt x="234" y="174"/>
                  </a:lnTo>
                  <a:lnTo>
                    <a:pt x="237" y="171"/>
                  </a:lnTo>
                  <a:lnTo>
                    <a:pt x="234" y="162"/>
                  </a:lnTo>
                  <a:lnTo>
                    <a:pt x="224" y="145"/>
                  </a:lnTo>
                  <a:lnTo>
                    <a:pt x="229" y="137"/>
                  </a:lnTo>
                  <a:lnTo>
                    <a:pt x="237" y="138"/>
                  </a:lnTo>
                  <a:lnTo>
                    <a:pt x="243" y="140"/>
                  </a:lnTo>
                  <a:lnTo>
                    <a:pt x="239" y="130"/>
                  </a:lnTo>
                  <a:lnTo>
                    <a:pt x="237" y="124"/>
                  </a:lnTo>
                  <a:lnTo>
                    <a:pt x="241" y="119"/>
                  </a:lnTo>
                  <a:lnTo>
                    <a:pt x="246" y="116"/>
                  </a:lnTo>
                  <a:lnTo>
                    <a:pt x="249" y="112"/>
                  </a:lnTo>
                  <a:lnTo>
                    <a:pt x="246" y="107"/>
                  </a:lnTo>
                  <a:lnTo>
                    <a:pt x="241" y="104"/>
                  </a:lnTo>
                  <a:lnTo>
                    <a:pt x="237" y="107"/>
                  </a:lnTo>
                  <a:lnTo>
                    <a:pt x="232" y="109"/>
                  </a:lnTo>
                  <a:lnTo>
                    <a:pt x="226" y="102"/>
                  </a:lnTo>
                  <a:lnTo>
                    <a:pt x="224" y="97"/>
                  </a:lnTo>
                  <a:lnTo>
                    <a:pt x="220" y="92"/>
                  </a:lnTo>
                  <a:lnTo>
                    <a:pt x="209" y="82"/>
                  </a:lnTo>
                  <a:lnTo>
                    <a:pt x="201" y="80"/>
                  </a:lnTo>
                  <a:lnTo>
                    <a:pt x="193" y="78"/>
                  </a:lnTo>
                  <a:lnTo>
                    <a:pt x="190" y="75"/>
                  </a:lnTo>
                  <a:lnTo>
                    <a:pt x="190" y="67"/>
                  </a:lnTo>
                  <a:lnTo>
                    <a:pt x="190" y="61"/>
                  </a:lnTo>
                  <a:lnTo>
                    <a:pt x="182" y="54"/>
                  </a:lnTo>
                  <a:lnTo>
                    <a:pt x="177" y="56"/>
                  </a:lnTo>
                  <a:lnTo>
                    <a:pt x="162" y="56"/>
                  </a:lnTo>
                  <a:lnTo>
                    <a:pt x="155" y="53"/>
                  </a:lnTo>
                  <a:lnTo>
                    <a:pt x="151" y="54"/>
                  </a:lnTo>
                  <a:lnTo>
                    <a:pt x="148" y="56"/>
                  </a:lnTo>
                  <a:lnTo>
                    <a:pt x="141" y="54"/>
                  </a:lnTo>
                  <a:lnTo>
                    <a:pt x="136" y="54"/>
                  </a:lnTo>
                  <a:lnTo>
                    <a:pt x="124" y="46"/>
                  </a:lnTo>
                  <a:lnTo>
                    <a:pt x="104" y="44"/>
                  </a:lnTo>
                  <a:lnTo>
                    <a:pt x="98" y="42"/>
                  </a:lnTo>
                  <a:lnTo>
                    <a:pt x="92" y="34"/>
                  </a:lnTo>
                  <a:lnTo>
                    <a:pt x="83" y="27"/>
                  </a:lnTo>
                  <a:lnTo>
                    <a:pt x="71" y="20"/>
                  </a:lnTo>
                  <a:lnTo>
                    <a:pt x="61" y="19"/>
                  </a:lnTo>
                  <a:lnTo>
                    <a:pt x="47" y="17"/>
                  </a:lnTo>
                  <a:lnTo>
                    <a:pt x="32" y="12"/>
                  </a:lnTo>
                  <a:lnTo>
                    <a:pt x="25" y="10"/>
                  </a:lnTo>
                  <a:lnTo>
                    <a:pt x="22" y="8"/>
                  </a:lnTo>
                  <a:lnTo>
                    <a:pt x="18" y="3"/>
                  </a:lnTo>
                  <a:lnTo>
                    <a:pt x="13" y="0"/>
                  </a:lnTo>
                  <a:lnTo>
                    <a:pt x="3" y="8"/>
                  </a:lnTo>
                  <a:lnTo>
                    <a:pt x="0" y="22"/>
                  </a:lnTo>
                  <a:lnTo>
                    <a:pt x="9" y="33"/>
                  </a:lnTo>
                  <a:lnTo>
                    <a:pt x="18" y="39"/>
                  </a:lnTo>
                  <a:lnTo>
                    <a:pt x="23" y="50"/>
                  </a:lnTo>
                  <a:lnTo>
                    <a:pt x="16" y="54"/>
                  </a:lnTo>
                </a:path>
              </a:pathLst>
            </a:custGeom>
            <a:solidFill>
              <a:srgbClr val="AFDFDF">
                <a:alpha val="69804"/>
              </a:srgb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27844" tIns="63920" rIns="127844" bIns="63920" anchor="ctr"/>
            <a:lstStyle/>
            <a:p>
              <a:pPr marL="0" marR="0" lvl="0" indent="0" algn="ctr" defTabSz="95882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endParaRPr>
            </a:p>
          </p:txBody>
        </p:sp>
      </p:grpSp>
      <p:sp>
        <p:nvSpPr>
          <p:cNvPr id="100" name="Ovale 99"/>
          <p:cNvSpPr/>
          <p:nvPr/>
        </p:nvSpPr>
        <p:spPr>
          <a:xfrm>
            <a:off x="538026" y="1543967"/>
            <a:ext cx="252000" cy="2520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,3</a:t>
            </a:r>
            <a:endParaRPr kumimoji="0" lang="it-IT" sz="105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1" name="Ovale 100"/>
          <p:cNvSpPr/>
          <p:nvPr/>
        </p:nvSpPr>
        <p:spPr>
          <a:xfrm>
            <a:off x="1259757" y="1690528"/>
            <a:ext cx="252000" cy="252000"/>
          </a:xfrm>
          <a:prstGeom prst="ellipse">
            <a:avLst/>
          </a:prstGeom>
          <a:solidFill>
            <a:srgbClr val="439D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66</a:t>
            </a:r>
            <a:endParaRPr kumimoji="0" lang="it-IT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2" name="Ovale 101"/>
          <p:cNvSpPr/>
          <p:nvPr/>
        </p:nvSpPr>
        <p:spPr>
          <a:xfrm>
            <a:off x="1018733" y="2341627"/>
            <a:ext cx="252000" cy="252000"/>
          </a:xfrm>
          <a:prstGeom prst="ellipse">
            <a:avLst/>
          </a:prstGeom>
          <a:solidFill>
            <a:srgbClr val="439D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8</a:t>
            </a:r>
            <a:endParaRPr kumimoji="0" lang="it-IT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3" name="Ovale 102"/>
          <p:cNvSpPr/>
          <p:nvPr/>
        </p:nvSpPr>
        <p:spPr>
          <a:xfrm>
            <a:off x="2355214" y="1586500"/>
            <a:ext cx="252000" cy="252000"/>
          </a:xfrm>
          <a:prstGeom prst="ellipse">
            <a:avLst/>
          </a:prstGeom>
          <a:solidFill>
            <a:srgbClr val="439D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3</a:t>
            </a:r>
            <a:endParaRPr kumimoji="0" lang="it-IT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4" name="Ovale 103"/>
          <p:cNvSpPr/>
          <p:nvPr/>
        </p:nvSpPr>
        <p:spPr>
          <a:xfrm>
            <a:off x="1890433" y="1846777"/>
            <a:ext cx="252000" cy="252000"/>
          </a:xfrm>
          <a:prstGeom prst="ellipse">
            <a:avLst/>
          </a:prstGeom>
          <a:solidFill>
            <a:srgbClr val="439D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16</a:t>
            </a:r>
            <a:endParaRPr kumimoji="0" lang="it-IT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5" name="Ovale 104"/>
          <p:cNvSpPr/>
          <p:nvPr/>
        </p:nvSpPr>
        <p:spPr>
          <a:xfrm>
            <a:off x="1774163" y="1380797"/>
            <a:ext cx="252000" cy="252000"/>
          </a:xfrm>
          <a:prstGeom prst="ellipse">
            <a:avLst/>
          </a:prstGeom>
          <a:solidFill>
            <a:srgbClr val="439D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4</a:t>
            </a:r>
            <a:endParaRPr kumimoji="0" lang="it-IT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6" name="Ovale 105"/>
          <p:cNvSpPr/>
          <p:nvPr/>
        </p:nvSpPr>
        <p:spPr>
          <a:xfrm>
            <a:off x="1672467" y="2303238"/>
            <a:ext cx="252000" cy="252000"/>
          </a:xfrm>
          <a:prstGeom prst="ellipse">
            <a:avLst/>
          </a:prstGeom>
          <a:solidFill>
            <a:srgbClr val="439D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92</a:t>
            </a:r>
            <a:endParaRPr kumimoji="0" lang="it-IT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7" name="Ovale 106"/>
          <p:cNvSpPr/>
          <p:nvPr/>
        </p:nvSpPr>
        <p:spPr>
          <a:xfrm>
            <a:off x="1630241" y="2801915"/>
            <a:ext cx="252000" cy="252000"/>
          </a:xfrm>
          <a:prstGeom prst="ellipse">
            <a:avLst/>
          </a:prstGeom>
          <a:solidFill>
            <a:srgbClr val="439D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01</a:t>
            </a:r>
            <a:endParaRPr kumimoji="0" lang="it-IT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9" name="Ovale 108"/>
          <p:cNvSpPr/>
          <p:nvPr/>
        </p:nvSpPr>
        <p:spPr>
          <a:xfrm>
            <a:off x="2061111" y="3068060"/>
            <a:ext cx="252000" cy="252000"/>
          </a:xfrm>
          <a:prstGeom prst="ellipse">
            <a:avLst/>
          </a:prstGeom>
          <a:solidFill>
            <a:srgbClr val="439D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1</a:t>
            </a:r>
            <a:endParaRPr kumimoji="0" lang="it-IT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0" name="Ovale 109"/>
          <p:cNvSpPr/>
          <p:nvPr/>
        </p:nvSpPr>
        <p:spPr>
          <a:xfrm>
            <a:off x="2326302" y="2832240"/>
            <a:ext cx="252000" cy="252000"/>
          </a:xfrm>
          <a:prstGeom prst="ellipse">
            <a:avLst/>
          </a:prstGeom>
          <a:solidFill>
            <a:srgbClr val="439D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0</a:t>
            </a:r>
            <a:endParaRPr kumimoji="0" lang="it-IT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1" name="Ovale 110"/>
          <p:cNvSpPr/>
          <p:nvPr/>
        </p:nvSpPr>
        <p:spPr>
          <a:xfrm>
            <a:off x="2094956" y="3550513"/>
            <a:ext cx="252000" cy="252000"/>
          </a:xfrm>
          <a:prstGeom prst="ellipse">
            <a:avLst/>
          </a:prstGeom>
          <a:solidFill>
            <a:srgbClr val="439D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79</a:t>
            </a:r>
            <a:endParaRPr kumimoji="0" lang="it-IT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2" name="Ovale 111"/>
          <p:cNvSpPr/>
          <p:nvPr/>
        </p:nvSpPr>
        <p:spPr>
          <a:xfrm>
            <a:off x="2448530" y="3366681"/>
            <a:ext cx="252000" cy="2520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8</a:t>
            </a:r>
            <a:endParaRPr kumimoji="0" lang="it-IT" sz="105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3" name="Ovale 112"/>
          <p:cNvSpPr/>
          <p:nvPr/>
        </p:nvSpPr>
        <p:spPr>
          <a:xfrm>
            <a:off x="2729493" y="3606209"/>
            <a:ext cx="252000" cy="2520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7</a:t>
            </a:r>
            <a:endParaRPr kumimoji="0" lang="it-IT" sz="105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4" name="Ovale 113"/>
          <p:cNvSpPr/>
          <p:nvPr/>
        </p:nvSpPr>
        <p:spPr>
          <a:xfrm>
            <a:off x="2725433" y="3979982"/>
            <a:ext cx="252000" cy="252000"/>
          </a:xfrm>
          <a:prstGeom prst="ellipse">
            <a:avLst/>
          </a:prstGeom>
          <a:solidFill>
            <a:srgbClr val="439D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12</a:t>
            </a:r>
            <a:endParaRPr kumimoji="0" lang="it-IT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5" name="Ovale 114"/>
          <p:cNvSpPr/>
          <p:nvPr/>
        </p:nvSpPr>
        <p:spPr>
          <a:xfrm>
            <a:off x="3486839" y="3937061"/>
            <a:ext cx="252000" cy="2520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9</a:t>
            </a:r>
            <a:endParaRPr kumimoji="0" lang="it-IT" sz="105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6" name="Ovale 115"/>
          <p:cNvSpPr/>
          <p:nvPr/>
        </p:nvSpPr>
        <p:spPr>
          <a:xfrm>
            <a:off x="3238951" y="4228301"/>
            <a:ext cx="252000" cy="2520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1</a:t>
            </a:r>
            <a:endParaRPr kumimoji="0" lang="it-IT" sz="105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7" name="Ovale 116"/>
          <p:cNvSpPr/>
          <p:nvPr/>
        </p:nvSpPr>
        <p:spPr>
          <a:xfrm>
            <a:off x="3343334" y="4773660"/>
            <a:ext cx="252000" cy="2520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0</a:t>
            </a:r>
            <a:endParaRPr kumimoji="0" lang="it-IT" sz="105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8" name="Ovale 117"/>
          <p:cNvSpPr/>
          <p:nvPr/>
        </p:nvSpPr>
        <p:spPr>
          <a:xfrm>
            <a:off x="812494" y="4261347"/>
            <a:ext cx="252000" cy="2520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</a:t>
            </a:r>
            <a:endParaRPr kumimoji="0" lang="it-IT" sz="105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9" name="Ovale 118"/>
          <p:cNvSpPr/>
          <p:nvPr/>
        </p:nvSpPr>
        <p:spPr>
          <a:xfrm>
            <a:off x="2544249" y="5560726"/>
            <a:ext cx="252000" cy="252000"/>
          </a:xfrm>
          <a:prstGeom prst="ellipse">
            <a:avLst/>
          </a:prstGeom>
          <a:solidFill>
            <a:srgbClr val="439D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79</a:t>
            </a:r>
            <a:endParaRPr kumimoji="0" lang="it-IT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0" name="Ovale 119"/>
          <p:cNvSpPr/>
          <p:nvPr/>
        </p:nvSpPr>
        <p:spPr>
          <a:xfrm>
            <a:off x="8180521" y="1581714"/>
            <a:ext cx="252000" cy="252000"/>
          </a:xfrm>
          <a:prstGeom prst="ellipse">
            <a:avLst/>
          </a:prstGeom>
          <a:solidFill>
            <a:srgbClr val="C7E9E9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,8</a:t>
            </a:r>
          </a:p>
        </p:txBody>
      </p:sp>
      <p:sp>
        <p:nvSpPr>
          <p:cNvPr id="121" name="Ovale 120"/>
          <p:cNvSpPr/>
          <p:nvPr/>
        </p:nvSpPr>
        <p:spPr>
          <a:xfrm>
            <a:off x="7721430" y="1588683"/>
            <a:ext cx="252000" cy="252000"/>
          </a:xfrm>
          <a:prstGeom prst="ellipse">
            <a:avLst/>
          </a:prstGeom>
          <a:solidFill>
            <a:srgbClr val="C7E9E9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,5</a:t>
            </a:r>
          </a:p>
        </p:txBody>
      </p:sp>
      <p:sp>
        <p:nvSpPr>
          <p:cNvPr id="122" name="Ovale 121"/>
          <p:cNvSpPr/>
          <p:nvPr/>
        </p:nvSpPr>
        <p:spPr>
          <a:xfrm>
            <a:off x="7201297" y="1601036"/>
            <a:ext cx="252000" cy="252000"/>
          </a:xfrm>
          <a:prstGeom prst="ellipse">
            <a:avLst/>
          </a:prstGeom>
          <a:solidFill>
            <a:srgbClr val="C7E9E9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,1</a:t>
            </a:r>
          </a:p>
        </p:txBody>
      </p:sp>
      <p:sp>
        <p:nvSpPr>
          <p:cNvPr id="123" name="Ovale 122"/>
          <p:cNvSpPr/>
          <p:nvPr/>
        </p:nvSpPr>
        <p:spPr>
          <a:xfrm>
            <a:off x="6881954" y="1695139"/>
            <a:ext cx="252000" cy="252000"/>
          </a:xfrm>
          <a:prstGeom prst="ellipse">
            <a:avLst/>
          </a:prstGeom>
          <a:solidFill>
            <a:srgbClr val="C7E9E9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,3</a:t>
            </a:r>
          </a:p>
        </p:txBody>
      </p:sp>
      <p:sp>
        <p:nvSpPr>
          <p:cNvPr id="124" name="Ovale 123"/>
          <p:cNvSpPr/>
          <p:nvPr/>
        </p:nvSpPr>
        <p:spPr>
          <a:xfrm>
            <a:off x="6559920" y="1949967"/>
            <a:ext cx="252000" cy="252000"/>
          </a:xfrm>
          <a:prstGeom prst="ellipse">
            <a:avLst/>
          </a:prstGeom>
          <a:solidFill>
            <a:srgbClr val="C7E9E9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,9</a:t>
            </a:r>
          </a:p>
        </p:txBody>
      </p:sp>
      <p:sp>
        <p:nvSpPr>
          <p:cNvPr id="125" name="Ovale 124"/>
          <p:cNvSpPr/>
          <p:nvPr/>
        </p:nvSpPr>
        <p:spPr>
          <a:xfrm>
            <a:off x="7159221" y="2004871"/>
            <a:ext cx="252000" cy="252000"/>
          </a:xfrm>
          <a:prstGeom prst="ellipse">
            <a:avLst/>
          </a:prstGeom>
          <a:solidFill>
            <a:srgbClr val="C7E9E9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,6</a:t>
            </a:r>
          </a:p>
        </p:txBody>
      </p:sp>
      <p:sp>
        <p:nvSpPr>
          <p:cNvPr id="126" name="Ovale 125"/>
          <p:cNvSpPr/>
          <p:nvPr/>
        </p:nvSpPr>
        <p:spPr>
          <a:xfrm>
            <a:off x="6820374" y="2383855"/>
            <a:ext cx="252000" cy="252000"/>
          </a:xfrm>
          <a:prstGeom prst="ellipse">
            <a:avLst/>
          </a:prstGeom>
          <a:solidFill>
            <a:srgbClr val="C7E9E9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,4</a:t>
            </a:r>
          </a:p>
        </p:txBody>
      </p:sp>
      <p:sp>
        <p:nvSpPr>
          <p:cNvPr id="127" name="Ovale 126"/>
          <p:cNvSpPr/>
          <p:nvPr/>
        </p:nvSpPr>
        <p:spPr>
          <a:xfrm>
            <a:off x="7451347" y="2263376"/>
            <a:ext cx="252000" cy="252000"/>
          </a:xfrm>
          <a:prstGeom prst="ellipse">
            <a:avLst/>
          </a:prstGeom>
          <a:solidFill>
            <a:srgbClr val="C7E9E9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,3</a:t>
            </a:r>
          </a:p>
        </p:txBody>
      </p:sp>
      <p:sp>
        <p:nvSpPr>
          <p:cNvPr id="128" name="Ovale 127"/>
          <p:cNvSpPr/>
          <p:nvPr/>
        </p:nvSpPr>
        <p:spPr>
          <a:xfrm>
            <a:off x="7578773" y="2796948"/>
            <a:ext cx="252000" cy="252000"/>
          </a:xfrm>
          <a:prstGeom prst="ellipse">
            <a:avLst/>
          </a:prstGeom>
          <a:solidFill>
            <a:srgbClr val="C7E9E9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,7</a:t>
            </a:r>
          </a:p>
        </p:txBody>
      </p:sp>
      <p:sp>
        <p:nvSpPr>
          <p:cNvPr id="129" name="Ovale 128"/>
          <p:cNvSpPr/>
          <p:nvPr/>
        </p:nvSpPr>
        <p:spPr>
          <a:xfrm>
            <a:off x="8019580" y="2655277"/>
            <a:ext cx="252000" cy="252000"/>
          </a:xfrm>
          <a:prstGeom prst="ellipse">
            <a:avLst/>
          </a:prstGeom>
          <a:solidFill>
            <a:srgbClr val="C7E9E9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,1</a:t>
            </a:r>
          </a:p>
        </p:txBody>
      </p:sp>
      <p:sp>
        <p:nvSpPr>
          <p:cNvPr id="130" name="Ovale 129"/>
          <p:cNvSpPr/>
          <p:nvPr/>
        </p:nvSpPr>
        <p:spPr>
          <a:xfrm>
            <a:off x="8181710" y="3807558"/>
            <a:ext cx="252000" cy="252000"/>
          </a:xfrm>
          <a:prstGeom prst="ellipse">
            <a:avLst/>
          </a:prstGeom>
          <a:solidFill>
            <a:srgbClr val="C7E9E9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,1</a:t>
            </a:r>
          </a:p>
        </p:txBody>
      </p:sp>
      <p:sp>
        <p:nvSpPr>
          <p:cNvPr id="131" name="Ovale 130"/>
          <p:cNvSpPr/>
          <p:nvPr/>
        </p:nvSpPr>
        <p:spPr>
          <a:xfrm>
            <a:off x="8355694" y="5522854"/>
            <a:ext cx="252000" cy="252000"/>
          </a:xfrm>
          <a:prstGeom prst="ellipse">
            <a:avLst/>
          </a:prstGeom>
          <a:solidFill>
            <a:srgbClr val="C7E9E9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</a:t>
            </a:r>
          </a:p>
        </p:txBody>
      </p:sp>
      <p:cxnSp>
        <p:nvCxnSpPr>
          <p:cNvPr id="132" name="Connettore diritto 131"/>
          <p:cNvCxnSpPr/>
          <p:nvPr/>
        </p:nvCxnSpPr>
        <p:spPr>
          <a:xfrm>
            <a:off x="542706" y="1043426"/>
            <a:ext cx="5466056" cy="0"/>
          </a:xfrm>
          <a:prstGeom prst="line">
            <a:avLst/>
          </a:prstGeom>
          <a:ln w="952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Elaborazione alternativa 132"/>
          <p:cNvSpPr/>
          <p:nvPr/>
        </p:nvSpPr>
        <p:spPr>
          <a:xfrm>
            <a:off x="7388491" y="739312"/>
            <a:ext cx="3134259" cy="258422"/>
          </a:xfrm>
          <a:prstGeom prst="flowChartAlternateProcess">
            <a:avLst/>
          </a:prstGeom>
          <a:noFill/>
          <a:ln w="1270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rédit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Agricole Italia</a:t>
            </a:r>
          </a:p>
        </p:txBody>
      </p:sp>
      <p:cxnSp>
        <p:nvCxnSpPr>
          <p:cNvPr id="134" name="Connettore diritto 133"/>
          <p:cNvCxnSpPr/>
          <p:nvPr/>
        </p:nvCxnSpPr>
        <p:spPr>
          <a:xfrm>
            <a:off x="6230203" y="1043426"/>
            <a:ext cx="5466056" cy="0"/>
          </a:xfrm>
          <a:prstGeom prst="line">
            <a:avLst/>
          </a:prstGeom>
          <a:ln w="952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ttangolo 134"/>
          <p:cNvSpPr/>
          <p:nvPr/>
        </p:nvSpPr>
        <p:spPr>
          <a:xfrm>
            <a:off x="4370428" y="1158796"/>
            <a:ext cx="1638334" cy="4900962"/>
          </a:xfrm>
          <a:prstGeom prst="rect">
            <a:avLst/>
          </a:prstGeom>
          <a:solidFill>
            <a:srgbClr val="D0CECE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180975" algn="l"/>
              </a:tabLst>
              <a:defRPr/>
            </a:pPr>
            <a:endParaRPr kumimoji="0" lang="it-IT" sz="11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v"/>
              <a:tabLst>
                <a:tab pos="180975" algn="l"/>
              </a:tabLst>
              <a:defRPr/>
            </a:pP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v"/>
              <a:tabLst>
                <a:tab pos="180975" algn="l"/>
              </a:tabLst>
              <a:defRPr/>
            </a:pPr>
            <a:endParaRPr kumimoji="0" lang="it-IT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6" name="Rettangolo 135"/>
          <p:cNvSpPr/>
          <p:nvPr/>
        </p:nvSpPr>
        <p:spPr>
          <a:xfrm>
            <a:off x="10092825" y="1217914"/>
            <a:ext cx="1638334" cy="4900962"/>
          </a:xfrm>
          <a:prstGeom prst="rect">
            <a:avLst/>
          </a:prstGeom>
          <a:solidFill>
            <a:srgbClr val="9DCBCA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180975" algn="l"/>
              </a:tabLst>
              <a:defRPr/>
            </a:pPr>
            <a:endParaRPr kumimoji="0" lang="it-IT" sz="11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v"/>
              <a:tabLst>
                <a:tab pos="180975" algn="l"/>
              </a:tabLst>
              <a:defRPr/>
            </a:pP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v"/>
              <a:tabLst>
                <a:tab pos="180975" algn="l"/>
              </a:tabLst>
              <a:defRPr/>
            </a:pPr>
            <a:endParaRPr kumimoji="0" lang="it-IT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7" name="Ovale 136"/>
          <p:cNvSpPr/>
          <p:nvPr/>
        </p:nvSpPr>
        <p:spPr>
          <a:xfrm>
            <a:off x="10126254" y="5314463"/>
            <a:ext cx="816713" cy="612000"/>
          </a:xfrm>
          <a:prstGeom prst="ellipse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b="1" dirty="0">
                <a:solidFill>
                  <a:srgbClr val="3397A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,9</a:t>
            </a:r>
            <a:r>
              <a:rPr kumimoji="0" lang="it-IT" b="1" i="0" u="none" strike="noStrike" kern="1200" cap="none" spc="0" normalizeH="0" baseline="0" noProof="0" dirty="0">
                <a:ln>
                  <a:noFill/>
                </a:ln>
                <a:solidFill>
                  <a:srgbClr val="3397A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%</a:t>
            </a:r>
          </a:p>
        </p:txBody>
      </p:sp>
      <p:sp>
        <p:nvSpPr>
          <p:cNvPr id="138" name="Elaborazione alternativa 137"/>
          <p:cNvSpPr/>
          <p:nvPr/>
        </p:nvSpPr>
        <p:spPr>
          <a:xfrm>
            <a:off x="10215038" y="5177076"/>
            <a:ext cx="1404709" cy="246233"/>
          </a:xfrm>
          <a:prstGeom prst="flowChartAlternateProcess">
            <a:avLst/>
          </a:prstGeom>
        </p:spPr>
        <p:txBody>
          <a:bodyPr wrap="square" lIns="0" tIns="0" rIns="0" b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arket Shares</a:t>
            </a:r>
          </a:p>
        </p:txBody>
      </p:sp>
      <p:sp>
        <p:nvSpPr>
          <p:cNvPr id="139" name="Rettangolo arrotondato 138"/>
          <p:cNvSpPr/>
          <p:nvPr/>
        </p:nvSpPr>
        <p:spPr>
          <a:xfrm>
            <a:off x="10637350" y="776756"/>
            <a:ext cx="1093809" cy="199974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it-IT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% of the </a:t>
            </a:r>
            <a:r>
              <a:rPr lang="it-IT" sz="8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</a:t>
            </a:r>
            <a:r>
              <a:rPr lang="it-IT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CAI</a:t>
            </a:r>
          </a:p>
        </p:txBody>
      </p:sp>
      <p:sp>
        <p:nvSpPr>
          <p:cNvPr id="140" name="Rettangolo 139"/>
          <p:cNvSpPr/>
          <p:nvPr/>
        </p:nvSpPr>
        <p:spPr>
          <a:xfrm>
            <a:off x="10117897" y="1909745"/>
            <a:ext cx="1575004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# LP </a:t>
            </a:r>
            <a:r>
              <a:rPr kumimoji="0" lang="it-IT" sz="11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ustomers</a:t>
            </a:r>
            <a:endParaRPr kumimoji="0" lang="it-IT" sz="1100" b="1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1" name="Elaborazione alternativa 140"/>
          <p:cNvSpPr/>
          <p:nvPr/>
        </p:nvSpPr>
        <p:spPr>
          <a:xfrm>
            <a:off x="10261813" y="1307748"/>
            <a:ext cx="1287172" cy="441802"/>
          </a:xfrm>
          <a:prstGeom prst="flowChartAlternateProcess">
            <a:avLst/>
          </a:prstGeom>
          <a:solidFill>
            <a:schemeClr val="bg1"/>
          </a:solidFill>
          <a:ln w="28575">
            <a:solidFill>
              <a:srgbClr val="439D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7.000</a:t>
            </a:r>
          </a:p>
        </p:txBody>
      </p:sp>
      <p:sp>
        <p:nvSpPr>
          <p:cNvPr id="142" name="Rettangolo arrotondato 141"/>
          <p:cNvSpPr/>
          <p:nvPr/>
        </p:nvSpPr>
        <p:spPr>
          <a:xfrm>
            <a:off x="10637350" y="1664718"/>
            <a:ext cx="536099" cy="208062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,94%</a:t>
            </a:r>
          </a:p>
        </p:txBody>
      </p:sp>
      <p:sp>
        <p:nvSpPr>
          <p:cNvPr id="143" name="Rettangolo 142"/>
          <p:cNvSpPr/>
          <p:nvPr/>
        </p:nvSpPr>
        <p:spPr>
          <a:xfrm>
            <a:off x="10117897" y="2832313"/>
            <a:ext cx="1575004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# </a:t>
            </a:r>
            <a:r>
              <a:rPr kumimoji="0" lang="it-IT" sz="11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oans</a:t>
            </a:r>
            <a:endParaRPr kumimoji="0" lang="it-IT" sz="1100" b="1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4" name="Elaborazione alternativa 143"/>
          <p:cNvSpPr/>
          <p:nvPr/>
        </p:nvSpPr>
        <p:spPr>
          <a:xfrm>
            <a:off x="10261813" y="2229319"/>
            <a:ext cx="1287172" cy="441802"/>
          </a:xfrm>
          <a:prstGeom prst="flowChartAlternateProcess">
            <a:avLst/>
          </a:prstGeom>
          <a:solidFill>
            <a:schemeClr val="bg1"/>
          </a:solidFill>
          <a:ln w="28575">
            <a:solidFill>
              <a:srgbClr val="439D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37 Mln</a:t>
            </a:r>
            <a:r>
              <a:rPr kumimoji="0" lang="it-IT" sz="1400" b="1" i="0" u="none" strike="noStrike" kern="1200" cap="none" spc="0" normalizeH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€</a:t>
            </a:r>
            <a:endParaRPr kumimoji="0" lang="it-IT" sz="1400" b="1" i="0" u="none" strike="noStrike" kern="1200" cap="none" spc="0" normalizeH="0" baseline="0" noProof="0" dirty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5" name="Rettangolo arrotondato 144"/>
          <p:cNvSpPr/>
          <p:nvPr/>
        </p:nvSpPr>
        <p:spPr>
          <a:xfrm>
            <a:off x="10637350" y="2587286"/>
            <a:ext cx="536099" cy="208062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,83%</a:t>
            </a:r>
          </a:p>
        </p:txBody>
      </p:sp>
      <p:sp>
        <p:nvSpPr>
          <p:cNvPr id="146" name="Rettangolo 145"/>
          <p:cNvSpPr/>
          <p:nvPr/>
        </p:nvSpPr>
        <p:spPr>
          <a:xfrm>
            <a:off x="10117897" y="3754881"/>
            <a:ext cx="1575004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# </a:t>
            </a:r>
            <a:r>
              <a:rPr kumimoji="0" lang="it-IT" sz="11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posits</a:t>
            </a:r>
            <a:endParaRPr kumimoji="0" lang="it-IT" sz="1100" b="1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7" name="Elaborazione alternativa 146"/>
          <p:cNvSpPr/>
          <p:nvPr/>
        </p:nvSpPr>
        <p:spPr>
          <a:xfrm>
            <a:off x="10261813" y="3151887"/>
            <a:ext cx="1287172" cy="441802"/>
          </a:xfrm>
          <a:prstGeom prst="flowChartAlternateProcess">
            <a:avLst/>
          </a:prstGeom>
          <a:solidFill>
            <a:schemeClr val="bg1"/>
          </a:solidFill>
          <a:ln w="28575">
            <a:solidFill>
              <a:srgbClr val="439D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,6 </a:t>
            </a:r>
            <a:r>
              <a:rPr kumimoji="0" lang="it-IT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ld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€</a:t>
            </a:r>
          </a:p>
        </p:txBody>
      </p:sp>
      <p:sp>
        <p:nvSpPr>
          <p:cNvPr id="148" name="Rettangolo arrotondato 147"/>
          <p:cNvSpPr/>
          <p:nvPr/>
        </p:nvSpPr>
        <p:spPr>
          <a:xfrm>
            <a:off x="10637350" y="3509854"/>
            <a:ext cx="536099" cy="208062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,93%</a:t>
            </a:r>
          </a:p>
        </p:txBody>
      </p:sp>
      <p:sp>
        <p:nvSpPr>
          <p:cNvPr id="149" name="Rettangolo 148"/>
          <p:cNvSpPr/>
          <p:nvPr/>
        </p:nvSpPr>
        <p:spPr>
          <a:xfrm>
            <a:off x="10117897" y="4677450"/>
            <a:ext cx="1575004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# NBI</a:t>
            </a:r>
          </a:p>
        </p:txBody>
      </p:sp>
      <p:sp>
        <p:nvSpPr>
          <p:cNvPr id="150" name="Elaborazione alternativa 149"/>
          <p:cNvSpPr/>
          <p:nvPr/>
        </p:nvSpPr>
        <p:spPr>
          <a:xfrm>
            <a:off x="10261813" y="4074456"/>
            <a:ext cx="1287172" cy="441802"/>
          </a:xfrm>
          <a:prstGeom prst="flowChartAlternateProcess">
            <a:avLst/>
          </a:prstGeom>
          <a:solidFill>
            <a:schemeClr val="bg1"/>
          </a:solidFill>
          <a:ln w="28575">
            <a:solidFill>
              <a:srgbClr val="439D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0,7 Mln</a:t>
            </a:r>
            <a:r>
              <a:rPr kumimoji="0" lang="it-IT" sz="1400" b="1" i="0" u="none" strike="noStrike" kern="1200" cap="none" spc="0" normalizeH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€</a:t>
            </a:r>
            <a:endParaRPr kumimoji="0" lang="it-IT" sz="1400" b="1" i="0" u="none" strike="noStrike" kern="1200" cap="none" spc="0" normalizeH="0" baseline="0" noProof="0" dirty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1" name="Rettangolo arrotondato 150"/>
          <p:cNvSpPr/>
          <p:nvPr/>
        </p:nvSpPr>
        <p:spPr>
          <a:xfrm>
            <a:off x="10637350" y="4432423"/>
            <a:ext cx="536099" cy="208062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kumimoji="0" lang="it-IT" sz="10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,1%</a:t>
            </a:r>
          </a:p>
        </p:txBody>
      </p:sp>
      <p:sp>
        <p:nvSpPr>
          <p:cNvPr id="152" name="Rettangolo arrotondato 151"/>
          <p:cNvSpPr/>
          <p:nvPr/>
        </p:nvSpPr>
        <p:spPr>
          <a:xfrm>
            <a:off x="6266084" y="5469163"/>
            <a:ext cx="895644" cy="172939"/>
          </a:xfrm>
          <a:prstGeom prst="roundRect">
            <a:avLst/>
          </a:prstGeom>
          <a:solidFill>
            <a:srgbClr val="3397A5"/>
          </a:solidFill>
          <a:ln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D CAI</a:t>
            </a:r>
          </a:p>
        </p:txBody>
      </p:sp>
      <p:sp>
        <p:nvSpPr>
          <p:cNvPr id="153" name="Ovale 152"/>
          <p:cNvSpPr/>
          <p:nvPr/>
        </p:nvSpPr>
        <p:spPr>
          <a:xfrm>
            <a:off x="10935539" y="5314463"/>
            <a:ext cx="816713" cy="612000"/>
          </a:xfrm>
          <a:prstGeom prst="ellipse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b="1" dirty="0">
                <a:solidFill>
                  <a:srgbClr val="3397A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,1</a:t>
            </a:r>
            <a:r>
              <a:rPr kumimoji="0" lang="it-IT" b="1" i="0" u="none" strike="noStrike" kern="1200" cap="none" spc="0" normalizeH="0" baseline="0" noProof="0" dirty="0">
                <a:ln>
                  <a:noFill/>
                </a:ln>
                <a:solidFill>
                  <a:srgbClr val="3397A5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</p:txBody>
      </p:sp>
      <p:cxnSp>
        <p:nvCxnSpPr>
          <p:cNvPr id="154" name="Connettore diritto 153"/>
          <p:cNvCxnSpPr/>
          <p:nvPr/>
        </p:nvCxnSpPr>
        <p:spPr>
          <a:xfrm flipV="1">
            <a:off x="10220634" y="5027053"/>
            <a:ext cx="137757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Elaborazione alternativa 154"/>
          <p:cNvSpPr/>
          <p:nvPr/>
        </p:nvSpPr>
        <p:spPr>
          <a:xfrm>
            <a:off x="10991893" y="5796483"/>
            <a:ext cx="694800" cy="223915"/>
          </a:xfrm>
          <a:prstGeom prst="flowChartAlternateProcess">
            <a:avLst/>
          </a:prstGeom>
          <a:solidFill>
            <a:srgbClr val="3397A5"/>
          </a:solidFill>
        </p:spPr>
        <p:txBody>
          <a:bodyPr wrap="square" lIns="0" tIns="0" rIns="0" b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1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ranches</a:t>
            </a:r>
            <a:endParaRPr kumimoji="0" lang="it-IT" sz="11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6" name="Elaborazione alternativa 155"/>
          <p:cNvSpPr/>
          <p:nvPr/>
        </p:nvSpPr>
        <p:spPr>
          <a:xfrm>
            <a:off x="10184919" y="5796483"/>
            <a:ext cx="694800" cy="223915"/>
          </a:xfrm>
          <a:prstGeom prst="flowChartAlternateProcess">
            <a:avLst/>
          </a:prstGeom>
          <a:solidFill>
            <a:srgbClr val="3397A5"/>
          </a:solidFill>
        </p:spPr>
        <p:txBody>
          <a:bodyPr wrap="square" lIns="0" tIns="0" rIns="0" b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P</a:t>
            </a:r>
          </a:p>
        </p:txBody>
      </p:sp>
      <p:sp>
        <p:nvSpPr>
          <p:cNvPr id="157" name="Triangolo isoscele 156"/>
          <p:cNvSpPr/>
          <p:nvPr/>
        </p:nvSpPr>
        <p:spPr>
          <a:xfrm rot="10800000">
            <a:off x="10730284" y="5043306"/>
            <a:ext cx="358269" cy="135152"/>
          </a:xfrm>
          <a:prstGeom prst="triangle">
            <a:avLst/>
          </a:prstGeom>
          <a:solidFill>
            <a:srgbClr val="3397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cxnSp>
        <p:nvCxnSpPr>
          <p:cNvPr id="158" name="Connettore diritto 157"/>
          <p:cNvCxnSpPr/>
          <p:nvPr/>
        </p:nvCxnSpPr>
        <p:spPr>
          <a:xfrm flipV="1">
            <a:off x="4493230" y="4878200"/>
            <a:ext cx="137757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Connettore diritto 158"/>
          <p:cNvCxnSpPr/>
          <p:nvPr/>
        </p:nvCxnSpPr>
        <p:spPr>
          <a:xfrm flipV="1">
            <a:off x="4493230" y="3572643"/>
            <a:ext cx="137757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Connettore diritto 159"/>
          <p:cNvCxnSpPr/>
          <p:nvPr/>
        </p:nvCxnSpPr>
        <p:spPr>
          <a:xfrm flipV="1">
            <a:off x="4493230" y="2373402"/>
            <a:ext cx="137757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Elaborazione alternativa 160"/>
          <p:cNvSpPr/>
          <p:nvPr/>
        </p:nvSpPr>
        <p:spPr>
          <a:xfrm>
            <a:off x="4543804" y="5050276"/>
            <a:ext cx="1288800" cy="921600"/>
          </a:xfrm>
          <a:prstGeom prst="flowChartAlternateProcess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62.000</a:t>
            </a:r>
          </a:p>
          <a:p>
            <a:pPr lvl="0" algn="ctr">
              <a:defRPr/>
            </a:pPr>
            <a:r>
              <a:rPr lang="it-IT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</a:t>
            </a:r>
            <a:r>
              <a:rPr lang="it-IT" sz="11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jobs</a:t>
            </a:r>
            <a:r>
              <a:rPr lang="it-IT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1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ed</a:t>
            </a:r>
            <a:r>
              <a:rPr lang="it-IT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2023</a:t>
            </a:r>
          </a:p>
        </p:txBody>
      </p:sp>
      <p:sp>
        <p:nvSpPr>
          <p:cNvPr id="162" name="Elaborazione alternativa 161"/>
          <p:cNvSpPr/>
          <p:nvPr/>
        </p:nvSpPr>
        <p:spPr>
          <a:xfrm>
            <a:off x="4543804" y="3746117"/>
            <a:ext cx="1288800" cy="921600"/>
          </a:xfrm>
          <a:prstGeom prst="flowChartAlternateProcess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3%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09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ibution</a:t>
            </a:r>
            <a:r>
              <a:rPr lang="it-IT" sz="109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the </a:t>
            </a:r>
            <a:r>
              <a:rPr lang="it-IT" sz="109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alian</a:t>
            </a:r>
            <a:r>
              <a:rPr lang="it-IT" sz="109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9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oss</a:t>
            </a:r>
            <a:r>
              <a:rPr lang="it-IT" sz="109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9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mestic</a:t>
            </a:r>
            <a:r>
              <a:rPr lang="it-IT" sz="109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9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</a:t>
            </a:r>
            <a:r>
              <a:rPr lang="it-IT" sz="109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kumimoji="0" lang="it-IT" sz="109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3" name="Elaborazione alternativa 162"/>
          <p:cNvSpPr/>
          <p:nvPr/>
        </p:nvSpPr>
        <p:spPr>
          <a:xfrm>
            <a:off x="4543804" y="2519859"/>
            <a:ext cx="1288800" cy="921600"/>
          </a:xfrm>
          <a:prstGeom prst="flowChartAlternateProcess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.181.00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# LP in </a:t>
            </a:r>
            <a:r>
              <a:rPr lang="it-IT" sz="11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ons</a:t>
            </a:r>
            <a:r>
              <a:rPr lang="it-IT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with CAI </a:t>
            </a:r>
            <a:r>
              <a:rPr lang="it-IT" sz="11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ce</a:t>
            </a:r>
            <a:endParaRPr kumimoji="0" lang="it-IT" sz="11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4" name="Elaborazione alternativa 163"/>
          <p:cNvSpPr/>
          <p:nvPr/>
        </p:nvSpPr>
        <p:spPr>
          <a:xfrm>
            <a:off x="4543804" y="1307747"/>
            <a:ext cx="1288800" cy="921571"/>
          </a:xfrm>
          <a:prstGeom prst="flowChartAlternateProcess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.360.00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# LP</a:t>
            </a:r>
            <a:endParaRPr kumimoji="0" lang="it-IT" sz="11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5" name="Ovale 164"/>
          <p:cNvSpPr/>
          <p:nvPr/>
        </p:nvSpPr>
        <p:spPr>
          <a:xfrm>
            <a:off x="6275887" y="5686236"/>
            <a:ext cx="180000" cy="180000"/>
          </a:xfrm>
          <a:prstGeom prst="ellipse">
            <a:avLst/>
          </a:prstGeom>
          <a:solidFill>
            <a:srgbClr val="C7E9E9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it-IT" sz="9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6" name="Rettangolo 165"/>
          <p:cNvSpPr/>
          <p:nvPr/>
        </p:nvSpPr>
        <p:spPr>
          <a:xfrm>
            <a:off x="6399600" y="5660820"/>
            <a:ext cx="111229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9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# LP </a:t>
            </a:r>
            <a:r>
              <a:rPr lang="it-IT" sz="9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ers</a:t>
            </a:r>
            <a:endParaRPr lang="en-GB" sz="900" i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7" name="CasellaDiTesto 166"/>
          <p:cNvSpPr txBox="1"/>
          <p:nvPr/>
        </p:nvSpPr>
        <p:spPr>
          <a:xfrm>
            <a:off x="270178" y="5857831"/>
            <a:ext cx="126989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9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gures</a:t>
            </a:r>
            <a:r>
              <a:rPr lang="it-IT" sz="9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it-IT" sz="9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ousands</a:t>
            </a:r>
            <a:endParaRPr kumimoji="0" lang="it-IT" sz="11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8" name="Rettangolo arrotondato 167"/>
          <p:cNvSpPr/>
          <p:nvPr/>
        </p:nvSpPr>
        <p:spPr>
          <a:xfrm>
            <a:off x="326107" y="5469163"/>
            <a:ext cx="895644" cy="172939"/>
          </a:xfrm>
          <a:prstGeom prst="roundRect">
            <a:avLst/>
          </a:prstGeom>
          <a:solidFill>
            <a:srgbClr val="C7E9E9"/>
          </a:solidFill>
          <a:ln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it-IT" sz="900" b="1" dirty="0">
                <a:solidFill>
                  <a:srgbClr val="439D9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I </a:t>
            </a:r>
            <a:r>
              <a:rPr lang="it-IT" sz="900" b="1" dirty="0" err="1">
                <a:solidFill>
                  <a:srgbClr val="439D9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ce</a:t>
            </a:r>
            <a:endParaRPr lang="it-IT" sz="900" b="1" dirty="0">
              <a:solidFill>
                <a:srgbClr val="439D9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9" name="Ovale 168"/>
          <p:cNvSpPr/>
          <p:nvPr/>
        </p:nvSpPr>
        <p:spPr>
          <a:xfrm>
            <a:off x="335910" y="5686236"/>
            <a:ext cx="180000" cy="180000"/>
          </a:xfrm>
          <a:prstGeom prst="ellipse">
            <a:avLst/>
          </a:prstGeom>
          <a:solidFill>
            <a:srgbClr val="439D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it-IT" sz="8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0" name="Rettangolo 169"/>
          <p:cNvSpPr/>
          <p:nvPr/>
        </p:nvSpPr>
        <p:spPr>
          <a:xfrm>
            <a:off x="459623" y="5660820"/>
            <a:ext cx="111229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9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# LP</a:t>
            </a:r>
            <a:endParaRPr lang="en-GB" sz="900" i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1" name="Ovale 170"/>
          <p:cNvSpPr/>
          <p:nvPr/>
        </p:nvSpPr>
        <p:spPr>
          <a:xfrm>
            <a:off x="670806" y="1987502"/>
            <a:ext cx="252000" cy="252000"/>
          </a:xfrm>
          <a:prstGeom prst="ellipse">
            <a:avLst/>
          </a:prstGeom>
          <a:solidFill>
            <a:srgbClr val="439D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9</a:t>
            </a:r>
            <a:endParaRPr kumimoji="0" lang="it-IT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31978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90510A-269A-7FD3-91A3-4EE5FEC832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re 2">
            <a:extLst>
              <a:ext uri="{FF2B5EF4-FFF2-40B4-BE49-F238E27FC236}">
                <a16:creationId xmlns:a16="http://schemas.microsoft.com/office/drawing/2014/main" id="{188E63A4-F939-6E74-66FB-0D86429C57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3615" y="100493"/>
            <a:ext cx="11539365" cy="519267"/>
          </a:xfrm>
        </p:spPr>
        <p:txBody>
          <a:bodyPr>
            <a:noAutofit/>
          </a:bodyPr>
          <a:lstStyle/>
          <a:p>
            <a:pPr defTabSz="180000">
              <a:defRPr/>
            </a:pPr>
            <a:r>
              <a:rPr lang="it-IT" sz="2400" b="0" dirty="0">
                <a:solidFill>
                  <a:srgbClr val="009597"/>
                </a:solidFill>
                <a:latin typeface="Arial Black" panose="020B0A04020102020204" pitchFamily="34" charset="0"/>
                <a:cs typeface="Arial"/>
              </a:rPr>
              <a:t>Liberal </a:t>
            </a:r>
            <a:r>
              <a:rPr lang="it-IT" sz="2400" b="0" dirty="0" err="1">
                <a:solidFill>
                  <a:srgbClr val="009597"/>
                </a:solidFill>
                <a:latin typeface="Arial Black" panose="020B0A04020102020204" pitchFamily="34" charset="0"/>
                <a:cs typeface="Arial"/>
              </a:rPr>
              <a:t>professions</a:t>
            </a:r>
            <a:r>
              <a:rPr lang="it-IT" sz="2400" b="0" dirty="0">
                <a:solidFill>
                  <a:srgbClr val="009597"/>
                </a:solidFill>
                <a:latin typeface="Arial Black" panose="020B0A04020102020204" pitchFamily="34" charset="0"/>
                <a:cs typeface="Arial"/>
              </a:rPr>
              <a:t> in </a:t>
            </a:r>
            <a:r>
              <a:rPr lang="it-IT" sz="2400" b="0" dirty="0" err="1">
                <a:solidFill>
                  <a:srgbClr val="009597"/>
                </a:solidFill>
                <a:latin typeface="Arial Black" panose="020B0A04020102020204" pitchFamily="34" charset="0"/>
                <a:cs typeface="Arial"/>
              </a:rPr>
              <a:t>cai</a:t>
            </a:r>
            <a:endParaRPr lang="en-GB" sz="1600" b="0" dirty="0">
              <a:solidFill>
                <a:srgbClr val="009597"/>
              </a:solidFill>
              <a:latin typeface="+mn-lt"/>
              <a:cs typeface="Arial"/>
            </a:endParaRPr>
          </a:p>
        </p:txBody>
      </p:sp>
      <p:sp>
        <p:nvSpPr>
          <p:cNvPr id="30" name="Rettangolo 29">
            <a:extLst>
              <a:ext uri="{FF2B5EF4-FFF2-40B4-BE49-F238E27FC236}">
                <a16:creationId xmlns:a16="http://schemas.microsoft.com/office/drawing/2014/main" id="{BC68C875-59F7-14A1-3FF3-5640F576A81E}"/>
              </a:ext>
            </a:extLst>
          </p:cNvPr>
          <p:cNvSpPr/>
          <p:nvPr/>
        </p:nvSpPr>
        <p:spPr>
          <a:xfrm>
            <a:off x="265323" y="6522600"/>
            <a:ext cx="532181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800" i="1" dirty="0" err="1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s</a:t>
            </a:r>
            <a:r>
              <a:rPr kumimoji="0" lang="it-IT" sz="800" b="0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it-IT" sz="800" i="1" noProof="0" dirty="0" err="1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alian</a:t>
            </a:r>
            <a:r>
              <a:rPr lang="it-IT" sz="800" i="1" noProof="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rket</a:t>
            </a:r>
            <a:r>
              <a:rPr lang="it-IT" sz="800" i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kumimoji="0" lang="it-IT" sz="800" b="0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laborazione a cura dell’Osservatorio sulle libere professioni sulla base di dati ISTAT;</a:t>
            </a:r>
            <a:r>
              <a:rPr kumimoji="0" lang="it-IT" sz="800" b="0" i="1" u="none" strike="noStrike" kern="1200" cap="none" spc="0" normalizeH="0" noProof="0" dirty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800" i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I: </a:t>
            </a:r>
            <a:r>
              <a:rPr lang="it-IT" sz="800" i="1" dirty="0" err="1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ily</a:t>
            </a:r>
            <a:r>
              <a:rPr lang="it-IT" sz="800" i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800" i="1" dirty="0" err="1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ers</a:t>
            </a:r>
            <a:r>
              <a:rPr lang="it-IT" sz="800" i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port; Dashboard </a:t>
            </a:r>
            <a:r>
              <a:rPr lang="it-IT" sz="800" i="1" dirty="0" err="1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.Ge</a:t>
            </a:r>
            <a:r>
              <a:rPr lang="it-IT" sz="800" i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it-IT" sz="800" i="1" dirty="0" err="1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ans</a:t>
            </a:r>
            <a:r>
              <a:rPr lang="it-IT" sz="800" i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it-IT" sz="800" i="1" dirty="0" err="1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osits</a:t>
            </a:r>
            <a:r>
              <a:rPr lang="it-IT" sz="800" i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800" i="1" dirty="0" err="1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</a:t>
            </a:r>
            <a:r>
              <a:rPr lang="it-IT" sz="800" i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1</a:t>
            </a:r>
            <a:r>
              <a:rPr lang="en-AE" sz="800" i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it-IT" sz="800" i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800" i="1" dirty="0" err="1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ly</a:t>
            </a:r>
            <a:r>
              <a:rPr lang="it-IT" sz="800" i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NBI </a:t>
            </a:r>
            <a:r>
              <a:rPr lang="it-IT" sz="800" i="1" dirty="0" err="1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</a:t>
            </a:r>
            <a:r>
              <a:rPr lang="it-IT" sz="800" i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31</a:t>
            </a:r>
            <a:r>
              <a:rPr lang="en-AE" sz="800" i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 May</a:t>
            </a:r>
            <a:r>
              <a:rPr lang="it-IT" sz="800" i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cxnSp>
        <p:nvCxnSpPr>
          <p:cNvPr id="132" name="Connettore diritto 131">
            <a:extLst>
              <a:ext uri="{FF2B5EF4-FFF2-40B4-BE49-F238E27FC236}">
                <a16:creationId xmlns:a16="http://schemas.microsoft.com/office/drawing/2014/main" id="{EA328B94-8C53-449D-93AF-CEC3CF4F30BD}"/>
              </a:ext>
            </a:extLst>
          </p:cNvPr>
          <p:cNvCxnSpPr/>
          <p:nvPr/>
        </p:nvCxnSpPr>
        <p:spPr>
          <a:xfrm>
            <a:off x="542706" y="1043426"/>
            <a:ext cx="5466056" cy="0"/>
          </a:xfrm>
          <a:prstGeom prst="line">
            <a:avLst/>
          </a:prstGeom>
          <a:ln w="952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Elaborazione alternativa 132">
            <a:extLst>
              <a:ext uri="{FF2B5EF4-FFF2-40B4-BE49-F238E27FC236}">
                <a16:creationId xmlns:a16="http://schemas.microsoft.com/office/drawing/2014/main" id="{615EEB12-35EB-4F24-B2E4-6C57C22C570D}"/>
              </a:ext>
            </a:extLst>
          </p:cNvPr>
          <p:cNvSpPr/>
          <p:nvPr/>
        </p:nvSpPr>
        <p:spPr>
          <a:xfrm>
            <a:off x="526612" y="617768"/>
            <a:ext cx="10688320" cy="264909"/>
          </a:xfrm>
          <a:prstGeom prst="flowChartAlternateProcess">
            <a:avLst/>
          </a:prstGeom>
          <a:noFill/>
          <a:ln w="1270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r>
              <a:rPr kumimoji="0" lang="it-IT" i="1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ost</a:t>
            </a:r>
            <a:r>
              <a:rPr kumimoji="0" lang="it-IT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of Liberal </a:t>
            </a:r>
            <a:r>
              <a:rPr kumimoji="0" lang="it-IT" i="1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fessions</a:t>
            </a:r>
            <a:r>
              <a:rPr kumimoji="0" lang="it-IT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are POE and the </a:t>
            </a:r>
            <a:r>
              <a:rPr lang="it-IT" i="1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st</a:t>
            </a:r>
            <a:r>
              <a:rPr lang="it-IT" i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i="1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resented</a:t>
            </a:r>
            <a:r>
              <a:rPr lang="it-IT" i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it-IT" i="1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ctor</a:t>
            </a:r>
            <a:r>
              <a:rPr kumimoji="0" lang="it-IT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of activity </a:t>
            </a:r>
            <a:r>
              <a:rPr kumimoji="0" lang="it-IT" i="1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s</a:t>
            </a:r>
            <a:r>
              <a:rPr kumimoji="0" lang="it-IT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the </a:t>
            </a:r>
            <a:r>
              <a:rPr lang="it-IT" i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r>
              <a:rPr kumimoji="0" lang="it-IT" i="1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dical</a:t>
            </a:r>
            <a:r>
              <a:rPr kumimoji="0" lang="it-IT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one</a:t>
            </a:r>
          </a:p>
        </p:txBody>
      </p:sp>
      <p:sp>
        <p:nvSpPr>
          <p:cNvPr id="136" name="Rettangolo 135">
            <a:extLst>
              <a:ext uri="{FF2B5EF4-FFF2-40B4-BE49-F238E27FC236}">
                <a16:creationId xmlns:a16="http://schemas.microsoft.com/office/drawing/2014/main" id="{71A8794B-730B-C162-8143-5D6636D4B357}"/>
              </a:ext>
            </a:extLst>
          </p:cNvPr>
          <p:cNvSpPr/>
          <p:nvPr/>
        </p:nvSpPr>
        <p:spPr>
          <a:xfrm>
            <a:off x="672340" y="1217914"/>
            <a:ext cx="1999740" cy="4900962"/>
          </a:xfrm>
          <a:prstGeom prst="rect">
            <a:avLst/>
          </a:prstGeom>
          <a:solidFill>
            <a:srgbClr val="9DCBCA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180975" algn="l"/>
              </a:tabLst>
              <a:defRPr/>
            </a:pPr>
            <a:endParaRPr kumimoji="0" lang="it-IT" sz="11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v"/>
              <a:tabLst>
                <a:tab pos="180975" algn="l"/>
              </a:tabLst>
              <a:defRPr/>
            </a:pP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v"/>
              <a:tabLst>
                <a:tab pos="180975" algn="l"/>
              </a:tabLst>
              <a:defRPr/>
            </a:pPr>
            <a:endParaRPr kumimoji="0" lang="it-IT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0" name="Rettangolo 139">
            <a:extLst>
              <a:ext uri="{FF2B5EF4-FFF2-40B4-BE49-F238E27FC236}">
                <a16:creationId xmlns:a16="http://schemas.microsoft.com/office/drawing/2014/main" id="{2733F9FA-70F7-D6A3-DEEB-989072B898FE}"/>
              </a:ext>
            </a:extLst>
          </p:cNvPr>
          <p:cNvSpPr/>
          <p:nvPr/>
        </p:nvSpPr>
        <p:spPr>
          <a:xfrm>
            <a:off x="870410" y="2393798"/>
            <a:ext cx="1575004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# LP </a:t>
            </a:r>
            <a:r>
              <a:rPr kumimoji="0" lang="it-IT" sz="11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ustomers</a:t>
            </a:r>
            <a:endParaRPr kumimoji="0" lang="it-IT" sz="1100" b="1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1" name="Elaborazione alternativa 140">
            <a:extLst>
              <a:ext uri="{FF2B5EF4-FFF2-40B4-BE49-F238E27FC236}">
                <a16:creationId xmlns:a16="http://schemas.microsoft.com/office/drawing/2014/main" id="{8762AD80-A23E-1D5A-59D7-25E5BCE007B7}"/>
              </a:ext>
            </a:extLst>
          </p:cNvPr>
          <p:cNvSpPr/>
          <p:nvPr/>
        </p:nvSpPr>
        <p:spPr>
          <a:xfrm>
            <a:off x="1014326" y="1925588"/>
            <a:ext cx="1287172" cy="441802"/>
          </a:xfrm>
          <a:prstGeom prst="flowChartAlternateProcess">
            <a:avLst/>
          </a:prstGeom>
          <a:solidFill>
            <a:schemeClr val="bg1"/>
          </a:solidFill>
          <a:ln w="28575">
            <a:solidFill>
              <a:srgbClr val="439D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7.000</a:t>
            </a:r>
          </a:p>
        </p:txBody>
      </p:sp>
      <p:sp>
        <p:nvSpPr>
          <p:cNvPr id="143" name="Rettangolo 142">
            <a:extLst>
              <a:ext uri="{FF2B5EF4-FFF2-40B4-BE49-F238E27FC236}">
                <a16:creationId xmlns:a16="http://schemas.microsoft.com/office/drawing/2014/main" id="{2ABE74A5-571A-3D10-0514-57C0E3396F90}"/>
              </a:ext>
            </a:extLst>
          </p:cNvPr>
          <p:cNvSpPr/>
          <p:nvPr/>
        </p:nvSpPr>
        <p:spPr>
          <a:xfrm>
            <a:off x="870410" y="3335508"/>
            <a:ext cx="1575004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# </a:t>
            </a:r>
            <a:r>
              <a:rPr kumimoji="0" lang="it-IT" sz="11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oans</a:t>
            </a:r>
            <a:endParaRPr kumimoji="0" lang="it-IT" sz="1100" b="1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4" name="Elaborazione alternativa 143">
            <a:extLst>
              <a:ext uri="{FF2B5EF4-FFF2-40B4-BE49-F238E27FC236}">
                <a16:creationId xmlns:a16="http://schemas.microsoft.com/office/drawing/2014/main" id="{9716483E-1AC2-F517-FDDD-A65E9D7CF23F}"/>
              </a:ext>
            </a:extLst>
          </p:cNvPr>
          <p:cNvSpPr/>
          <p:nvPr/>
        </p:nvSpPr>
        <p:spPr>
          <a:xfrm>
            <a:off x="1014326" y="2847159"/>
            <a:ext cx="1287172" cy="441802"/>
          </a:xfrm>
          <a:prstGeom prst="flowChartAlternateProcess">
            <a:avLst/>
          </a:prstGeom>
          <a:solidFill>
            <a:schemeClr val="bg1"/>
          </a:solidFill>
          <a:ln w="28575">
            <a:solidFill>
              <a:srgbClr val="439D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37 Mln</a:t>
            </a:r>
            <a:r>
              <a:rPr kumimoji="0" lang="it-IT" sz="1400" b="1" i="0" u="none" strike="noStrike" kern="1200" cap="none" spc="0" normalizeH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€</a:t>
            </a:r>
            <a:endParaRPr kumimoji="0" lang="it-IT" sz="1400" b="1" i="0" u="none" strike="noStrike" kern="1200" cap="none" spc="0" normalizeH="0" baseline="0" noProof="0" dirty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6" name="Rettangolo 145">
            <a:extLst>
              <a:ext uri="{FF2B5EF4-FFF2-40B4-BE49-F238E27FC236}">
                <a16:creationId xmlns:a16="http://schemas.microsoft.com/office/drawing/2014/main" id="{F5DDEA84-AA93-2419-3C5F-C5E3E08294DD}"/>
              </a:ext>
            </a:extLst>
          </p:cNvPr>
          <p:cNvSpPr/>
          <p:nvPr/>
        </p:nvSpPr>
        <p:spPr>
          <a:xfrm>
            <a:off x="870410" y="4282635"/>
            <a:ext cx="1575004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# </a:t>
            </a:r>
            <a:r>
              <a:rPr kumimoji="0" lang="it-IT" sz="11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posits</a:t>
            </a:r>
            <a:endParaRPr kumimoji="0" lang="it-IT" sz="1100" b="1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7" name="Elaborazione alternativa 146">
            <a:extLst>
              <a:ext uri="{FF2B5EF4-FFF2-40B4-BE49-F238E27FC236}">
                <a16:creationId xmlns:a16="http://schemas.microsoft.com/office/drawing/2014/main" id="{419E8609-B952-6EEB-066B-D4BECE0AB77D}"/>
              </a:ext>
            </a:extLst>
          </p:cNvPr>
          <p:cNvSpPr/>
          <p:nvPr/>
        </p:nvSpPr>
        <p:spPr>
          <a:xfrm>
            <a:off x="1014326" y="3769727"/>
            <a:ext cx="1287172" cy="441802"/>
          </a:xfrm>
          <a:prstGeom prst="flowChartAlternateProcess">
            <a:avLst/>
          </a:prstGeom>
          <a:solidFill>
            <a:schemeClr val="bg1"/>
          </a:solidFill>
          <a:ln w="28575">
            <a:solidFill>
              <a:srgbClr val="439D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,6 </a:t>
            </a:r>
            <a:r>
              <a:rPr kumimoji="0" lang="it-IT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ld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€</a:t>
            </a:r>
          </a:p>
        </p:txBody>
      </p:sp>
      <p:sp>
        <p:nvSpPr>
          <p:cNvPr id="149" name="Rettangolo 148">
            <a:extLst>
              <a:ext uri="{FF2B5EF4-FFF2-40B4-BE49-F238E27FC236}">
                <a16:creationId xmlns:a16="http://schemas.microsoft.com/office/drawing/2014/main" id="{089A38E3-41F9-E3E2-ED4A-62D901E374E3}"/>
              </a:ext>
            </a:extLst>
          </p:cNvPr>
          <p:cNvSpPr/>
          <p:nvPr/>
        </p:nvSpPr>
        <p:spPr>
          <a:xfrm>
            <a:off x="870410" y="5214692"/>
            <a:ext cx="1575004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# NBI</a:t>
            </a:r>
          </a:p>
        </p:txBody>
      </p:sp>
      <p:sp>
        <p:nvSpPr>
          <p:cNvPr id="150" name="Elaborazione alternativa 149">
            <a:extLst>
              <a:ext uri="{FF2B5EF4-FFF2-40B4-BE49-F238E27FC236}">
                <a16:creationId xmlns:a16="http://schemas.microsoft.com/office/drawing/2014/main" id="{3477EA1E-6137-0D96-6EA5-67627919F30C}"/>
              </a:ext>
            </a:extLst>
          </p:cNvPr>
          <p:cNvSpPr/>
          <p:nvPr/>
        </p:nvSpPr>
        <p:spPr>
          <a:xfrm>
            <a:off x="1014326" y="4692296"/>
            <a:ext cx="1287172" cy="441802"/>
          </a:xfrm>
          <a:prstGeom prst="flowChartAlternateProcess">
            <a:avLst/>
          </a:prstGeom>
          <a:solidFill>
            <a:schemeClr val="bg1"/>
          </a:solidFill>
          <a:ln w="28575">
            <a:solidFill>
              <a:srgbClr val="439D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0,7 Mln</a:t>
            </a:r>
            <a:r>
              <a:rPr kumimoji="0" lang="it-IT" sz="1400" b="1" i="0" u="none" strike="noStrike" kern="1200" cap="none" spc="0" normalizeH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€</a:t>
            </a:r>
            <a:endParaRPr kumimoji="0" lang="it-IT" sz="1400" b="1" i="0" u="none" strike="noStrike" kern="1200" cap="none" spc="0" normalizeH="0" baseline="0" noProof="0" dirty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5" name="Elaborazione alternativa 154">
            <a:extLst>
              <a:ext uri="{FF2B5EF4-FFF2-40B4-BE49-F238E27FC236}">
                <a16:creationId xmlns:a16="http://schemas.microsoft.com/office/drawing/2014/main" id="{6CA77355-EADA-23CA-77ED-E6475C6D5950}"/>
              </a:ext>
            </a:extLst>
          </p:cNvPr>
          <p:cNvSpPr/>
          <p:nvPr/>
        </p:nvSpPr>
        <p:spPr>
          <a:xfrm>
            <a:off x="2926230" y="1170195"/>
            <a:ext cx="8085797" cy="352185"/>
          </a:xfrm>
          <a:prstGeom prst="flowChartAlternateProcess">
            <a:avLst/>
          </a:prstGeom>
          <a:solidFill>
            <a:srgbClr val="3397A5"/>
          </a:solidFill>
        </p:spPr>
        <p:txBody>
          <a:bodyPr wrap="square" lIns="0" tIns="0" rIns="0" bIns="0" anchor="ctr">
            <a:noAutofit/>
          </a:bodyPr>
          <a:lstStyle/>
          <a:p>
            <a:pPr lvl="0" algn="ctr">
              <a:defRPr/>
            </a:pPr>
            <a:r>
              <a:rPr kumimoji="0" lang="it-IT" sz="11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formation </a:t>
            </a:r>
            <a:r>
              <a:rPr kumimoji="0" lang="it-IT" sz="1100" b="1" i="1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bout</a:t>
            </a:r>
            <a:r>
              <a:rPr kumimoji="0" lang="it-IT" sz="11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it-IT" sz="1100" b="1" i="1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ectors</a:t>
            </a:r>
            <a:r>
              <a:rPr kumimoji="0" lang="it-IT" sz="11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of </a:t>
            </a:r>
            <a:r>
              <a:rPr lang="it-IT" sz="11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vity of </a:t>
            </a:r>
            <a:r>
              <a:rPr lang="it-IT" sz="1100" b="1" i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tural</a:t>
            </a:r>
            <a:r>
              <a:rPr lang="it-IT" sz="11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100" b="1" i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sons</a:t>
            </a:r>
            <a:r>
              <a:rPr lang="it-IT" sz="11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it-IT" sz="11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P</a:t>
            </a:r>
          </a:p>
        </p:txBody>
      </p:sp>
      <p:sp>
        <p:nvSpPr>
          <p:cNvPr id="156" name="Elaborazione alternativa 155">
            <a:extLst>
              <a:ext uri="{FF2B5EF4-FFF2-40B4-BE49-F238E27FC236}">
                <a16:creationId xmlns:a16="http://schemas.microsoft.com/office/drawing/2014/main" id="{CD4CE792-54C5-31E0-35E8-AB6BDE80FFC4}"/>
              </a:ext>
            </a:extLst>
          </p:cNvPr>
          <p:cNvSpPr/>
          <p:nvPr/>
        </p:nvSpPr>
        <p:spPr>
          <a:xfrm>
            <a:off x="5527191" y="3372278"/>
            <a:ext cx="3962249" cy="292517"/>
          </a:xfrm>
          <a:prstGeom prst="flowChartAlternateProcess">
            <a:avLst/>
          </a:prstGeom>
          <a:solidFill>
            <a:srgbClr val="3397A5"/>
          </a:solidFill>
        </p:spPr>
        <p:txBody>
          <a:bodyPr wrap="square" lIns="0" tIns="0" rIns="0" b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formation </a:t>
            </a:r>
            <a:r>
              <a:rPr kumimoji="0" lang="it-IT" sz="1100" b="1" i="1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bout</a:t>
            </a:r>
            <a:r>
              <a:rPr lang="it-IT" sz="11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ustomer </a:t>
            </a:r>
            <a:r>
              <a:rPr lang="it-IT" sz="1100" b="1" i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gmentation</a:t>
            </a:r>
            <a:r>
              <a:rPr lang="it-IT" sz="11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CAI for PF</a:t>
            </a:r>
            <a:endParaRPr kumimoji="0" lang="it-IT" sz="11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1C06806E-F032-3945-39E3-7EE1683C85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77031" y="1630062"/>
            <a:ext cx="8085798" cy="1455249"/>
          </a:xfrm>
          <a:prstGeom prst="rect">
            <a:avLst/>
          </a:prstGeom>
        </p:spPr>
      </p:pic>
      <p:graphicFrame>
        <p:nvGraphicFramePr>
          <p:cNvPr id="4" name="Grafico 3">
            <a:extLst>
              <a:ext uri="{FF2B5EF4-FFF2-40B4-BE49-F238E27FC236}">
                <a16:creationId xmlns:a16="http://schemas.microsoft.com/office/drawing/2014/main" id="{A32C378F-6850-41F2-884F-82E421CC26D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7946170"/>
              </p:ext>
            </p:extLst>
          </p:nvPr>
        </p:nvGraphicFramePr>
        <p:xfrm>
          <a:off x="5434739" y="3761688"/>
          <a:ext cx="4572000" cy="2559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886876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Tfofu6ws0mbgOQa_GRa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T5qJLum3FAHLhROpWbyX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3IZOk0SptDjdMR.sKL1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3IZOk0SptDjdMR.sKL1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CLASSIFIERBOTTOMTEXTBOX" val="{CLASSIFIER}"/>
  <p:tag name="BJHEADERFOOTERTEXTBOXNAME" val="bjCLSTB-FO-HC-VB-RA-BN-DH"/>
  <p:tag name="BJHEADERFOOTERLABEL" val="TRUE"/>
  <p:tag name="BJHEADERFOOTERTEXTLABEL" val="Do użytku wewnętrznego / Internal use (C2)"/>
  <p:tag name="BJHEADERFOOTERTEXTMARKING" val="Do użytku wewnętrznego / Internal use (C2)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V"/>
  <p:tag name="EE4P_MAPWIZARD_HEADINGS" val="Admin 1"/>
  <p:tag name="EE4P_MAPWIZARD" val="Pavi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C"/>
  <p:tag name="EE4P_MAPWIZARD_HEADINGS" val="Admin 1"/>
  <p:tag name="EE4P_MAPWIZARD" val="Piacenz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I"/>
  <p:tag name="EE4P_MAPWIZARD_HEADINGS" val="Admin 1"/>
  <p:tag name="EE4P_MAPWIZARD" val="Milano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VA"/>
  <p:tag name="EE4P_MAPWIZARD_HEADINGS" val="Admin 1"/>
  <p:tag name="EE4P_MAPWIZARD" val="Vares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B"/>
  <p:tag name="EE4P_MAPWIZARD_HEADINGS" val="Admin 1"/>
  <p:tag name="EE4P_MAPWIZARD" val="Monza e Brianz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N"/>
  <p:tag name="EE4P_MAPWIZARD_HEADINGS" val="Admin 1"/>
  <p:tag name="EE4P_MAPWIZARD" val="Mantov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R"/>
  <p:tag name="EE4P_MAPWIZARD_HEADINGS" val="Admin 1"/>
  <p:tag name="EE4P_MAPWIZARD" val="Cremon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O"/>
  <p:tag name="EE4P_MAPWIZARD_HEADINGS" val="Admin 1"/>
  <p:tag name="EE4P_MAPWIZARD" val="Lodi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A"/>
  <p:tag name="EE4P_MAPWIZARD_HEADINGS" val="Admin 1"/>
  <p:tag name="EE4P_MAPWIZARD" val="Ravenn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C"/>
  <p:tag name="EE4P_MAPWIZARD_HEADINGS" val="Admin 1"/>
  <p:tag name="EE4P_MAPWIZARD" val="Forlì-Cesen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N"/>
  <p:tag name="EE4P_MAPWIZARD_HEADINGS" val="Admin 1"/>
  <p:tag name="EE4P_MAPWIZARD" val="Rimini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P"/>
  <p:tag name="EE4P_MAPWIZARD_HEADINGS" val="Admin 1"/>
  <p:tag name="EE4P_MAPWIZARD" val="Ascoli Piceno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R"/>
  <p:tag name="EE4P_MAPWIZARD_HEADINGS" val="Admin 1"/>
  <p:tag name="EE4P_MAPWIZARD" val="Terni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N"/>
  <p:tag name="EE4P_MAPWIZARD_HEADINGS" val="Admin 1"/>
  <p:tag name="EE4P_MAPWIZARD" val="Benevento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V"/>
  <p:tag name="EE4P_MAPWIZARD_HEADINGS" val="Admin 1"/>
  <p:tag name="EE4P_MAPWIZARD" val="Avellino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Odp71DVFKXTD44ka_h0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Odp71DVFKXTD44ka_h0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ZhfDt1FcvKticICXsYS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ZhfDt1FcvKticICXsYSU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2IXfZjBvsBNx4yxSBTCi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9sV7rZuJSg0EU53h6Qr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PUYv8Hg_JACvSkOLcEj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YBP2HWTImOUjo7NWeL5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Tfofu6ws0mbgOQa_GRa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.WcjoAufCfaOCsrbM1p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T5qJLum3FAHLhROpWbyX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EooubUMm0zAcKvD3XX6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ZhfDt1FcvKticICXsYSU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fd1.sP2UngbEgPhSOy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6_OBNrVmCuoJWOILCPA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Ie5FX46oKVlkSlmjxyR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_4-3_filiale">
  <a:themeElements>
    <a:clrScheme name="Nuances de gris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ARIAL -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11_Credit Agricole motyw 16x9">
  <a:themeElements>
    <a:clrScheme name="Custom 17">
      <a:dk1>
        <a:srgbClr val="575757"/>
      </a:dk1>
      <a:lt1>
        <a:sysClr val="window" lastClr="FFFFFF"/>
      </a:lt1>
      <a:dk2>
        <a:srgbClr val="008789"/>
      </a:dk2>
      <a:lt2>
        <a:srgbClr val="F2F2F2"/>
      </a:lt2>
      <a:accent1>
        <a:srgbClr val="004648"/>
      </a:accent1>
      <a:accent2>
        <a:srgbClr val="006264"/>
      </a:accent2>
      <a:accent3>
        <a:srgbClr val="FFC000"/>
      </a:accent3>
      <a:accent4>
        <a:srgbClr val="00F0F6"/>
      </a:accent4>
      <a:accent5>
        <a:srgbClr val="828282"/>
      </a:accent5>
      <a:accent6>
        <a:srgbClr val="365971"/>
      </a:accent6>
      <a:hlink>
        <a:srgbClr val="2E3558"/>
      </a:hlink>
      <a:folHlink>
        <a:srgbClr val="2E3558"/>
      </a:folHlink>
    </a:clrScheme>
    <a:fontScheme name="ARIAL -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solidFill>
            <a:schemeClr val="tx2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Motyw CA 2017" id="{A540E9FD-BE66-4743-B2B5-62DB9A71CE29}" vid="{EC7551C2-7E9D-E644-9EE6-357AB5371BA9}"/>
    </a:ext>
  </a:extLst>
</a:theme>
</file>

<file path=ppt/theme/theme11.xml><?xml version="1.0" encoding="utf-8"?>
<a:theme xmlns:a="http://schemas.openxmlformats.org/drawingml/2006/main" name="1_Credit Agricole motyw 16x9">
  <a:themeElements>
    <a:clrScheme name="Niestandardowy 2">
      <a:dk1>
        <a:srgbClr val="000000"/>
      </a:dk1>
      <a:lt1>
        <a:srgbClr val="FFFFFF"/>
      </a:lt1>
      <a:dk2>
        <a:srgbClr val="ED1B2F"/>
      </a:dk2>
      <a:lt2>
        <a:srgbClr val="96CA12"/>
      </a:lt2>
      <a:accent1>
        <a:srgbClr val="009597"/>
      </a:accent1>
      <a:accent2>
        <a:srgbClr val="BEC9D3"/>
      </a:accent2>
      <a:accent3>
        <a:srgbClr val="7E93A5"/>
      </a:accent3>
      <a:accent4>
        <a:srgbClr val="487697"/>
      </a:accent4>
      <a:accent5>
        <a:srgbClr val="96CA12"/>
      </a:accent5>
      <a:accent6>
        <a:srgbClr val="ED1B2F"/>
      </a:accent6>
      <a:hlink>
        <a:srgbClr val="000000"/>
      </a:hlink>
      <a:folHlink>
        <a:srgbClr val="000000"/>
      </a:folHlink>
    </a:clrScheme>
    <a:fontScheme name="ARIAL -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otyw CA 2017" id="{A540E9FD-BE66-4743-B2B5-62DB9A71CE29}" vid="{EC7551C2-7E9D-E644-9EE6-357AB5371BA9}"/>
    </a:ext>
  </a:extLst>
</a:theme>
</file>

<file path=ppt/theme/theme12.xml><?xml version="1.0" encoding="utf-8"?>
<a:theme xmlns:a="http://schemas.openxmlformats.org/drawingml/2006/main" name="2_Credit Agricole motyw 16x9">
  <a:themeElements>
    <a:clrScheme name="Niestandardowy 2">
      <a:dk1>
        <a:srgbClr val="000000"/>
      </a:dk1>
      <a:lt1>
        <a:srgbClr val="FFFFFF"/>
      </a:lt1>
      <a:dk2>
        <a:srgbClr val="ED1B2F"/>
      </a:dk2>
      <a:lt2>
        <a:srgbClr val="96CA12"/>
      </a:lt2>
      <a:accent1>
        <a:srgbClr val="009597"/>
      </a:accent1>
      <a:accent2>
        <a:srgbClr val="BEC9D3"/>
      </a:accent2>
      <a:accent3>
        <a:srgbClr val="7E93A5"/>
      </a:accent3>
      <a:accent4>
        <a:srgbClr val="487697"/>
      </a:accent4>
      <a:accent5>
        <a:srgbClr val="96CA12"/>
      </a:accent5>
      <a:accent6>
        <a:srgbClr val="ED1B2F"/>
      </a:accent6>
      <a:hlink>
        <a:srgbClr val="000000"/>
      </a:hlink>
      <a:folHlink>
        <a:srgbClr val="000000"/>
      </a:folHlink>
    </a:clrScheme>
    <a:fontScheme name="ARIAL -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otyw CA 2017" id="{A540E9FD-BE66-4743-B2B5-62DB9A71CE29}" vid="{EC7551C2-7E9D-E644-9EE6-357AB5371BA9}"/>
    </a:ext>
  </a:extLst>
</a:theme>
</file>

<file path=ppt/theme/theme13.xml><?xml version="1.0" encoding="utf-8"?>
<a:theme xmlns:a="http://schemas.openxmlformats.org/drawingml/2006/main" name="4_Credit Agricole motyw 16x9">
  <a:themeElements>
    <a:clrScheme name="Niestandardowy 1">
      <a:dk1>
        <a:srgbClr val="000000"/>
      </a:dk1>
      <a:lt1>
        <a:srgbClr val="FFFFFF"/>
      </a:lt1>
      <a:dk2>
        <a:srgbClr val="ED1B2F"/>
      </a:dk2>
      <a:lt2>
        <a:srgbClr val="81BC00"/>
      </a:lt2>
      <a:accent1>
        <a:srgbClr val="009597"/>
      </a:accent1>
      <a:accent2>
        <a:srgbClr val="BEC9D3"/>
      </a:accent2>
      <a:accent3>
        <a:srgbClr val="7E93A5"/>
      </a:accent3>
      <a:accent4>
        <a:srgbClr val="81BC00"/>
      </a:accent4>
      <a:accent5>
        <a:srgbClr val="70A300"/>
      </a:accent5>
      <a:accent6>
        <a:srgbClr val="ED1B2F"/>
      </a:accent6>
      <a:hlink>
        <a:srgbClr val="000000"/>
      </a:hlink>
      <a:folHlink>
        <a:srgbClr val="000000"/>
      </a:folHlink>
    </a:clrScheme>
    <a:fontScheme name="ARIAL -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otyw CA 2017" id="{A540E9FD-BE66-4743-B2B5-62DB9A71CE29}" vid="{EC7551C2-7E9D-E644-9EE6-357AB5371BA9}"/>
    </a:ext>
  </a:extLst>
</a:theme>
</file>

<file path=ppt/theme/theme14.xml><?xml version="1.0" encoding="utf-8"?>
<a:theme xmlns:a="http://schemas.openxmlformats.org/drawingml/2006/main" name="2_Crédit Agricole / Nouveau Terrritoire">
  <a:themeElements>
    <a:clrScheme name="Crédit Agricole - Nouveau Territoire">
      <a:dk1>
        <a:srgbClr val="707173"/>
      </a:dk1>
      <a:lt1>
        <a:srgbClr val="FFFFFF"/>
      </a:lt1>
      <a:dk2>
        <a:srgbClr val="ED1B2F"/>
      </a:dk2>
      <a:lt2>
        <a:srgbClr val="009597"/>
      </a:lt2>
      <a:accent1>
        <a:srgbClr val="006A4E"/>
      </a:accent1>
      <a:accent2>
        <a:srgbClr val="99C3B8"/>
      </a:accent2>
      <a:accent3>
        <a:srgbClr val="99CC00"/>
      </a:accent3>
      <a:accent4>
        <a:srgbClr val="D6EB99"/>
      </a:accent4>
      <a:accent5>
        <a:srgbClr val="009597"/>
      </a:accent5>
      <a:accent6>
        <a:srgbClr val="99D5D5"/>
      </a:accent6>
      <a:hlink>
        <a:srgbClr val="ED1B2F"/>
      </a:hlink>
      <a:folHlink>
        <a:srgbClr val="F8A4AC"/>
      </a:folHlink>
    </a:clrScheme>
    <a:fontScheme name="Crédit Agricole - Nouveau Territoire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A Template PowerPoint Direction_vDEF (003).potx [Lecture seule]" id="{97BEB7AD-6BBD-413E-8910-97570CBA9819}" vid="{C9798A5D-637B-418E-A9B1-826571FB7D1D}"/>
    </a:ext>
  </a:extLst>
</a:theme>
</file>

<file path=ppt/theme/theme15.xml><?xml version="1.0" encoding="utf-8"?>
<a:theme xmlns:a="http://schemas.openxmlformats.org/drawingml/2006/main" name="3_Credit Agricole motyw 16x9">
  <a:themeElements>
    <a:clrScheme name="Niestandardowy 1">
      <a:dk1>
        <a:srgbClr val="000000"/>
      </a:dk1>
      <a:lt1>
        <a:srgbClr val="FFFFFF"/>
      </a:lt1>
      <a:dk2>
        <a:srgbClr val="ED1B2F"/>
      </a:dk2>
      <a:lt2>
        <a:srgbClr val="81BC00"/>
      </a:lt2>
      <a:accent1>
        <a:srgbClr val="009597"/>
      </a:accent1>
      <a:accent2>
        <a:srgbClr val="BEC9D3"/>
      </a:accent2>
      <a:accent3>
        <a:srgbClr val="7E93A5"/>
      </a:accent3>
      <a:accent4>
        <a:srgbClr val="81BC00"/>
      </a:accent4>
      <a:accent5>
        <a:srgbClr val="70A300"/>
      </a:accent5>
      <a:accent6>
        <a:srgbClr val="ED1B2F"/>
      </a:accent6>
      <a:hlink>
        <a:srgbClr val="000000"/>
      </a:hlink>
      <a:folHlink>
        <a:srgbClr val="000000"/>
      </a:folHlink>
    </a:clrScheme>
    <a:fontScheme name="ARIAL -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otyw CA 2017" id="{A540E9FD-BE66-4743-B2B5-62DB9A71CE29}" vid="{EC7551C2-7E9D-E644-9EE6-357AB5371BA9}"/>
    </a:ext>
  </a:extLst>
</a:theme>
</file>

<file path=ppt/theme/theme16.xml><?xml version="1.0" encoding="utf-8"?>
<a:theme xmlns:a="http://schemas.openxmlformats.org/drawingml/2006/main" name="10_Credit Agricole motyw 16x9">
  <a:themeElements>
    <a:clrScheme name="Custom 17">
      <a:dk1>
        <a:srgbClr val="575757"/>
      </a:dk1>
      <a:lt1>
        <a:sysClr val="window" lastClr="FFFFFF"/>
      </a:lt1>
      <a:dk2>
        <a:srgbClr val="008789"/>
      </a:dk2>
      <a:lt2>
        <a:srgbClr val="F2F2F2"/>
      </a:lt2>
      <a:accent1>
        <a:srgbClr val="004648"/>
      </a:accent1>
      <a:accent2>
        <a:srgbClr val="006264"/>
      </a:accent2>
      <a:accent3>
        <a:srgbClr val="FFC000"/>
      </a:accent3>
      <a:accent4>
        <a:srgbClr val="00F0F6"/>
      </a:accent4>
      <a:accent5>
        <a:srgbClr val="828282"/>
      </a:accent5>
      <a:accent6>
        <a:srgbClr val="365971"/>
      </a:accent6>
      <a:hlink>
        <a:srgbClr val="2E3558"/>
      </a:hlink>
      <a:folHlink>
        <a:srgbClr val="2E3558"/>
      </a:folHlink>
    </a:clrScheme>
    <a:fontScheme name="ARIAL -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solidFill>
            <a:schemeClr val="tx2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Motyw CA 2017" id="{A540E9FD-BE66-4743-B2B5-62DB9A71CE29}" vid="{EC7551C2-7E9D-E644-9EE6-357AB5371BA9}"/>
    </a:ext>
  </a:extLst>
</a:theme>
</file>

<file path=ppt/theme/theme17.xml><?xml version="1.0" encoding="utf-8"?>
<a:theme xmlns:a="http://schemas.openxmlformats.org/drawingml/2006/main" name="7_Credit Agricole motyw 16x9">
  <a:themeElements>
    <a:clrScheme name="Niestandardowy 1">
      <a:dk1>
        <a:srgbClr val="000000"/>
      </a:dk1>
      <a:lt1>
        <a:srgbClr val="FFFFFF"/>
      </a:lt1>
      <a:dk2>
        <a:srgbClr val="ED1B2F"/>
      </a:dk2>
      <a:lt2>
        <a:srgbClr val="81BC00"/>
      </a:lt2>
      <a:accent1>
        <a:srgbClr val="009597"/>
      </a:accent1>
      <a:accent2>
        <a:srgbClr val="BEC9D3"/>
      </a:accent2>
      <a:accent3>
        <a:srgbClr val="7E93A5"/>
      </a:accent3>
      <a:accent4>
        <a:srgbClr val="81BC00"/>
      </a:accent4>
      <a:accent5>
        <a:srgbClr val="70A300"/>
      </a:accent5>
      <a:accent6>
        <a:srgbClr val="ED1B2F"/>
      </a:accent6>
      <a:hlink>
        <a:srgbClr val="000000"/>
      </a:hlink>
      <a:folHlink>
        <a:srgbClr val="000000"/>
      </a:folHlink>
    </a:clrScheme>
    <a:fontScheme name="ARIAL -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otyw CA 2017" id="{A540E9FD-BE66-4743-B2B5-62DB9A71CE29}" vid="{EC7551C2-7E9D-E644-9EE6-357AB5371BA9}"/>
    </a:ext>
  </a:extLst>
</a:theme>
</file>

<file path=ppt/theme/theme18.xml><?xml version="1.0" encoding="utf-8"?>
<a:theme xmlns:a="http://schemas.openxmlformats.org/drawingml/2006/main" name="8_Credit Agricole motyw 16x9">
  <a:themeElements>
    <a:clrScheme name="Niestandardowy 1">
      <a:dk1>
        <a:srgbClr val="000000"/>
      </a:dk1>
      <a:lt1>
        <a:srgbClr val="FFFFFF"/>
      </a:lt1>
      <a:dk2>
        <a:srgbClr val="ED1B2F"/>
      </a:dk2>
      <a:lt2>
        <a:srgbClr val="81BC00"/>
      </a:lt2>
      <a:accent1>
        <a:srgbClr val="009597"/>
      </a:accent1>
      <a:accent2>
        <a:srgbClr val="BEC9D3"/>
      </a:accent2>
      <a:accent3>
        <a:srgbClr val="7E93A5"/>
      </a:accent3>
      <a:accent4>
        <a:srgbClr val="81BC00"/>
      </a:accent4>
      <a:accent5>
        <a:srgbClr val="70A300"/>
      </a:accent5>
      <a:accent6>
        <a:srgbClr val="ED1B2F"/>
      </a:accent6>
      <a:hlink>
        <a:srgbClr val="000000"/>
      </a:hlink>
      <a:folHlink>
        <a:srgbClr val="000000"/>
      </a:folHlink>
    </a:clrScheme>
    <a:fontScheme name="ARIAL -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otyw CA 2017" id="{A540E9FD-BE66-4743-B2B5-62DB9A71CE29}" vid="{EC7551C2-7E9D-E644-9EE6-357AB5371BA9}"/>
    </a:ext>
  </a:extLst>
</a:theme>
</file>

<file path=ppt/theme/theme19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rédit Agricole / Nouveau Terrritoire">
  <a:themeElements>
    <a:clrScheme name="Crédit Agricole - Nouveau Territoire">
      <a:dk1>
        <a:srgbClr val="707173"/>
      </a:dk1>
      <a:lt1>
        <a:srgbClr val="FFFFFF"/>
      </a:lt1>
      <a:dk2>
        <a:srgbClr val="ED1B2F"/>
      </a:dk2>
      <a:lt2>
        <a:srgbClr val="009597"/>
      </a:lt2>
      <a:accent1>
        <a:srgbClr val="006A4E"/>
      </a:accent1>
      <a:accent2>
        <a:srgbClr val="99C3B8"/>
      </a:accent2>
      <a:accent3>
        <a:srgbClr val="99CC00"/>
      </a:accent3>
      <a:accent4>
        <a:srgbClr val="D6EB99"/>
      </a:accent4>
      <a:accent5>
        <a:srgbClr val="009597"/>
      </a:accent5>
      <a:accent6>
        <a:srgbClr val="99D5D5"/>
      </a:accent6>
      <a:hlink>
        <a:srgbClr val="ED1B2F"/>
      </a:hlink>
      <a:folHlink>
        <a:srgbClr val="F8A4AC"/>
      </a:folHlink>
    </a:clrScheme>
    <a:fontScheme name="Crédit Agricole - Nouveau Territoire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A Template PowerPoint Direction_vDEF (003).potx [Lecture seule]" id="{97BEB7AD-6BBD-413E-8910-97570CBA9819}" vid="{C9798A5D-637B-418E-A9B1-826571FB7D1D}"/>
    </a:ext>
  </a:extLst>
</a:theme>
</file>

<file path=ppt/theme/theme3.xml><?xml version="1.0" encoding="utf-8"?>
<a:theme xmlns:a="http://schemas.openxmlformats.org/drawingml/2006/main" name="2_CABP Grid 16:9">
  <a:themeElements>
    <a:clrScheme name="Accelere">
      <a:dk1>
        <a:srgbClr val="575757"/>
      </a:dk1>
      <a:lt1>
        <a:sysClr val="window" lastClr="FFFFFF"/>
      </a:lt1>
      <a:dk2>
        <a:srgbClr val="008789"/>
      </a:dk2>
      <a:lt2>
        <a:srgbClr val="F2F2F2"/>
      </a:lt2>
      <a:accent1>
        <a:srgbClr val="03522D"/>
      </a:accent1>
      <a:accent2>
        <a:srgbClr val="006566"/>
      </a:accent2>
      <a:accent3>
        <a:srgbClr val="D4DF33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2E3558"/>
      </a:folHlink>
    </a:clrScheme>
    <a:fontScheme name="Custom 10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accent5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4.xml><?xml version="1.0" encoding="utf-8"?>
<a:theme xmlns:a="http://schemas.openxmlformats.org/drawingml/2006/main" name="Credit Agricole motyw 16x9">
  <a:themeElements>
    <a:clrScheme name="Niestandardowy 2">
      <a:dk1>
        <a:srgbClr val="000000"/>
      </a:dk1>
      <a:lt1>
        <a:srgbClr val="FFFFFF"/>
      </a:lt1>
      <a:dk2>
        <a:srgbClr val="ED1B2F"/>
      </a:dk2>
      <a:lt2>
        <a:srgbClr val="96CA12"/>
      </a:lt2>
      <a:accent1>
        <a:srgbClr val="009597"/>
      </a:accent1>
      <a:accent2>
        <a:srgbClr val="BEC9D3"/>
      </a:accent2>
      <a:accent3>
        <a:srgbClr val="7E93A5"/>
      </a:accent3>
      <a:accent4>
        <a:srgbClr val="487697"/>
      </a:accent4>
      <a:accent5>
        <a:srgbClr val="96CA12"/>
      </a:accent5>
      <a:accent6>
        <a:srgbClr val="ED1B2F"/>
      </a:accent6>
      <a:hlink>
        <a:srgbClr val="000000"/>
      </a:hlink>
      <a:folHlink>
        <a:srgbClr val="000000"/>
      </a:folHlink>
    </a:clrScheme>
    <a:fontScheme name="ARIAL -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otyw CA 2017" id="{A540E9FD-BE66-4743-B2B5-62DB9A71CE29}" vid="{EC7551C2-7E9D-E644-9EE6-357AB5371BA9}"/>
    </a:ext>
  </a:extLst>
</a:theme>
</file>

<file path=ppt/theme/theme5.xml><?xml version="1.0" encoding="utf-8"?>
<a:theme xmlns:a="http://schemas.openxmlformats.org/drawingml/2006/main" name="28_CABP Grid 16:9">
  <a:themeElements>
    <a:clrScheme name="Custom 199">
      <a:dk1>
        <a:srgbClr val="575757"/>
      </a:dk1>
      <a:lt1>
        <a:sysClr val="window" lastClr="FFFFFF"/>
      </a:lt1>
      <a:dk2>
        <a:srgbClr val="008789"/>
      </a:dk2>
      <a:lt2>
        <a:srgbClr val="F2F2F2"/>
      </a:lt2>
      <a:accent1>
        <a:srgbClr val="03522D"/>
      </a:accent1>
      <a:accent2>
        <a:srgbClr val="006566"/>
      </a:accent2>
      <a:accent3>
        <a:srgbClr val="D4DF33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2E3558"/>
      </a:folHlink>
    </a:clrScheme>
    <a:fontScheme name="Custom 10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accent5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6.xml><?xml version="1.0" encoding="utf-8"?>
<a:theme xmlns:a="http://schemas.openxmlformats.org/drawingml/2006/main" name="5_Credit Agricole motyw 16x9">
  <a:themeElements>
    <a:clrScheme name="Custom 17">
      <a:dk1>
        <a:srgbClr val="575757"/>
      </a:dk1>
      <a:lt1>
        <a:sysClr val="window" lastClr="FFFFFF"/>
      </a:lt1>
      <a:dk2>
        <a:srgbClr val="008789"/>
      </a:dk2>
      <a:lt2>
        <a:srgbClr val="F2F2F2"/>
      </a:lt2>
      <a:accent1>
        <a:srgbClr val="004648"/>
      </a:accent1>
      <a:accent2>
        <a:srgbClr val="006264"/>
      </a:accent2>
      <a:accent3>
        <a:srgbClr val="FFC000"/>
      </a:accent3>
      <a:accent4>
        <a:srgbClr val="00F0F6"/>
      </a:accent4>
      <a:accent5>
        <a:srgbClr val="828282"/>
      </a:accent5>
      <a:accent6>
        <a:srgbClr val="365971"/>
      </a:accent6>
      <a:hlink>
        <a:srgbClr val="2E3558"/>
      </a:hlink>
      <a:folHlink>
        <a:srgbClr val="2E3558"/>
      </a:folHlink>
    </a:clrScheme>
    <a:fontScheme name="ARIAL -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solidFill>
            <a:schemeClr val="tx2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Motyw CA 2017" id="{A540E9FD-BE66-4743-B2B5-62DB9A71CE29}" vid="{EC7551C2-7E9D-E644-9EE6-357AB5371BA9}"/>
    </a:ext>
  </a:extLst>
</a:theme>
</file>

<file path=ppt/theme/theme7.xml><?xml version="1.0" encoding="utf-8"?>
<a:theme xmlns:a="http://schemas.openxmlformats.org/drawingml/2006/main" name="12_Credit Agricole motyw 16x9">
  <a:themeElements>
    <a:clrScheme name="Kolory CA 2017">
      <a:dk1>
        <a:srgbClr val="000000"/>
      </a:dk1>
      <a:lt1>
        <a:srgbClr val="FFFFFF"/>
      </a:lt1>
      <a:dk2>
        <a:srgbClr val="ED1B2F"/>
      </a:dk2>
      <a:lt2>
        <a:srgbClr val="96CA12"/>
      </a:lt2>
      <a:accent1>
        <a:srgbClr val="008789"/>
      </a:accent1>
      <a:accent2>
        <a:srgbClr val="BEC9D3"/>
      </a:accent2>
      <a:accent3>
        <a:srgbClr val="7E93A5"/>
      </a:accent3>
      <a:accent4>
        <a:srgbClr val="487697"/>
      </a:accent4>
      <a:accent5>
        <a:srgbClr val="96CA12"/>
      </a:accent5>
      <a:accent6>
        <a:srgbClr val="ED1B2F"/>
      </a:accent6>
      <a:hlink>
        <a:srgbClr val="000000"/>
      </a:hlink>
      <a:folHlink>
        <a:srgbClr val="000000"/>
      </a:folHlink>
    </a:clrScheme>
    <a:fontScheme name="ARIAL -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otyw CA 2017" id="{A540E9FD-BE66-4743-B2B5-62DB9A71CE29}" vid="{EC7551C2-7E9D-E644-9EE6-357AB5371BA9}"/>
    </a:ext>
  </a:extLst>
</a:theme>
</file>

<file path=ppt/theme/theme8.xml><?xml version="1.0" encoding="utf-8"?>
<a:theme xmlns:a="http://schemas.openxmlformats.org/drawingml/2006/main" name="Modèle_CA_16-9">
  <a:themeElements>
    <a:clrScheme name="CA PPT">
      <a:dk1>
        <a:sysClr val="windowText" lastClr="000000"/>
      </a:dk1>
      <a:lt1>
        <a:sysClr val="window" lastClr="FFFFFF"/>
      </a:lt1>
      <a:dk2>
        <a:srgbClr val="ED1B2F"/>
      </a:dk2>
      <a:lt2>
        <a:srgbClr val="96CA12"/>
      </a:lt2>
      <a:accent1>
        <a:srgbClr val="006A4E"/>
      </a:accent1>
      <a:accent2>
        <a:srgbClr val="BEC9D3"/>
      </a:accent2>
      <a:accent3>
        <a:srgbClr val="7E93A5"/>
      </a:accent3>
      <a:accent4>
        <a:srgbClr val="487697"/>
      </a:accent4>
      <a:accent5>
        <a:srgbClr val="00805F"/>
      </a:accent5>
      <a:accent6>
        <a:srgbClr val="009597"/>
      </a:accent6>
      <a:hlink>
        <a:srgbClr val="000000"/>
      </a:hlink>
      <a:folHlink>
        <a:srgbClr val="000000"/>
      </a:folHlink>
    </a:clrScheme>
    <a:fontScheme name="ARIAL -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>
              <a:lumMod val="50000"/>
              <a:lumOff val="50000"/>
            </a:schemeClr>
          </a:solidFill>
          <a:prstDash val="dash"/>
        </a:ln>
      </a:spPr>
      <a:bodyPr rtlCol="0" anchor="ctr"/>
      <a:lstStyle>
        <a:defPPr algn="ctr">
          <a:defRPr sz="900" b="1" dirty="0" err="1" smtClean="0">
            <a:solidFill>
              <a:schemeClr val="tx1">
                <a:lumMod val="50000"/>
                <a:lumOff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9.xml><?xml version="1.0" encoding="utf-8"?>
<a:theme xmlns:a="http://schemas.openxmlformats.org/drawingml/2006/main" name="6_Credit Agricole motyw 16x9">
  <a:themeElements>
    <a:clrScheme name="Niestandardowy 2">
      <a:dk1>
        <a:srgbClr val="000000"/>
      </a:dk1>
      <a:lt1>
        <a:srgbClr val="FFFFFF"/>
      </a:lt1>
      <a:dk2>
        <a:srgbClr val="ED1B2F"/>
      </a:dk2>
      <a:lt2>
        <a:srgbClr val="96CA12"/>
      </a:lt2>
      <a:accent1>
        <a:srgbClr val="009597"/>
      </a:accent1>
      <a:accent2>
        <a:srgbClr val="BEC9D3"/>
      </a:accent2>
      <a:accent3>
        <a:srgbClr val="7E93A5"/>
      </a:accent3>
      <a:accent4>
        <a:srgbClr val="487697"/>
      </a:accent4>
      <a:accent5>
        <a:srgbClr val="96CA12"/>
      </a:accent5>
      <a:accent6>
        <a:srgbClr val="ED1B2F"/>
      </a:accent6>
      <a:hlink>
        <a:srgbClr val="000000"/>
      </a:hlink>
      <a:folHlink>
        <a:srgbClr val="000000"/>
      </a:folHlink>
    </a:clrScheme>
    <a:fontScheme name="ARIAL -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otyw CA 2017" id="{A540E9FD-BE66-4743-B2B5-62DB9A71CE29}" vid="{EC7551C2-7E9D-E644-9EE6-357AB5371BA9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725</TotalTime>
  <Words>3411</Words>
  <Application>Microsoft Office PowerPoint</Application>
  <PresentationFormat>Widescreen</PresentationFormat>
  <Paragraphs>665</Paragraphs>
  <Slides>25</Slides>
  <Notes>4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13</vt:i4>
      </vt:variant>
      <vt:variant>
        <vt:lpstr>Tema</vt:lpstr>
      </vt:variant>
      <vt:variant>
        <vt:i4>18</vt:i4>
      </vt:variant>
      <vt:variant>
        <vt:lpstr>Server OLE incorporati</vt:lpstr>
      </vt:variant>
      <vt:variant>
        <vt:i4>2</vt:i4>
      </vt:variant>
      <vt:variant>
        <vt:lpstr>Titoli diapositive</vt:lpstr>
      </vt:variant>
      <vt:variant>
        <vt:i4>25</vt:i4>
      </vt:variant>
    </vt:vector>
  </HeadingPairs>
  <TitlesOfParts>
    <vt:vector size="58" baseType="lpstr">
      <vt:lpstr>ＭＳ Ｐゴシック</vt:lpstr>
      <vt:lpstr>Aptos Display</vt:lpstr>
      <vt:lpstr>Aptos Narrow</vt:lpstr>
      <vt:lpstr>Arial</vt:lpstr>
      <vt:lpstr>Arial Black</vt:lpstr>
      <vt:lpstr>Arial MT</vt:lpstr>
      <vt:lpstr>Calibri</vt:lpstr>
      <vt:lpstr>Century Gothic</vt:lpstr>
      <vt:lpstr>Courier New</vt:lpstr>
      <vt:lpstr>Tahoma</vt:lpstr>
      <vt:lpstr>Trebuchet MS</vt:lpstr>
      <vt:lpstr>Wingdings</vt:lpstr>
      <vt:lpstr>Wingdings 3</vt:lpstr>
      <vt:lpstr>CA_4-3_filiale</vt:lpstr>
      <vt:lpstr>Crédit Agricole / Nouveau Terrritoire</vt:lpstr>
      <vt:lpstr>2_CABP Grid 16:9</vt:lpstr>
      <vt:lpstr>Credit Agricole motyw 16x9</vt:lpstr>
      <vt:lpstr>28_CABP Grid 16:9</vt:lpstr>
      <vt:lpstr>5_Credit Agricole motyw 16x9</vt:lpstr>
      <vt:lpstr>12_Credit Agricole motyw 16x9</vt:lpstr>
      <vt:lpstr>Modèle_CA_16-9</vt:lpstr>
      <vt:lpstr>6_Credit Agricole motyw 16x9</vt:lpstr>
      <vt:lpstr>11_Credit Agricole motyw 16x9</vt:lpstr>
      <vt:lpstr>1_Credit Agricole motyw 16x9</vt:lpstr>
      <vt:lpstr>2_Credit Agricole motyw 16x9</vt:lpstr>
      <vt:lpstr>4_Credit Agricole motyw 16x9</vt:lpstr>
      <vt:lpstr>2_Crédit Agricole / Nouveau Terrritoire</vt:lpstr>
      <vt:lpstr>3_Credit Agricole motyw 16x9</vt:lpstr>
      <vt:lpstr>10_Credit Agricole motyw 16x9</vt:lpstr>
      <vt:lpstr>7_Credit Agricole motyw 16x9</vt:lpstr>
      <vt:lpstr>8_Credit Agricole motyw 16x9</vt:lpstr>
      <vt:lpstr>think-cell Slide</vt:lpstr>
      <vt:lpstr>Diapositiva think-cell</vt:lpstr>
      <vt:lpstr>BPIs PRO DAYS  Carrefour Conquest Pro   NEW CLIENTS ACQUISITION 2025 full vision &amp; 2026 perspectives  </vt:lpstr>
      <vt:lpstr>AGENDA   </vt:lpstr>
      <vt:lpstr>AGENDA   </vt:lpstr>
      <vt:lpstr>Presentazione standard di PowerPoint</vt:lpstr>
      <vt:lpstr>Key figures acquisition / 2025 full year</vt:lpstr>
      <vt:lpstr>KEY FIGURES ACQUISITION REGIONAL DIRECTION level</vt:lpstr>
      <vt:lpstr>Presentazione standard di PowerPoint</vt:lpstr>
      <vt:lpstr>ITALIAN MARKET AND CAI MARKET SHARE </vt:lpstr>
      <vt:lpstr>Liberal professions in cai</vt:lpstr>
      <vt:lpstr>Presentazione standard di PowerPoint</vt:lpstr>
      <vt:lpstr>Presentazione standard di PowerPoint</vt:lpstr>
      <vt:lpstr>Main issues and solutions – focus on acquisition </vt:lpstr>
      <vt:lpstr>Presentazione standard di PowerPoint</vt:lpstr>
      <vt:lpstr>Presentazione standard di PowerPoint</vt:lpstr>
      <vt:lpstr>ACTION PLAN 2026 - Main actions for NEW CLIENTS ACQUISITION </vt:lpstr>
      <vt:lpstr>Presentazione standard di PowerPoint</vt:lpstr>
      <vt:lpstr>Presentazione standard di PowerPoint</vt:lpstr>
      <vt:lpstr>Third-Party Networks Platform – Scope of the project</vt:lpstr>
      <vt:lpstr>Offer and partnerships – LIBERal PROFESSIONs </vt:lpstr>
      <vt:lpstr>Presentazione standard di PowerPoint</vt:lpstr>
      <vt:lpstr>Presentazione standard di PowerPoint</vt:lpstr>
      <vt:lpstr>Offer and partnerships – LIBERal PROFESSIONs 1/2</vt:lpstr>
      <vt:lpstr>Offer and partnerships – LIBERal PROFESSIONs</vt:lpstr>
      <vt:lpstr>Third-Party Networks Platform – EXECUTIVE SUMMARY</vt:lpstr>
      <vt:lpstr>Presentazione standard di PowerPoint</vt:lpstr>
    </vt:vector>
  </TitlesOfParts>
  <Company>SILC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WOT CAS-Agri</dc:title>
  <dc:creator>"MALDERA Philippe"</dc:creator>
  <cp:lastModifiedBy>Bruttomesso Maria Chiara</cp:lastModifiedBy>
  <cp:revision>1103</cp:revision>
  <cp:lastPrinted>2022-05-25T08:21:06Z</cp:lastPrinted>
  <dcterms:created xsi:type="dcterms:W3CDTF">2021-04-06T08:44:15Z</dcterms:created>
  <dcterms:modified xsi:type="dcterms:W3CDTF">2026-03-09T10:20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4cad6431-53ea-4466-8111-3fefa470bcb9_Enabled">
    <vt:lpwstr>true</vt:lpwstr>
  </property>
  <property fmtid="{D5CDD505-2E9C-101B-9397-08002B2CF9AE}" pid="3" name="MSIP_Label_4cad6431-53ea-4466-8111-3fefa470bcb9_SetDate">
    <vt:lpwstr>2022-04-07T14:33:19Z</vt:lpwstr>
  </property>
  <property fmtid="{D5CDD505-2E9C-101B-9397-08002B2CF9AE}" pid="4" name="MSIP_Label_4cad6431-53ea-4466-8111-3fefa470bcb9_Method">
    <vt:lpwstr>Privileged</vt:lpwstr>
  </property>
  <property fmtid="{D5CDD505-2E9C-101B-9397-08002B2CF9AE}" pid="5" name="MSIP_Label_4cad6431-53ea-4466-8111-3fefa470bcb9_Name">
    <vt:lpwstr>Usage Interne</vt:lpwstr>
  </property>
  <property fmtid="{D5CDD505-2E9C-101B-9397-08002B2CF9AE}" pid="6" name="MSIP_Label_4cad6431-53ea-4466-8111-3fefa470bcb9_SiteId">
    <vt:lpwstr>fb3baf17-c313-474c-8d5d-577a3ec97a32</vt:lpwstr>
  </property>
  <property fmtid="{D5CDD505-2E9C-101B-9397-08002B2CF9AE}" pid="7" name="MSIP_Label_4cad6431-53ea-4466-8111-3fefa470bcb9_ActionId">
    <vt:lpwstr>9e6ea801-3cd1-47e0-9817-eb2c815d12ee</vt:lpwstr>
  </property>
  <property fmtid="{D5CDD505-2E9C-101B-9397-08002B2CF9AE}" pid="8" name="MSIP_Label_4cad6431-53ea-4466-8111-3fefa470bcb9_ContentBits">
    <vt:lpwstr>0</vt:lpwstr>
  </property>
</Properties>
</file>